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9.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10.xml" ContentType="application/vnd.openxmlformats-officedocument.theme+xml"/>
  <Override PartName="/ppt/tags/tag50.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2.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4.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5.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6.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7.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8.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9.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20.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1.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22.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0.xml" ContentType="application/vnd.openxmlformats-officedocument.presentationml.tags+xml"/>
  <Override PartName="/ppt/tags/tag12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2.xml" ContentType="application/vnd.openxmlformats-officedocument.presentationml.tags+xml"/>
  <Override PartName="/ppt/tags/tag12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24.xml" ContentType="application/vnd.openxmlformats-officedocument.presentationml.tags+xml"/>
  <Override PartName="/ppt/tags/tag125.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32.xml" ContentType="application/vnd.openxmlformats-officedocument.presentationml.tags+xml"/>
  <Override PartName="/ppt/tags/tag133.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34.xml" ContentType="application/vnd.openxmlformats-officedocument.presentationml.tags+xml"/>
  <Override PartName="/ppt/tags/tag135.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36.xml" ContentType="application/vnd.openxmlformats-officedocument.presentationml.tags+xml"/>
  <Override PartName="/ppt/tags/tag137.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38.xml" ContentType="application/vnd.openxmlformats-officedocument.presentationml.tags+xml"/>
  <Override PartName="/ppt/tags/tag139.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23.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24.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5.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26.xml" ContentType="application/vnd.openxmlformats-officedocument.them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heme/theme27.xml" ContentType="application/vnd.openxmlformats-officedocument.theme+xml"/>
  <Override PartName="/ppt/theme/theme28.xml" ContentType="application/vnd.openxmlformats-officedocument.theme+xml"/>
  <Override PartName="/ppt/tags/tag174.xml" ContentType="application/vnd.openxmlformats-officedocument.presentationml.tags+xml"/>
  <Override PartName="/ppt/notesSlides/notesSlide1.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2.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79.xml" ContentType="application/vnd.openxmlformats-officedocument.presentationml.tags+xml"/>
  <Override PartName="/ppt/tags/tag18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drawings/drawing1.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notesSlides/notesSlide6.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83.xml" ContentType="application/vnd.openxmlformats-officedocument.presentationml.tags+xml"/>
  <Override PartName="/ppt/tags/tag184.xml" ContentType="application/vnd.openxmlformats-officedocument.presentationml.tags+xml"/>
  <Override PartName="/ppt/notesSlides/notesSlide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85.xml" ContentType="application/vnd.openxmlformats-officedocument.presentationml.tags+xml"/>
  <Override PartName="/ppt/tags/tag186.xml" ContentType="application/vnd.openxmlformats-officedocument.presentationml.tags+xml"/>
  <Override PartName="/ppt/notesSlides/notesSlide9.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notesSlides/notesSlide10.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notesSlides/notesSlide11.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191.xml" ContentType="application/vnd.openxmlformats-officedocument.presentationml.tags+xml"/>
  <Override PartName="/ppt/tags/tag192.xml" ContentType="application/vnd.openxmlformats-officedocument.presentationml.tags+xml"/>
  <Override PartName="/ppt/notesSlides/notesSlide12.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notesSlides/notesSlide13.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notesSlides/notesSlide14.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notesSlides/notesSlide1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199.xml" ContentType="application/vnd.openxmlformats-officedocument.presentationml.tags+xml"/>
  <Override PartName="/ppt/tags/tag200.xml" ContentType="application/vnd.openxmlformats-officedocument.presentationml.tags+xml"/>
  <Override PartName="/ppt/notesSlides/notesSlide16.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notesSlides/notesSlide1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203.xml" ContentType="application/vnd.openxmlformats-officedocument.presentationml.tags+xml"/>
  <Override PartName="/ppt/tags/tag204.xml" ContentType="application/vnd.openxmlformats-officedocument.presentationml.tags+xml"/>
  <Override PartName="/ppt/notesSlides/notesSlide18.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notesSlides/notesSlide19.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notesSlides/notesSlide2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209.xml" ContentType="application/vnd.openxmlformats-officedocument.presentationml.tags+xml"/>
  <Override PartName="/ppt/tags/tag21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notesSlides/notesSlide26.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notesSlides/notesSlide27.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notesSlides/notesSlide28.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notesSlides/notesSlide29.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notesSlides/notesSlide30.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notesSlides/notesSlide31.xml" ContentType="application/vnd.openxmlformats-officedocument.presentationml.notesSlide+xml"/>
  <Override PartName="/ppt/tags/tag225.xml" ContentType="application/vnd.openxmlformats-officedocument.presentationml.tags+xml"/>
  <Override PartName="/ppt/tags/tag226.xml" ContentType="application/vnd.openxmlformats-officedocument.presentationml.tags+xml"/>
  <Override PartName="/ppt/notesSlides/notesSlide32.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notesSlides/notesSlide33.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notesSlides/notesSlide34.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notesSlides/notesSlide35.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notesSlides/notesSlide36.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notesSlides/notesSlide37.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notesSlides/notesSlide38.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notesSlides/notesSlide39.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notesSlides/notesSlide40.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notesSlides/notesSlide41.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notesSlides/notesSlide42.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4"/>
    <p:sldMasterId id="2147485575" r:id="rId5"/>
    <p:sldMasterId id="2147485578" r:id="rId6"/>
    <p:sldMasterId id="2147485586" r:id="rId7"/>
    <p:sldMasterId id="2147485624" r:id="rId8"/>
    <p:sldMasterId id="2147485652" r:id="rId9"/>
    <p:sldMasterId id="2147485674" r:id="rId10"/>
    <p:sldMasterId id="2147485680" r:id="rId11"/>
    <p:sldMasterId id="2147485694" r:id="rId12"/>
    <p:sldMasterId id="2147485700" r:id="rId13"/>
    <p:sldMasterId id="2147485856" r:id="rId14"/>
    <p:sldMasterId id="2147485870" r:id="rId15"/>
    <p:sldMasterId id="2147485897" r:id="rId16"/>
    <p:sldMasterId id="2147485912" r:id="rId17"/>
    <p:sldMasterId id="2147485938" r:id="rId18"/>
    <p:sldMasterId id="2147485959" r:id="rId19"/>
    <p:sldMasterId id="2147485965" r:id="rId20"/>
    <p:sldMasterId id="2147485981" r:id="rId21"/>
    <p:sldMasterId id="2147485992" r:id="rId22"/>
    <p:sldMasterId id="2147486000" r:id="rId23"/>
    <p:sldMasterId id="2147486006" r:id="rId24"/>
    <p:sldMasterId id="2147486014" r:id="rId25"/>
    <p:sldMasterId id="2147486043" r:id="rId26"/>
    <p:sldMasterId id="2147486049" r:id="rId27"/>
    <p:sldMasterId id="2147486057" r:id="rId28"/>
    <p:sldMasterId id="2147486063" r:id="rId29"/>
  </p:sldMasterIdLst>
  <p:notesMasterIdLst>
    <p:notesMasterId r:id="rId96"/>
  </p:notesMasterIdLst>
  <p:handoutMasterIdLst>
    <p:handoutMasterId r:id="rId97"/>
  </p:handoutMasterIdLst>
  <p:sldIdLst>
    <p:sldId id="5233" r:id="rId30"/>
    <p:sldId id="2080107241" r:id="rId31"/>
    <p:sldId id="2080107169" r:id="rId32"/>
    <p:sldId id="2080107181" r:id="rId33"/>
    <p:sldId id="141168881" r:id="rId34"/>
    <p:sldId id="2080107182" r:id="rId35"/>
    <p:sldId id="2080107304" r:id="rId36"/>
    <p:sldId id="2080107277" r:id="rId37"/>
    <p:sldId id="2080107236" r:id="rId38"/>
    <p:sldId id="141169115" r:id="rId39"/>
    <p:sldId id="141169116" r:id="rId40"/>
    <p:sldId id="141169480" r:id="rId41"/>
    <p:sldId id="263" r:id="rId42"/>
    <p:sldId id="2080107246" r:id="rId43"/>
    <p:sldId id="2080107167" r:id="rId44"/>
    <p:sldId id="2080107168" r:id="rId45"/>
    <p:sldId id="2080107172" r:id="rId46"/>
    <p:sldId id="2080107248" r:id="rId47"/>
    <p:sldId id="2080107173" r:id="rId48"/>
    <p:sldId id="2080107196" r:id="rId49"/>
    <p:sldId id="2080107212" r:id="rId50"/>
    <p:sldId id="2080107302" r:id="rId51"/>
    <p:sldId id="2080107249" r:id="rId52"/>
    <p:sldId id="141168981" r:id="rId53"/>
    <p:sldId id="2080107216" r:id="rId54"/>
    <p:sldId id="2080107240" r:id="rId55"/>
    <p:sldId id="2080107250" r:id="rId56"/>
    <p:sldId id="2080107290" r:id="rId57"/>
    <p:sldId id="2080107238" r:id="rId58"/>
    <p:sldId id="2080107185" r:id="rId59"/>
    <p:sldId id="2080107220" r:id="rId60"/>
    <p:sldId id="2080107229" r:id="rId61"/>
    <p:sldId id="2080107186" r:id="rId62"/>
    <p:sldId id="2080107235" r:id="rId63"/>
    <p:sldId id="2080107226" r:id="rId64"/>
    <p:sldId id="2080107254" r:id="rId65"/>
    <p:sldId id="2080107303" r:id="rId66"/>
    <p:sldId id="2080107255" r:id="rId67"/>
    <p:sldId id="2080107256" r:id="rId68"/>
    <p:sldId id="2080107207" r:id="rId69"/>
    <p:sldId id="141169132" r:id="rId70"/>
    <p:sldId id="2080107291" r:id="rId71"/>
    <p:sldId id="2080107192" r:id="rId72"/>
    <p:sldId id="2080107267" r:id="rId73"/>
    <p:sldId id="2080107245" r:id="rId74"/>
    <p:sldId id="2080107270" r:id="rId75"/>
    <p:sldId id="2080107272" r:id="rId76"/>
    <p:sldId id="2080107247" r:id="rId77"/>
    <p:sldId id="2080107225" r:id="rId78"/>
    <p:sldId id="141169357" r:id="rId79"/>
    <p:sldId id="141169358" r:id="rId80"/>
    <p:sldId id="141169356" r:id="rId81"/>
    <p:sldId id="141169496" r:id="rId82"/>
    <p:sldId id="141169460" r:id="rId83"/>
    <p:sldId id="2080107263" r:id="rId84"/>
    <p:sldId id="2080107264" r:id="rId85"/>
    <p:sldId id="2080107262" r:id="rId86"/>
    <p:sldId id="141169221" r:id="rId87"/>
    <p:sldId id="141169501" r:id="rId88"/>
    <p:sldId id="141169502" r:id="rId89"/>
    <p:sldId id="141169504" r:id="rId90"/>
    <p:sldId id="141169222" r:id="rId91"/>
    <p:sldId id="141169224" r:id="rId92"/>
    <p:sldId id="2080107230" r:id="rId93"/>
    <p:sldId id="2080107296" r:id="rId94"/>
    <p:sldId id="941" r:id="rId95"/>
  </p:sldIdLst>
  <p:sldSz cx="12198350" cy="6858000"/>
  <p:notesSz cx="6858000" cy="9144000"/>
  <p:defaultTextStyle>
    <a:defPPr>
      <a:defRPr lang="en-US"/>
    </a:defPPr>
    <a:lvl1pPr algn="l" rtl="0" eaLnBrk="0" fontAlgn="base" hangingPunct="0">
      <a:spcBef>
        <a:spcPct val="0"/>
      </a:spcBef>
      <a:spcAft>
        <a:spcPct val="0"/>
      </a:spcAft>
      <a:defRPr kern="1200">
        <a:solidFill>
          <a:schemeClr val="tx1"/>
        </a:solidFill>
        <a:latin typeface="Arial" charset="0"/>
        <a:ea typeface="Arial" charset="0"/>
        <a:cs typeface="Arial" charset="0"/>
      </a:defRPr>
    </a:lvl1pPr>
    <a:lvl2pPr marL="457200" algn="l" rtl="0" eaLnBrk="0" fontAlgn="base" hangingPunct="0">
      <a:spcBef>
        <a:spcPct val="0"/>
      </a:spcBef>
      <a:spcAft>
        <a:spcPct val="0"/>
      </a:spcAft>
      <a:defRPr kern="1200">
        <a:solidFill>
          <a:schemeClr val="tx1"/>
        </a:solidFill>
        <a:latin typeface="Arial" charset="0"/>
        <a:ea typeface="Arial" charset="0"/>
        <a:cs typeface="Arial" charset="0"/>
      </a:defRPr>
    </a:lvl2pPr>
    <a:lvl3pPr marL="914400" algn="l" rtl="0" eaLnBrk="0" fontAlgn="base" hangingPunct="0">
      <a:spcBef>
        <a:spcPct val="0"/>
      </a:spcBef>
      <a:spcAft>
        <a:spcPct val="0"/>
      </a:spcAft>
      <a:defRPr kern="1200">
        <a:solidFill>
          <a:schemeClr val="tx1"/>
        </a:solidFill>
        <a:latin typeface="Arial" charset="0"/>
        <a:ea typeface="Arial" charset="0"/>
        <a:cs typeface="Arial" charset="0"/>
      </a:defRPr>
    </a:lvl3pPr>
    <a:lvl4pPr marL="1371600" algn="l" rtl="0" eaLnBrk="0" fontAlgn="base" hangingPunct="0">
      <a:spcBef>
        <a:spcPct val="0"/>
      </a:spcBef>
      <a:spcAft>
        <a:spcPct val="0"/>
      </a:spcAft>
      <a:defRPr kern="1200">
        <a:solidFill>
          <a:schemeClr val="tx1"/>
        </a:solidFill>
        <a:latin typeface="Arial" charset="0"/>
        <a:ea typeface="Arial" charset="0"/>
        <a:cs typeface="Arial" charset="0"/>
      </a:defRPr>
    </a:lvl4pPr>
    <a:lvl5pPr marL="1828800" algn="l" rtl="0" eaLnBrk="0" fontAlgn="base" hangingPunct="0">
      <a:spcBef>
        <a:spcPct val="0"/>
      </a:spcBef>
      <a:spcAft>
        <a:spcPct val="0"/>
      </a:spcAft>
      <a:defRPr kern="1200">
        <a:solidFill>
          <a:schemeClr val="tx1"/>
        </a:solidFill>
        <a:latin typeface="Arial" charset="0"/>
        <a:ea typeface="Arial" charset="0"/>
        <a:cs typeface="Arial" charset="0"/>
      </a:defRPr>
    </a:lvl5pPr>
    <a:lvl6pPr marL="2286000" algn="l" defTabSz="914400" rtl="0" eaLnBrk="1" latinLnBrk="0" hangingPunct="1">
      <a:defRPr kern="1200">
        <a:solidFill>
          <a:schemeClr val="tx1"/>
        </a:solidFill>
        <a:latin typeface="Arial" charset="0"/>
        <a:ea typeface="Arial" charset="0"/>
        <a:cs typeface="Arial" charset="0"/>
      </a:defRPr>
    </a:lvl6pPr>
    <a:lvl7pPr marL="2743200" algn="l" defTabSz="914400" rtl="0" eaLnBrk="1" latinLnBrk="0" hangingPunct="1">
      <a:defRPr kern="1200">
        <a:solidFill>
          <a:schemeClr val="tx1"/>
        </a:solidFill>
        <a:latin typeface="Arial" charset="0"/>
        <a:ea typeface="Arial" charset="0"/>
        <a:cs typeface="Arial" charset="0"/>
      </a:defRPr>
    </a:lvl7pPr>
    <a:lvl8pPr marL="3200400" algn="l" defTabSz="914400" rtl="0" eaLnBrk="1" latinLnBrk="0" hangingPunct="1">
      <a:defRPr kern="1200">
        <a:solidFill>
          <a:schemeClr val="tx1"/>
        </a:solidFill>
        <a:latin typeface="Arial" charset="0"/>
        <a:ea typeface="Arial" charset="0"/>
        <a:cs typeface="Arial" charset="0"/>
      </a:defRPr>
    </a:lvl8pPr>
    <a:lvl9pPr marL="3657600" algn="l" defTabSz="914400" rtl="0" eaLnBrk="1" latinLnBrk="0" hangingPunct="1">
      <a:defRPr kern="1200">
        <a:solidFill>
          <a:schemeClr val="tx1"/>
        </a:solidFill>
        <a:latin typeface="Arial" charset="0"/>
        <a:ea typeface="Arial" charset="0"/>
        <a:cs typeface="Arial" charset="0"/>
      </a:defRPr>
    </a:lvl9pPr>
  </p:defaultTextStyle>
  <p:extLst>
    <p:ext uri="{521415D9-36F7-43E2-AB2F-B90AF26B5E84}">
      <p14:sectionLst xmlns:p14="http://schemas.microsoft.com/office/powerpoint/2010/main">
        <p14:section name="Default Section" id="{8024038B-4A27-4A23-8B0F-95AA7C3C965D}">
          <p14:sldIdLst>
            <p14:sldId id="5233"/>
            <p14:sldId id="2080107241"/>
            <p14:sldId id="2080107169"/>
            <p14:sldId id="2080107181"/>
            <p14:sldId id="141168881"/>
            <p14:sldId id="2080107182"/>
            <p14:sldId id="2080107304"/>
            <p14:sldId id="2080107277"/>
            <p14:sldId id="2080107236"/>
            <p14:sldId id="141169115"/>
            <p14:sldId id="141169116"/>
            <p14:sldId id="141169480"/>
            <p14:sldId id="263"/>
            <p14:sldId id="2080107246"/>
            <p14:sldId id="2080107167"/>
            <p14:sldId id="2080107168"/>
            <p14:sldId id="2080107172"/>
            <p14:sldId id="2080107248"/>
            <p14:sldId id="2080107173"/>
            <p14:sldId id="2080107196"/>
            <p14:sldId id="2080107212"/>
            <p14:sldId id="2080107302"/>
            <p14:sldId id="2080107249"/>
            <p14:sldId id="141168981"/>
            <p14:sldId id="2080107216"/>
            <p14:sldId id="2080107240"/>
            <p14:sldId id="2080107250"/>
            <p14:sldId id="2080107290"/>
            <p14:sldId id="2080107238"/>
            <p14:sldId id="2080107185"/>
            <p14:sldId id="2080107220"/>
            <p14:sldId id="2080107229"/>
            <p14:sldId id="2080107186"/>
            <p14:sldId id="2080107235"/>
            <p14:sldId id="2080107226"/>
            <p14:sldId id="2080107254"/>
            <p14:sldId id="2080107303"/>
            <p14:sldId id="2080107255"/>
            <p14:sldId id="2080107256"/>
            <p14:sldId id="2080107207"/>
            <p14:sldId id="141169132"/>
            <p14:sldId id="2080107291"/>
            <p14:sldId id="2080107192"/>
            <p14:sldId id="2080107267"/>
            <p14:sldId id="2080107245"/>
            <p14:sldId id="2080107270"/>
            <p14:sldId id="2080107272"/>
            <p14:sldId id="2080107247"/>
            <p14:sldId id="2080107225"/>
            <p14:sldId id="141169357"/>
            <p14:sldId id="141169358"/>
            <p14:sldId id="141169356"/>
            <p14:sldId id="141169496"/>
            <p14:sldId id="141169460"/>
            <p14:sldId id="2080107263"/>
            <p14:sldId id="2080107264"/>
            <p14:sldId id="2080107262"/>
            <p14:sldId id="141169221"/>
            <p14:sldId id="141169501"/>
            <p14:sldId id="141169502"/>
            <p14:sldId id="141169504"/>
            <p14:sldId id="141169222"/>
            <p14:sldId id="141169224"/>
            <p14:sldId id="2080107230"/>
            <p14:sldId id="2080107296"/>
            <p14:sldId id="94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a Sandars" initials="LS" lastIdx="0" clrIdx="0">
    <p:extLst>
      <p:ext uri="{19B8F6BF-5375-455C-9EA6-DF929625EA0E}">
        <p15:presenceInfo xmlns:p15="http://schemas.microsoft.com/office/powerpoint/2012/main" userId="S-1-5-21-3190493677-272540594-4000629471-559123" providerId="AD"/>
      </p:ext>
    </p:extLst>
  </p:cmAuthor>
  <p:cmAuthor id="2" name="Sourav Bose" initials="SB" lastIdx="21" clrIdx="1">
    <p:extLst>
      <p:ext uri="{19B8F6BF-5375-455C-9EA6-DF929625EA0E}">
        <p15:presenceInfo xmlns:p15="http://schemas.microsoft.com/office/powerpoint/2012/main" userId="S::Sourav.Bose@sg.ey.com::a3480f76-fe68-4c03-a922-c4aa16f9bb6b" providerId="AD"/>
      </p:ext>
    </p:extLst>
  </p:cmAuthor>
  <p:cmAuthor id="3" name="Nitin Datta" initials="ND" lastIdx="19" clrIdx="2">
    <p:extLst>
      <p:ext uri="{19B8F6BF-5375-455C-9EA6-DF929625EA0E}">
        <p15:presenceInfo xmlns:p15="http://schemas.microsoft.com/office/powerpoint/2012/main" userId="S::Nitin-N.Datta@sg.ey.com::df114949-ac63-4e6b-87ec-fa97f21644bb" providerId="AD"/>
      </p:ext>
    </p:extLst>
  </p:cmAuthor>
  <p:cmAuthor id="4" name="Joshua Chung" initials="JC" lastIdx="1" clrIdx="3">
    <p:extLst>
      <p:ext uri="{19B8F6BF-5375-455C-9EA6-DF929625EA0E}">
        <p15:presenceInfo xmlns:p15="http://schemas.microsoft.com/office/powerpoint/2012/main" userId="S::Joshua.Chung@sg.ey.com::079003a5-9d9b-40bc-8d08-c117999d81b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FFE600"/>
    <a:srgbClr val="FFFACC"/>
    <a:srgbClr val="3C3C3C"/>
    <a:srgbClr val="E0E0E0"/>
    <a:srgbClr val="808080"/>
    <a:srgbClr val="C2EAEC"/>
    <a:srgbClr val="000000"/>
    <a:srgbClr val="00A2AD"/>
    <a:srgbClr val="0070C0"/>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2"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34" Type="http://schemas.openxmlformats.org/officeDocument/2006/relationships/slide" Target="slides/slide5.xml"/><Relationship Id="rId42" Type="http://schemas.openxmlformats.org/officeDocument/2006/relationships/slide" Target="slides/slide13.xml"/><Relationship Id="rId47" Type="http://schemas.openxmlformats.org/officeDocument/2006/relationships/slide" Target="slides/slide18.xml"/><Relationship Id="rId50" Type="http://schemas.openxmlformats.org/officeDocument/2006/relationships/slide" Target="slides/slide21.xml"/><Relationship Id="rId55" Type="http://schemas.openxmlformats.org/officeDocument/2006/relationships/slide" Target="slides/slide26.xml"/><Relationship Id="rId63" Type="http://schemas.openxmlformats.org/officeDocument/2006/relationships/slide" Target="slides/slide34.xml"/><Relationship Id="rId68" Type="http://schemas.openxmlformats.org/officeDocument/2006/relationships/slide" Target="slides/slide39.xml"/><Relationship Id="rId76" Type="http://schemas.openxmlformats.org/officeDocument/2006/relationships/slide" Target="slides/slide47.xml"/><Relationship Id="rId84" Type="http://schemas.openxmlformats.org/officeDocument/2006/relationships/slide" Target="slides/slide55.xml"/><Relationship Id="rId89" Type="http://schemas.openxmlformats.org/officeDocument/2006/relationships/slide" Target="slides/slide60.xml"/><Relationship Id="rId97"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42.xml"/><Relationship Id="rId92"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slide" Target="slides/slide16.xml"/><Relationship Id="rId53" Type="http://schemas.openxmlformats.org/officeDocument/2006/relationships/slide" Target="slides/slide24.xml"/><Relationship Id="rId58" Type="http://schemas.openxmlformats.org/officeDocument/2006/relationships/slide" Target="slides/slide29.xml"/><Relationship Id="rId66" Type="http://schemas.openxmlformats.org/officeDocument/2006/relationships/slide" Target="slides/slide37.xml"/><Relationship Id="rId74" Type="http://schemas.openxmlformats.org/officeDocument/2006/relationships/slide" Target="slides/slide45.xml"/><Relationship Id="rId79" Type="http://schemas.openxmlformats.org/officeDocument/2006/relationships/slide" Target="slides/slide50.xml"/><Relationship Id="rId87" Type="http://schemas.openxmlformats.org/officeDocument/2006/relationships/slide" Target="slides/slide58.xml"/><Relationship Id="rId102"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32.xml"/><Relationship Id="rId82" Type="http://schemas.openxmlformats.org/officeDocument/2006/relationships/slide" Target="slides/slide53.xml"/><Relationship Id="rId90" Type="http://schemas.openxmlformats.org/officeDocument/2006/relationships/slide" Target="slides/slide61.xml"/><Relationship Id="rId95" Type="http://schemas.openxmlformats.org/officeDocument/2006/relationships/slide" Target="slides/slide66.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slide" Target="slides/slide19.xml"/><Relationship Id="rId56" Type="http://schemas.openxmlformats.org/officeDocument/2006/relationships/slide" Target="slides/slide27.xml"/><Relationship Id="rId64" Type="http://schemas.openxmlformats.org/officeDocument/2006/relationships/slide" Target="slides/slide35.xml"/><Relationship Id="rId69" Type="http://schemas.openxmlformats.org/officeDocument/2006/relationships/slide" Target="slides/slide40.xml"/><Relationship Id="rId77" Type="http://schemas.openxmlformats.org/officeDocument/2006/relationships/slide" Target="slides/slide48.xml"/><Relationship Id="rId100"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2.xml"/><Relationship Id="rId72" Type="http://schemas.openxmlformats.org/officeDocument/2006/relationships/slide" Target="slides/slide43.xml"/><Relationship Id="rId80" Type="http://schemas.openxmlformats.org/officeDocument/2006/relationships/slide" Target="slides/slide51.xml"/><Relationship Id="rId85" Type="http://schemas.openxmlformats.org/officeDocument/2006/relationships/slide" Target="slides/slide56.xml"/><Relationship Id="rId93" Type="http://schemas.openxmlformats.org/officeDocument/2006/relationships/slide" Target="slides/slide64.xml"/><Relationship Id="rId98"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slide" Target="slides/slide17.xml"/><Relationship Id="rId59" Type="http://schemas.openxmlformats.org/officeDocument/2006/relationships/slide" Target="slides/slide30.xml"/><Relationship Id="rId67" Type="http://schemas.openxmlformats.org/officeDocument/2006/relationships/slide" Target="slides/slide38.xml"/><Relationship Id="rId20" Type="http://schemas.openxmlformats.org/officeDocument/2006/relationships/slideMaster" Target="slideMasters/slideMaster17.xml"/><Relationship Id="rId41" Type="http://schemas.openxmlformats.org/officeDocument/2006/relationships/slide" Target="slides/slide12.xml"/><Relationship Id="rId54" Type="http://schemas.openxmlformats.org/officeDocument/2006/relationships/slide" Target="slides/slide25.xml"/><Relationship Id="rId62" Type="http://schemas.openxmlformats.org/officeDocument/2006/relationships/slide" Target="slides/slide33.xml"/><Relationship Id="rId70" Type="http://schemas.openxmlformats.org/officeDocument/2006/relationships/slide" Target="slides/slide41.xml"/><Relationship Id="rId75" Type="http://schemas.openxmlformats.org/officeDocument/2006/relationships/slide" Target="slides/slide46.xml"/><Relationship Id="rId83" Type="http://schemas.openxmlformats.org/officeDocument/2006/relationships/slide" Target="slides/slide54.xml"/><Relationship Id="rId88" Type="http://schemas.openxmlformats.org/officeDocument/2006/relationships/slide" Target="slides/slide59.xml"/><Relationship Id="rId91" Type="http://schemas.openxmlformats.org/officeDocument/2006/relationships/slide" Target="slides/slide62.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7.xml"/><Relationship Id="rId49" Type="http://schemas.openxmlformats.org/officeDocument/2006/relationships/slide" Target="slides/slide20.xml"/><Relationship Id="rId57" Type="http://schemas.openxmlformats.org/officeDocument/2006/relationships/slide" Target="slides/slide28.xml"/><Relationship Id="rId10" Type="http://schemas.openxmlformats.org/officeDocument/2006/relationships/slideMaster" Target="slideMasters/slideMaster7.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slide" Target="slides/slide23.xml"/><Relationship Id="rId60" Type="http://schemas.openxmlformats.org/officeDocument/2006/relationships/slide" Target="slides/slide31.xml"/><Relationship Id="rId65" Type="http://schemas.openxmlformats.org/officeDocument/2006/relationships/slide" Target="slides/slide36.xml"/><Relationship Id="rId73" Type="http://schemas.openxmlformats.org/officeDocument/2006/relationships/slide" Target="slides/slide44.xml"/><Relationship Id="rId78" Type="http://schemas.openxmlformats.org/officeDocument/2006/relationships/slide" Target="slides/slide49.xml"/><Relationship Id="rId81" Type="http://schemas.openxmlformats.org/officeDocument/2006/relationships/slide" Target="slides/slide52.xml"/><Relationship Id="rId86" Type="http://schemas.openxmlformats.org/officeDocument/2006/relationships/slide" Target="slides/slide57.xml"/><Relationship Id="rId94" Type="http://schemas.openxmlformats.org/officeDocument/2006/relationships/slide" Target="slides/slide65.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Urvil.Sheth\Desktop\BD\Chris\TDA\RFQ\AIA%20RFP%20headcounts_%20working_30%20july.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C:\Users\Urvil.Sheth\Desktop\BD\Chris\TDA\RFQ\AIA%20RFP%20headcounts_%20working_30%20july.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C:\Users\Urvil.Sheth\Desktop\BD\Chris\TDA\RFQ\AIA%20RFP%20headcounts_%20working_30%20july.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C:\Users\Urvil.Sheth\Desktop\BD\Chris\TDA\RFQ\AIA%20RFP%20headcounts_%20working_30%20july.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Urvil.Sheth\Desktop\BD\Chris\TDA\RFQ\AIA%20RFP%20headcounts_%20working_30%20july.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Urvil.Sheth\Desktop\BD\Chris\TDA\RFQ\AIA%20RFP%20headcounts_%20working_30%20july.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Urvil.Sheth\Desktop\BD\Chris\TDA\RFQ\AIA%20RFP%20headcounts_%20working_30%20july.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Urvil.Sheth\Desktop\BD\Chris\TDA\RFQ\AIA%20RFP%20headcounts_%20working_30%20july.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Urvil.Sheth\Desktop\BD\Chris\TDA\RFQ\AIA%20RFP%20headcounts_%20working_30%20july.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Urvil.Sheth\Desktop\BD\Chris\TDA\RFQ\AIA%20RFP%20headcounts_%20working_30%20july.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1.xml"/><Relationship Id="rId4" Type="http://schemas.openxmlformats.org/officeDocument/2006/relationships/oleObject" Target="file:///C:\Users\Urvil.Sheth\Desktop\BD\Chris\TDA\RFQ\AIA%20RFP%20headcounts_%20working_30%20july.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C:\Users\Urvil.Sheth\Desktop\BD\Chris\TDA\RFQ\AIA%20RFP%20headcounts_%20working_30%20jul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34C7-4B89-BF05-B4030B22B328}"/>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34C7-4B89-BF05-B4030B22B328}"/>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34C7-4B89-BF05-B4030B22B328}"/>
              </c:ext>
            </c:extLst>
          </c:dPt>
          <c:dLbls>
            <c:dLbl>
              <c:idx val="2"/>
              <c:layout>
                <c:manualLayout>
                  <c:x val="-5.3423009623797023E-3"/>
                  <c:y val="-1.736076935695538E-2"/>
                </c:manualLayout>
              </c:layout>
              <c:showLegendKey val="0"/>
              <c:showVal val="1"/>
              <c:showCatName val="0"/>
              <c:showSerName val="0"/>
              <c:showPercent val="0"/>
              <c:showBubbleSize val="0"/>
              <c:extLst>
                <c:ext xmlns:c15="http://schemas.microsoft.com/office/drawing/2012/chart" uri="{CE6537A1-D6FC-4f65-9D91-7224C49458BB}">
                  <c15:layout>
                    <c:manualLayout>
                      <c:w val="0.40769230769230763"/>
                      <c:h val="0.21354166666666663"/>
                    </c:manualLayout>
                  </c15:layout>
                </c:ext>
                <c:ext xmlns:c16="http://schemas.microsoft.com/office/drawing/2014/chart" uri="{C3380CC4-5D6E-409C-BE32-E72D297353CC}">
                  <c16:uniqueId val="{00000005-34C7-4B89-BF05-B4030B22B328}"/>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EYInterstate" panose="0200050302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B$14,'for Pivot'!$B$21,'for Pivot'!$B$25)</c:f>
              <c:numCache>
                <c:formatCode>General</c:formatCode>
                <c:ptCount val="3"/>
                <c:pt idx="0">
                  <c:v>58</c:v>
                </c:pt>
                <c:pt idx="1">
                  <c:v>28</c:v>
                </c:pt>
                <c:pt idx="2">
                  <c:v>166</c:v>
                </c:pt>
              </c:numCache>
            </c:numRef>
          </c:val>
          <c:extLst>
            <c:ext xmlns:c16="http://schemas.microsoft.com/office/drawing/2014/chart" uri="{C3380CC4-5D6E-409C-BE32-E72D297353CC}">
              <c16:uniqueId val="{00000006-34C7-4B89-BF05-B4030B22B328}"/>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latin typeface="EYInterstate Light" panose="02000506000000020004" pitchFamily="2" charset="0"/>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63756613756611"/>
          <c:y val="0.22008547008547008"/>
          <c:w val="0.69312169312169314"/>
          <c:h val="0.55982905982905984"/>
        </c:manualLayout>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1C93-494E-8ECB-C77CF6BF4D56}"/>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1C93-494E-8ECB-C77CF6BF4D56}"/>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1C93-494E-8ECB-C77CF6BF4D56}"/>
              </c:ext>
            </c:extLst>
          </c:dPt>
          <c:dLbls>
            <c:dLbl>
              <c:idx val="0"/>
              <c:tx>
                <c:rich>
                  <a:bodyPr/>
                  <a:lstStyle/>
                  <a:p>
                    <a:fld id="{8A5832E3-D546-4AD6-ACC8-37BC7EF8269A}" type="VALUE">
                      <a:rPr lang="en-US" sz="1400">
                        <a:latin typeface="EYInterstate" panose="02000503020000020004" pitchFamily="2"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C93-494E-8ECB-C77CF6BF4D56}"/>
                </c:ext>
              </c:extLst>
            </c:dLbl>
            <c:dLbl>
              <c:idx val="1"/>
              <c:delete val="1"/>
              <c:extLst>
                <c:ext xmlns:c15="http://schemas.microsoft.com/office/drawing/2012/chart" uri="{CE6537A1-D6FC-4f65-9D91-7224C49458BB}"/>
                <c:ext xmlns:c16="http://schemas.microsoft.com/office/drawing/2014/chart" uri="{C3380CC4-5D6E-409C-BE32-E72D297353CC}">
                  <c16:uniqueId val="{00000003-1C93-494E-8ECB-C77CF6BF4D56}"/>
                </c:ext>
              </c:extLst>
            </c:dLbl>
            <c:dLbl>
              <c:idx val="2"/>
              <c:tx>
                <c:rich>
                  <a:bodyPr/>
                  <a:lstStyle/>
                  <a:p>
                    <a:fld id="{9A47B6BC-284F-42AB-AF07-6BB1401AD0B6}" type="VALUE">
                      <a:rPr lang="en-US" sz="1400">
                        <a:latin typeface="EYInterstate" panose="02000503020000020004" pitchFamily="2"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1C93-494E-8ECB-C77CF6BF4D56}"/>
                </c:ext>
              </c:extLst>
            </c:dLbl>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M$14,'for Pivot'!$M$21,'for Pivot'!$M$25)</c:f>
              <c:numCache>
                <c:formatCode>General</c:formatCode>
                <c:ptCount val="3"/>
                <c:pt idx="0">
                  <c:v>15</c:v>
                </c:pt>
                <c:pt idx="1">
                  <c:v>0</c:v>
                </c:pt>
                <c:pt idx="2">
                  <c:v>17</c:v>
                </c:pt>
              </c:numCache>
            </c:numRef>
          </c:val>
          <c:extLst>
            <c:ext xmlns:c16="http://schemas.microsoft.com/office/drawing/2014/chart" uri="{C3380CC4-5D6E-409C-BE32-E72D297353CC}">
              <c16:uniqueId val="{00000006-1C93-494E-8ECB-C77CF6BF4D56}"/>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b="1">
          <a:solidFill>
            <a:schemeClr val="tx2"/>
          </a:solidFill>
          <a:latin typeface="+mn-lt"/>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63756613756611"/>
          <c:y val="0.22008547008547008"/>
          <c:w val="0.69312169312169314"/>
          <c:h val="0.55982905982905984"/>
        </c:manualLayout>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3AA3-4955-B120-3290B598D1FE}"/>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3AA3-4955-B120-3290B598D1F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3AA3-4955-B120-3290B598D1FE}"/>
              </c:ext>
            </c:extLst>
          </c:dPt>
          <c:dLbls>
            <c:dLbl>
              <c:idx val="1"/>
              <c:delete val="1"/>
              <c:extLst>
                <c:ext xmlns:c15="http://schemas.microsoft.com/office/drawing/2012/chart" uri="{CE6537A1-D6FC-4f65-9D91-7224C49458BB}"/>
                <c:ext xmlns:c16="http://schemas.microsoft.com/office/drawing/2014/chart" uri="{C3380CC4-5D6E-409C-BE32-E72D297353CC}">
                  <c16:uniqueId val="{00000003-3AA3-4955-B120-3290B598D1FE}"/>
                </c:ext>
              </c:extLst>
            </c:dLbl>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EYInterstate Light" panose="0200050600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H$14,'for Pivot'!$H$21,'for Pivot'!$H$25)</c:f>
              <c:numCache>
                <c:formatCode>General</c:formatCode>
                <c:ptCount val="3"/>
                <c:pt idx="0">
                  <c:v>5</c:v>
                </c:pt>
                <c:pt idx="1">
                  <c:v>0</c:v>
                </c:pt>
                <c:pt idx="2">
                  <c:v>5</c:v>
                </c:pt>
              </c:numCache>
            </c:numRef>
          </c:val>
          <c:extLst>
            <c:ext xmlns:c16="http://schemas.microsoft.com/office/drawing/2014/chart" uri="{C3380CC4-5D6E-409C-BE32-E72D297353CC}">
              <c16:uniqueId val="{00000006-3AA3-4955-B120-3290B598D1FE}"/>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latin typeface="EYInterstate Light" panose="02000506000000020004" pitchFamily="2" charset="0"/>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63756613756611"/>
          <c:y val="0.22008547008547008"/>
          <c:w val="0.69312169312169314"/>
          <c:h val="0.55982905982905984"/>
        </c:manualLayout>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E38-42F9-8794-F3F192BF92CE}"/>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8E38-42F9-8794-F3F192BF92C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8E38-42F9-8794-F3F192BF92CE}"/>
              </c:ext>
            </c:extLst>
          </c:dPt>
          <c:dLbls>
            <c:dLbl>
              <c:idx val="0"/>
              <c:layout>
                <c:manualLayout>
                  <c:x val="4.1335978835979215E-3"/>
                  <c:y val="6.677350427350427E-3"/>
                </c:manualLayout>
              </c:layout>
              <c:showLegendKey val="0"/>
              <c:showVal val="1"/>
              <c:showCatName val="0"/>
              <c:showSerName val="0"/>
              <c:showPercent val="0"/>
              <c:showBubbleSize val="0"/>
              <c:extLst>
                <c:ext xmlns:c15="http://schemas.microsoft.com/office/drawing/2012/chart" uri="{CE6537A1-D6FC-4f65-9D91-7224C49458BB}">
                  <c15:layout>
                    <c:manualLayout>
                      <c:w val="0.34734590467858184"/>
                      <c:h val="0.15818643162393162"/>
                    </c:manualLayout>
                  </c15:layout>
                </c:ext>
                <c:ext xmlns:c16="http://schemas.microsoft.com/office/drawing/2014/chart" uri="{C3380CC4-5D6E-409C-BE32-E72D297353CC}">
                  <c16:uniqueId val="{00000001-8E38-42F9-8794-F3F192BF92CE}"/>
                </c:ext>
              </c:extLst>
            </c:dLbl>
            <c:dLbl>
              <c:idx val="1"/>
              <c:layout>
                <c:manualLayout>
                  <c:x val="-4.8712736028188833E-2"/>
                  <c:y val="-0.10016033527660007"/>
                </c:manualLayout>
              </c:layout>
              <c:showLegendKey val="0"/>
              <c:showVal val="1"/>
              <c:showCatName val="0"/>
              <c:showSerName val="0"/>
              <c:showPercent val="0"/>
              <c:showBubbleSize val="0"/>
              <c:extLst>
                <c:ext xmlns:c15="http://schemas.microsoft.com/office/drawing/2012/chart" uri="{CE6537A1-D6FC-4f65-9D91-7224C49458BB}">
                  <c15:layout>
                    <c:manualLayout>
                      <c:w val="0.33445218386163267"/>
                      <c:h val="0.18896885936132984"/>
                    </c:manualLayout>
                  </c15:layout>
                </c:ext>
                <c:ext xmlns:c16="http://schemas.microsoft.com/office/drawing/2014/chart" uri="{C3380CC4-5D6E-409C-BE32-E72D297353CC}">
                  <c16:uniqueId val="{00000003-8E38-42F9-8794-F3F192BF92CE}"/>
                </c:ext>
              </c:extLst>
            </c:dLbl>
            <c:dLbl>
              <c:idx val="2"/>
              <c:layout>
                <c:manualLayout>
                  <c:x val="0.14734714651053235"/>
                  <c:y val="-7.8125E-2"/>
                </c:manualLayout>
              </c:layout>
              <c:showLegendKey val="0"/>
              <c:showVal val="1"/>
              <c:showCatName val="0"/>
              <c:showSerName val="0"/>
              <c:showPercent val="0"/>
              <c:showBubbleSize val="0"/>
              <c:extLst>
                <c:ext xmlns:c15="http://schemas.microsoft.com/office/drawing/2012/chart" uri="{CE6537A1-D6FC-4f65-9D91-7224C49458BB}">
                  <c15:layout>
                    <c:manualLayout>
                      <c:w val="0.30787037037037035"/>
                      <c:h val="0.18896901709401706"/>
                    </c:manualLayout>
                  </c15:layout>
                </c:ext>
                <c:ext xmlns:c16="http://schemas.microsoft.com/office/drawing/2014/chart" uri="{C3380CC4-5D6E-409C-BE32-E72D297353CC}">
                  <c16:uniqueId val="{00000005-8E38-42F9-8794-F3F192BF92CE}"/>
                </c:ext>
              </c:extLst>
            </c:dLbl>
            <c:spPr>
              <a:noFill/>
              <a:ln>
                <a:noFill/>
              </a:ln>
              <a:effectLst/>
            </c:spPr>
            <c:txPr>
              <a:bodyPr rot="0" spcFirstLastPara="1" vertOverflow="ellipsis" vert="horz" wrap="square" anchor="ctr" anchorCtr="1"/>
              <a:lstStyle/>
              <a:p>
                <a:pPr>
                  <a:defRPr sz="900" b="0" i="0" u="none" strike="noStrike" kern="1200" baseline="0">
                    <a:solidFill>
                      <a:srgbClr val="333333"/>
                    </a:solidFill>
                    <a:latin typeface="EYInterstate Light" panose="0200050600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M$14,'for Pivot'!$M$21,'for Pivot'!$M$25)</c:f>
              <c:numCache>
                <c:formatCode>General</c:formatCode>
                <c:ptCount val="3"/>
                <c:pt idx="0">
                  <c:v>4252</c:v>
                </c:pt>
                <c:pt idx="1">
                  <c:v>166</c:v>
                </c:pt>
                <c:pt idx="2">
                  <c:v>188</c:v>
                </c:pt>
              </c:numCache>
            </c:numRef>
          </c:val>
          <c:extLst>
            <c:ext xmlns:c16="http://schemas.microsoft.com/office/drawing/2014/chart" uri="{C3380CC4-5D6E-409C-BE32-E72D297353CC}">
              <c16:uniqueId val="{00000006-8E38-42F9-8794-F3F192BF92CE}"/>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333333"/>
          </a:solidFill>
          <a:latin typeface="EYInterstate Light" panose="02000506000000020004" pitchFamily="2"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343915343915343"/>
          <c:y val="0.20673076923076922"/>
          <c:w val="0.69312169312169314"/>
          <c:h val="0.55982905982905984"/>
        </c:manualLayout>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CDA9-4771-91D7-6F8A7E63750A}"/>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CDA9-4771-91D7-6F8A7E63750A}"/>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CDA9-4771-91D7-6F8A7E63750A}"/>
              </c:ext>
            </c:extLst>
          </c:dPt>
          <c:dLbls>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EYInterstate Light" panose="0200050600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H$14,'for Pivot'!$H$21,'for Pivot'!$H$25)</c:f>
              <c:numCache>
                <c:formatCode>General</c:formatCode>
                <c:ptCount val="3"/>
                <c:pt idx="0">
                  <c:v>11</c:v>
                </c:pt>
                <c:pt idx="1">
                  <c:v>5</c:v>
                </c:pt>
                <c:pt idx="2">
                  <c:v>17</c:v>
                </c:pt>
              </c:numCache>
            </c:numRef>
          </c:val>
          <c:extLst>
            <c:ext xmlns:c16="http://schemas.microsoft.com/office/drawing/2014/chart" uri="{C3380CC4-5D6E-409C-BE32-E72D297353CC}">
              <c16:uniqueId val="{00000006-CDA9-4771-91D7-6F8A7E63750A}"/>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latin typeface="EYInterstate Light" panose="02000506000000020004" pitchFamily="2"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90476190476189"/>
          <c:y val="0.21340811965811965"/>
          <c:w val="0.69312169312169314"/>
          <c:h val="0.55982905982905984"/>
        </c:manualLayout>
      </c:layout>
      <c:doughnutChart>
        <c:varyColors val="1"/>
        <c:ser>
          <c:idx val="0"/>
          <c:order val="0"/>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E3F-476A-8072-836A9FB4D64F}"/>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8E3F-476A-8072-836A9FB4D64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8E3F-476A-8072-836A9FB4D64F}"/>
              </c:ext>
            </c:extLst>
          </c:dPt>
          <c:dLbls>
            <c:dLbl>
              <c:idx val="1"/>
              <c:tx>
                <c:rich>
                  <a:bodyPr/>
                  <a:lstStyle/>
                  <a:p>
                    <a:fld id="{DDB90F47-E6E1-4531-B55D-263DBCE3CADE}" type="VALUE">
                      <a:rPr lang="en-US">
                        <a:solidFill>
                          <a:schemeClr val="tx2"/>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E3F-476A-8072-836A9FB4D64F}"/>
                </c:ext>
              </c:extLst>
            </c:dLbl>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EYInterstate Light" panose="0200050600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O$14,'for Pivot'!$O$21,'for Pivot'!$O$25)</c:f>
              <c:numCache>
                <c:formatCode>General</c:formatCode>
                <c:ptCount val="3"/>
                <c:pt idx="0">
                  <c:v>49</c:v>
                </c:pt>
                <c:pt idx="1">
                  <c:v>100</c:v>
                </c:pt>
                <c:pt idx="2">
                  <c:v>52</c:v>
                </c:pt>
              </c:numCache>
            </c:numRef>
          </c:val>
          <c:extLst>
            <c:ext xmlns:c16="http://schemas.microsoft.com/office/drawing/2014/chart" uri="{C3380CC4-5D6E-409C-BE32-E72D297353CC}">
              <c16:uniqueId val="{00000006-8E3F-476A-8072-836A9FB4D64F}"/>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EYInterstate Light" panose="02000506000000020004" pitchFamily="2"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0072-4D0C-9118-89522E815C43}"/>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0072-4D0C-9118-89522E815C43}"/>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072-4D0C-9118-89522E815C43}"/>
              </c:ext>
            </c:extLst>
          </c:dPt>
          <c:dLbls>
            <c:dLbl>
              <c:idx val="1"/>
              <c:delete val="1"/>
              <c:extLst>
                <c:ext xmlns:c15="http://schemas.microsoft.com/office/drawing/2012/chart" uri="{CE6537A1-D6FC-4f65-9D91-7224C49458BB}"/>
                <c:ext xmlns:c16="http://schemas.microsoft.com/office/drawing/2014/chart" uri="{C3380CC4-5D6E-409C-BE32-E72D297353CC}">
                  <c16:uniqueId val="{00000003-0072-4D0C-9118-89522E815C43}"/>
                </c:ext>
              </c:extLst>
            </c:dLbl>
            <c:dLbl>
              <c:idx val="2"/>
              <c:layout>
                <c:manualLayout>
                  <c:x val="2.1367941988020729E-2"/>
                  <c:y val="-3.472256397637799E-2"/>
                </c:manualLayout>
              </c:layout>
              <c:showLegendKey val="0"/>
              <c:showVal val="1"/>
              <c:showCatName val="0"/>
              <c:showSerName val="0"/>
              <c:showPercent val="0"/>
              <c:showBubbleSize val="0"/>
              <c:extLst>
                <c:ext xmlns:c15="http://schemas.microsoft.com/office/drawing/2012/chart" uri="{CE6537A1-D6FC-4f65-9D91-7224C49458BB}">
                  <c15:layout>
                    <c:manualLayout>
                      <c:w val="0.35427350427350424"/>
                      <c:h val="0.21354166666666663"/>
                    </c:manualLayout>
                  </c15:layout>
                </c:ext>
                <c:ext xmlns:c16="http://schemas.microsoft.com/office/drawing/2014/chart" uri="{C3380CC4-5D6E-409C-BE32-E72D297353CC}">
                  <c16:uniqueId val="{00000005-0072-4D0C-9118-89522E815C43}"/>
                </c:ext>
              </c:extLst>
            </c:dLbl>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EYInterstate Light" panose="0200050600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N$14,'for Pivot'!$N$21,'for Pivot'!$N$25)</c:f>
              <c:numCache>
                <c:formatCode>General</c:formatCode>
                <c:ptCount val="3"/>
                <c:pt idx="0">
                  <c:v>263</c:v>
                </c:pt>
                <c:pt idx="1">
                  <c:v>0</c:v>
                </c:pt>
                <c:pt idx="2">
                  <c:v>125</c:v>
                </c:pt>
              </c:numCache>
            </c:numRef>
          </c:val>
          <c:extLst>
            <c:ext xmlns:c16="http://schemas.microsoft.com/office/drawing/2014/chart" uri="{C3380CC4-5D6E-409C-BE32-E72D297353CC}">
              <c16:uniqueId val="{00000006-0072-4D0C-9118-89522E815C43}"/>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latin typeface="EYInterstate Light" panose="02000506000000020004" pitchFamily="2"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C34F-4F7A-A748-8F3405D72079}"/>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C34F-4F7A-A748-8F3405D72079}"/>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C34F-4F7A-A748-8F3405D72079}"/>
              </c:ext>
            </c:extLst>
          </c:dPt>
          <c:dLbls>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EYInterstate Light" panose="0200050600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I$14,'for Pivot'!$I$21,'for Pivot'!$I$25)</c:f>
              <c:numCache>
                <c:formatCode>General</c:formatCode>
                <c:ptCount val="3"/>
                <c:pt idx="0">
                  <c:v>54</c:v>
                </c:pt>
                <c:pt idx="1">
                  <c:v>6</c:v>
                </c:pt>
                <c:pt idx="2">
                  <c:v>149</c:v>
                </c:pt>
              </c:numCache>
            </c:numRef>
          </c:val>
          <c:extLst>
            <c:ext xmlns:c16="http://schemas.microsoft.com/office/drawing/2014/chart" uri="{C3380CC4-5D6E-409C-BE32-E72D297353CC}">
              <c16:uniqueId val="{00000006-C34F-4F7A-A748-8F3405D72079}"/>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latin typeface="EYInterstate Light" panose="02000506000000020004" pitchFamily="2"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F3E8-4DA3-B86A-96B7A7330549}"/>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F3E8-4DA3-B86A-96B7A7330549}"/>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F3E8-4DA3-B86A-96B7A7330549}"/>
              </c:ext>
            </c:extLst>
          </c:dPt>
          <c:dLbls>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EYInterstate Light" panose="0200050600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D$14,'for Pivot'!$D$21,'for Pivot'!$D$25)</c:f>
              <c:numCache>
                <c:formatCode>General</c:formatCode>
                <c:ptCount val="3"/>
                <c:pt idx="0">
                  <c:v>17</c:v>
                </c:pt>
                <c:pt idx="1">
                  <c:v>2</c:v>
                </c:pt>
                <c:pt idx="2">
                  <c:v>67</c:v>
                </c:pt>
              </c:numCache>
            </c:numRef>
          </c:val>
          <c:extLst>
            <c:ext xmlns:c16="http://schemas.microsoft.com/office/drawing/2014/chart" uri="{C3380CC4-5D6E-409C-BE32-E72D297353CC}">
              <c16:uniqueId val="{00000006-F3E8-4DA3-B86A-96B7A7330549}"/>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latin typeface="EYInterstate Light" panose="02000506000000020004" pitchFamily="2" charset="0"/>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2C1A-4C5B-AD8E-2D48FC4457C2}"/>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2C1A-4C5B-AD8E-2D48FC4457C2}"/>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2C1A-4C5B-AD8E-2D48FC4457C2}"/>
              </c:ext>
            </c:extLst>
          </c:dPt>
          <c:dLbls>
            <c:dLbl>
              <c:idx val="0"/>
              <c:tx>
                <c:rich>
                  <a:bodyPr/>
                  <a:lstStyle/>
                  <a:p>
                    <a:fld id="{D36D1FAE-E0A1-42EE-8E24-7946DCCFD211}" type="VALUE">
                      <a:rPr lang="en-US">
                        <a:solidFill>
                          <a:schemeClr val="tx2"/>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C1A-4C5B-AD8E-2D48FC4457C2}"/>
                </c:ext>
              </c:extLst>
            </c:dLbl>
            <c:dLbl>
              <c:idx val="1"/>
              <c:delete val="1"/>
              <c:extLst>
                <c:ext xmlns:c15="http://schemas.microsoft.com/office/drawing/2012/chart" uri="{CE6537A1-D6FC-4f65-9D91-7224C49458BB}"/>
                <c:ext xmlns:c16="http://schemas.microsoft.com/office/drawing/2014/chart" uri="{C3380CC4-5D6E-409C-BE32-E72D297353CC}">
                  <c16:uniqueId val="{00000003-2C1A-4C5B-AD8E-2D48FC4457C2}"/>
                </c:ext>
              </c:extLst>
            </c:dLbl>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EYInterstate Light" panose="0200050600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C$14,'for Pivot'!$C$21,'for Pivot'!$C$25)</c:f>
              <c:numCache>
                <c:formatCode>General</c:formatCode>
                <c:ptCount val="3"/>
                <c:pt idx="0">
                  <c:v>16</c:v>
                </c:pt>
                <c:pt idx="1">
                  <c:v>0</c:v>
                </c:pt>
                <c:pt idx="2">
                  <c:v>19</c:v>
                </c:pt>
              </c:numCache>
            </c:numRef>
          </c:val>
          <c:extLst>
            <c:ext xmlns:c16="http://schemas.microsoft.com/office/drawing/2014/chart" uri="{C3380CC4-5D6E-409C-BE32-E72D297353CC}">
              <c16:uniqueId val="{00000006-2C1A-4C5B-AD8E-2D48FC4457C2}"/>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latin typeface="EYInterstate Light" panose="02000506000000020004" pitchFamily="2" charset="0"/>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63756613756611"/>
          <c:y val="0.22008547008547008"/>
          <c:w val="0.69312169312169314"/>
          <c:h val="0.55982905982905984"/>
        </c:manualLayout>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E813-4980-9D9A-4E015DA91C00}"/>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E813-4980-9D9A-4E015DA91C00}"/>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E813-4980-9D9A-4E015DA91C00}"/>
              </c:ext>
            </c:extLst>
          </c:dPt>
          <c:dLbls>
            <c:dLbl>
              <c:idx val="0"/>
              <c:layout>
                <c:manualLayout>
                  <c:x val="-1.6534391534391533E-2"/>
                  <c:y val="-1.3354700854700885E-2"/>
                </c:manualLayout>
              </c:layout>
              <c:tx>
                <c:rich>
                  <a:bodyPr/>
                  <a:lstStyle/>
                  <a:p>
                    <a:r>
                      <a:rPr lang="en-US" dirty="0"/>
                      <a:t>3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13-4980-9D9A-4E015DA91C00}"/>
                </c:ext>
              </c:extLst>
            </c:dLbl>
            <c:dLbl>
              <c:idx val="1"/>
              <c:layout>
                <c:manualLayout>
                  <c:x val="3.3068783068783067E-2"/>
                  <c:y val="-2.00320512820513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13-4980-9D9A-4E015DA91C00}"/>
                </c:ext>
              </c:extLst>
            </c:dLbl>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EYInterstate" panose="0200050302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L$14,'for Pivot'!$L$21,'for Pivot'!$L$25)</c:f>
              <c:numCache>
                <c:formatCode>General</c:formatCode>
                <c:ptCount val="3"/>
                <c:pt idx="0">
                  <c:v>14</c:v>
                </c:pt>
                <c:pt idx="1">
                  <c:v>4</c:v>
                </c:pt>
                <c:pt idx="2">
                  <c:v>140</c:v>
                </c:pt>
              </c:numCache>
            </c:numRef>
          </c:val>
          <c:extLst>
            <c:ext xmlns:c16="http://schemas.microsoft.com/office/drawing/2014/chart" uri="{C3380CC4-5D6E-409C-BE32-E72D297353CC}">
              <c16:uniqueId val="{00000006-E813-4980-9D9A-4E015DA91C00}"/>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2"/>
          </a:solidFill>
          <a:latin typeface="EYInterstate" panose="02000503020000020004" pitchFamily="2" charset="0"/>
        </a:defRPr>
      </a:pPr>
      <a:endParaRPr lang="en-US"/>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63756613756611"/>
          <c:y val="0.22008547008547008"/>
          <c:w val="0.69312169312169314"/>
          <c:h val="0.55982905982905984"/>
        </c:manualLayout>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527E-4C13-8182-26BCA4D9FAFE}"/>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527E-4C13-8182-26BCA4D9FAF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527E-4C13-8182-26BCA4D9FAFE}"/>
              </c:ext>
            </c:extLst>
          </c:dPt>
          <c:dLbls>
            <c:spPr>
              <a:noFill/>
              <a:ln>
                <a:noFill/>
              </a:ln>
              <a:effectLst/>
            </c:spPr>
            <c:txPr>
              <a:bodyPr rot="0" spcFirstLastPara="1" vertOverflow="ellipsis" vert="horz" wrap="square" anchor="ctr" anchorCtr="1"/>
              <a:lstStyle/>
              <a:p>
                <a:pPr>
                  <a:defRPr sz="900" b="1" i="0" u="none" strike="noStrike" kern="1200" baseline="0">
                    <a:solidFill>
                      <a:schemeClr val="tx2"/>
                    </a:solidFill>
                    <a:latin typeface="EYInterstate Light" panose="02000506000000020004" pitchFamily="2"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r Pivot'!$A$14,'for Pivot'!$A$21,'for Pivot'!$A$25)</c:f>
              <c:strCache>
                <c:ptCount val="3"/>
                <c:pt idx="0">
                  <c:v>Data &amp; analytics</c:v>
                </c:pt>
                <c:pt idx="1">
                  <c:v>User Experience</c:v>
                </c:pt>
                <c:pt idx="2">
                  <c:v>Digital Tech</c:v>
                </c:pt>
              </c:strCache>
            </c:strRef>
          </c:cat>
          <c:val>
            <c:numRef>
              <c:f>('for Pivot'!$K$14,'for Pivot'!$K$21,'for Pivot'!$K$25)</c:f>
              <c:numCache>
                <c:formatCode>General</c:formatCode>
                <c:ptCount val="3"/>
                <c:pt idx="0">
                  <c:v>38</c:v>
                </c:pt>
                <c:pt idx="1">
                  <c:v>4</c:v>
                </c:pt>
                <c:pt idx="2">
                  <c:v>140</c:v>
                </c:pt>
              </c:numCache>
            </c:numRef>
          </c:val>
          <c:extLst>
            <c:ext xmlns:c16="http://schemas.microsoft.com/office/drawing/2014/chart" uri="{C3380CC4-5D6E-409C-BE32-E72D297353CC}">
              <c16:uniqueId val="{00000006-527E-4C13-8182-26BCA4D9FAFE}"/>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latin typeface="EYInterstate Light" panose="02000506000000020004" pitchFamily="2"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accent2"/>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1"/>
              </a:solidFill>
              <a:latin typeface="EYInterstate Light"/>
              <a:ea typeface="+mn-ea"/>
              <a:cs typeface="+mn-cs"/>
            </a:rPr>
            <a:t>Q1. General</a:t>
          </a:r>
        </a:p>
      </dgm:t>
    </dgm:pt>
    <dgm:pt modelId="{8E3B3157-8DBC-4FED-87D2-FCB0767BFF6D}" type="parTrans" cxnId="{B38FBD47-E3C1-4584-B555-8EF512280E0A}">
      <dgm:prSet/>
      <dgm:spPr/>
      <dgm:t>
        <a:bodyPr/>
        <a:lstStyle/>
        <a:p>
          <a:endParaRPr lang="en-US">
            <a:latin typeface="+mn-lt"/>
          </a:endParaRPr>
        </a:p>
      </dgm:t>
    </dgm:pt>
    <dgm:pt modelId="{6D5E303A-7892-43F5-A39F-D1D8869A926B}" type="sibTrans" cxnId="{B38FBD47-E3C1-4584-B555-8EF512280E0A}">
      <dgm:prSet/>
      <dgm:spPr/>
      <dgm:t>
        <a:bodyPr/>
        <a:lstStyle/>
        <a:p>
          <a:endParaRPr lang="en-US">
            <a:latin typeface="+mn-lt"/>
          </a:endParaRPr>
        </a:p>
      </dgm:t>
    </dgm:pt>
    <dgm:pt modelId="{82F33808-1A30-43F3-ADA7-88F15155A521}">
      <dgm:prSet phldrT="[Text]" custT="1"/>
      <dgm:spPr>
        <a:xfrm>
          <a:off x="5001021" y="2084652"/>
          <a:ext cx="3123406" cy="1249362"/>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600">
              <a:solidFill>
                <a:sysClr val="window" lastClr="FFFFFF"/>
              </a:solidFill>
              <a:latin typeface="+mn-lt"/>
              <a:ea typeface="+mn-ea"/>
              <a:cs typeface="+mn-cs"/>
            </a:rPr>
            <a:t>Q3. Assets, Tools &amp; Accelerators</a:t>
          </a:r>
        </a:p>
      </dgm:t>
    </dgm:pt>
    <dgm:pt modelId="{EE8B952B-957A-4FF7-8CC0-766F8B4F698F}" type="parTrans" cxnId="{28EAC51B-D291-470F-83AD-0EBFEC47B789}">
      <dgm:prSet/>
      <dgm:spPr/>
      <dgm:t>
        <a:bodyPr/>
        <a:lstStyle/>
        <a:p>
          <a:endParaRPr lang="en-US">
            <a:latin typeface="+mn-lt"/>
          </a:endParaRPr>
        </a:p>
      </dgm:t>
    </dgm:pt>
    <dgm:pt modelId="{1F07D0C1-9AF6-41D5-BDA9-794CCFAD5C27}" type="sibTrans" cxnId="{28EAC51B-D291-470F-83AD-0EBFEC47B789}">
      <dgm:prSet/>
      <dgm:spPr/>
      <dgm:t>
        <a:bodyPr/>
        <a:lstStyle/>
        <a:p>
          <a:endParaRPr lang="en-US">
            <a:latin typeface="+mn-lt"/>
          </a:endParaRPr>
        </a:p>
      </dgm:t>
    </dgm:pt>
    <dgm:pt modelId="{91ECB0DE-5ADB-45DC-9C54-CC3A7FF7A015}">
      <dgm:prSet phldrT="[Text]" custT="1"/>
      <dgm:spPr>
        <a:xfrm>
          <a:off x="5001021" y="2084652"/>
          <a:ext cx="3123406" cy="1249362"/>
        </a:xfrm>
        <a:solidFill>
          <a:schemeClr val="bg1"/>
        </a:solidFill>
        <a:ln w="12700" cap="flat" cmpd="sng" algn="ctr">
          <a:solidFill>
            <a:sysClr val="window" lastClr="FFFFFF">
              <a:hueOff val="0"/>
              <a:satOff val="0"/>
              <a:lumOff val="0"/>
              <a:alphaOff val="0"/>
            </a:sysClr>
          </a:solidFill>
          <a:prstDash val="solid"/>
          <a:miter lim="800000"/>
        </a:ln>
        <a:effectLst/>
      </dgm:spPr>
      <dgm: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Q2. Team (Depth, Flexibility &amp; Skills</a:t>
          </a:r>
          <a:endParaRPr lang="en-US" sz="600" kern="1200">
            <a:solidFill>
              <a:sysClr val="window" lastClr="FFFFFF"/>
            </a:solidFill>
            <a:latin typeface="EYInterstate Light"/>
            <a:ea typeface="+mn-ea"/>
            <a:cs typeface="+mn-cs"/>
          </a:endParaRPr>
        </a:p>
      </dgm:t>
    </dgm:pt>
    <dgm:pt modelId="{44C9CF60-B70E-47A9-9F84-490BE7637D0B}" type="parTrans" cxnId="{E4AA1674-9D5B-496D-9885-5055A9D3F4F7}">
      <dgm:prSet/>
      <dgm:spPr/>
      <dgm:t>
        <a:bodyPr/>
        <a:lstStyle/>
        <a:p>
          <a:endParaRPr lang="en-US"/>
        </a:p>
      </dgm:t>
    </dgm:pt>
    <dgm:pt modelId="{04B8FBB7-1D70-438E-9D79-A7748E1EF1DC}" type="sibTrans" cxnId="{E4AA1674-9D5B-496D-9885-5055A9D3F4F7}">
      <dgm:prSet/>
      <dgm:spPr/>
      <dgm:t>
        <a:bodyPr/>
        <a:lstStyle/>
        <a:p>
          <a:endParaRPr lang="en-US"/>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3">
        <dgm:presLayoutVars>
          <dgm:bulletEnabled val="1"/>
        </dgm:presLayoutVars>
      </dgm:prSet>
      <dgm:spPr>
        <a:xfrm>
          <a:off x="439" y="0"/>
          <a:ext cx="856738" cy="273345"/>
        </a:xfrm>
        <a:prstGeom prst="homePlate">
          <a:avLst/>
        </a:prstGeom>
      </dgm:spPr>
    </dgm:pt>
    <dgm:pt modelId="{A37B3827-2C1C-4E4A-95BF-31302553E8E9}" type="pres">
      <dgm:prSet presAssocID="{6D5E303A-7892-43F5-A39F-D1D8869A926B}" presName="parSpace" presStyleCnt="0"/>
      <dgm:spPr/>
    </dgm:pt>
    <dgm:pt modelId="{76212330-C1FC-401E-89CF-68665DE345E5}" type="pres">
      <dgm:prSet presAssocID="{91ECB0DE-5ADB-45DC-9C54-CC3A7FF7A015}" presName="parTxOnly" presStyleLbl="node1" presStyleIdx="1" presStyleCnt="3">
        <dgm:presLayoutVars>
          <dgm:bulletEnabled val="1"/>
        </dgm:presLayoutVars>
      </dgm:prSet>
      <dgm:spPr/>
    </dgm:pt>
    <dgm:pt modelId="{F8D3F44A-76EB-4466-945C-D10F688F3BD6}" type="pres">
      <dgm:prSet presAssocID="{04B8FBB7-1D70-438E-9D79-A7748E1EF1DC}" presName="parSpace" presStyleCnt="0"/>
      <dgm:spPr/>
    </dgm:pt>
    <dgm:pt modelId="{49DC1B39-843B-4442-BC2B-F1D746694542}" type="pres">
      <dgm:prSet presAssocID="{82F33808-1A30-43F3-ADA7-88F15155A521}" presName="parTxOnly" presStyleLbl="node1" presStyleIdx="2" presStyleCnt="3">
        <dgm:presLayoutVars>
          <dgm:bulletEnabled val="1"/>
        </dgm:presLayoutVars>
      </dgm:prSet>
      <dgm:spPr/>
    </dgm:pt>
  </dgm:ptLst>
  <dgm:cxnLst>
    <dgm:cxn modelId="{28EAC51B-D291-470F-83AD-0EBFEC47B789}" srcId="{6656E1C4-BE68-41DF-90AD-C4D6430C221E}" destId="{82F33808-1A30-43F3-ADA7-88F15155A521}" srcOrd="2" destOrd="0" parTransId="{EE8B952B-957A-4FF7-8CC0-766F8B4F698F}" sibTransId="{1F07D0C1-9AF6-41D5-BDA9-794CCFAD5C27}"/>
    <dgm:cxn modelId="{B38FBD47-E3C1-4584-B555-8EF512280E0A}" srcId="{6656E1C4-BE68-41DF-90AD-C4D6430C221E}" destId="{800EE8D8-A9A1-4862-9F1C-0110A712C3D3}" srcOrd="0" destOrd="0" parTransId="{8E3B3157-8DBC-4FED-87D2-FCB0767BFF6D}" sibTransId="{6D5E303A-7892-43F5-A39F-D1D8869A926B}"/>
    <dgm:cxn modelId="{E4AA1674-9D5B-496D-9885-5055A9D3F4F7}" srcId="{6656E1C4-BE68-41DF-90AD-C4D6430C221E}" destId="{91ECB0DE-5ADB-45DC-9C54-CC3A7FF7A015}" srcOrd="1" destOrd="0" parTransId="{44C9CF60-B70E-47A9-9F84-490BE7637D0B}" sibTransId="{04B8FBB7-1D70-438E-9D79-A7748E1EF1DC}"/>
    <dgm:cxn modelId="{AD323487-D6B5-486B-B3A0-13E64C9DFDF1}" type="presOf" srcId="{800EE8D8-A9A1-4862-9F1C-0110A712C3D3}" destId="{9EA7ACE5-1326-4A75-A244-CAF86395FE2E}" srcOrd="0" destOrd="0" presId="urn:microsoft.com/office/officeart/2005/8/layout/hChevron3"/>
    <dgm:cxn modelId="{1C69CDCA-B132-4FA7-91BD-E7E73FD85ADF}" type="presOf" srcId="{91ECB0DE-5ADB-45DC-9C54-CC3A7FF7A015}" destId="{76212330-C1FC-401E-89CF-68665DE345E5}" srcOrd="0" destOrd="0" presId="urn:microsoft.com/office/officeart/2005/8/layout/hChevron3"/>
    <dgm:cxn modelId="{C5972AED-2FB4-431C-8897-495A2F9D9813}" type="presOf" srcId="{6656E1C4-BE68-41DF-90AD-C4D6430C221E}" destId="{B00278D6-6D01-40ED-9662-22AEA09096D1}" srcOrd="0" destOrd="0" presId="urn:microsoft.com/office/officeart/2005/8/layout/hChevron3"/>
    <dgm:cxn modelId="{43064BFE-33F1-42FB-AB5C-443102AB7858}" type="presOf" srcId="{82F33808-1A30-43F3-ADA7-88F15155A521}" destId="{49DC1B39-843B-4442-BC2B-F1D746694542}"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FB81F8B6-9BFD-462A-B6BC-2BD5DE7C37FD}" type="presParOf" srcId="{B00278D6-6D01-40ED-9662-22AEA09096D1}" destId="{A37B3827-2C1C-4E4A-95BF-31302553E8E9}" srcOrd="1" destOrd="0" presId="urn:microsoft.com/office/officeart/2005/8/layout/hChevron3"/>
    <dgm:cxn modelId="{9405182F-7231-4BF2-9AC0-86CF07DABB9B}" type="presParOf" srcId="{B00278D6-6D01-40ED-9662-22AEA09096D1}" destId="{76212330-C1FC-401E-89CF-68665DE345E5}" srcOrd="2" destOrd="0" presId="urn:microsoft.com/office/officeart/2005/8/layout/hChevron3"/>
    <dgm:cxn modelId="{1797C5A2-7223-4F55-AF93-2F4C119BFD0C}" type="presParOf" srcId="{B00278D6-6D01-40ED-9662-22AEA09096D1}" destId="{F8D3F44A-76EB-4466-945C-D10F688F3BD6}" srcOrd="3" destOrd="0" presId="urn:microsoft.com/office/officeart/2005/8/layout/hChevron3"/>
    <dgm:cxn modelId="{35CC5DFC-E60F-4B68-AC0E-3B6CB3AEC912}" type="presParOf" srcId="{B00278D6-6D01-40ED-9662-22AEA09096D1}" destId="{49DC1B39-843B-4442-BC2B-F1D746694542}" srcOrd="4"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EE58EE5-7E84-47CB-91AF-49C077E8DAAE}"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59068693-3BDA-42A4-80BC-FDF440F4094D}" type="pres">
      <dgm:prSet presAssocID="{BEE58EE5-7E84-47CB-91AF-49C077E8DAAE}" presName="Name0" presStyleCnt="0">
        <dgm:presLayoutVars>
          <dgm:chMax/>
          <dgm:chPref/>
          <dgm:dir/>
          <dgm:animLvl val="lvl"/>
        </dgm:presLayoutVars>
      </dgm:prSet>
      <dgm:spPr/>
    </dgm:pt>
  </dgm:ptLst>
  <dgm:cxnLst>
    <dgm:cxn modelId="{44FC9C13-A793-45A5-930C-593BA7FC7DAB}" type="presOf" srcId="{BEE58EE5-7E84-47CB-91AF-49C077E8DAAE}" destId="{59068693-3BDA-42A4-80BC-FDF440F4094D}" srcOrd="0"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D365C6D-225C-4909-A2DE-F5D2738F7709}" type="doc">
      <dgm:prSet loTypeId="urn:microsoft.com/office/officeart/2005/8/layout/cycle6" loCatId="cycle" qsTypeId="urn:microsoft.com/office/officeart/2005/8/quickstyle/simple4" qsCatId="simple" csTypeId="urn:microsoft.com/office/officeart/2005/8/colors/accent2_2" csCatId="accent2" phldr="1"/>
      <dgm:spPr/>
      <dgm:t>
        <a:bodyPr/>
        <a:lstStyle/>
        <a:p>
          <a:endParaRPr lang="en-US"/>
        </a:p>
      </dgm:t>
    </dgm:pt>
    <dgm:pt modelId="{7A824892-0728-4DE6-984D-3265D6079284}">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tx2"/>
        </a:solidFill>
        <a:ln>
          <a:solidFill>
            <a:schemeClr val="accent2"/>
          </a:solidFill>
        </a:ln>
      </dgm:spPr>
      <dgm:t>
        <a:bodyPr/>
        <a:lstStyle/>
        <a:p>
          <a:r>
            <a:rPr lang="en-US" sz="800" b="0" dirty="0">
              <a:solidFill>
                <a:schemeClr val="tx1"/>
              </a:solidFill>
              <a:latin typeface="+mj-lt"/>
            </a:rPr>
            <a:t>1. Engage Business Stakeholders early on the journey</a:t>
          </a:r>
        </a:p>
      </dgm:t>
    </dgm:pt>
    <dgm:pt modelId="{BEACD47E-4B04-4D83-9B9F-923FB9AF61FE}" type="parTrans" cxnId="{775EDDAB-CA3A-474F-B801-759700EE1DC0}">
      <dgm:prSet/>
      <dgm:spPr/>
      <dgm:t>
        <a:bodyPr/>
        <a:lstStyle/>
        <a:p>
          <a:endParaRPr lang="en-US"/>
        </a:p>
      </dgm:t>
    </dgm:pt>
    <dgm:pt modelId="{57592D97-EEBE-41ED-8FF7-62AB0067CE63}" type="sibTrans" cxnId="{775EDDAB-CA3A-474F-B801-759700EE1DC0}">
      <dgm:prSet>
        <dgm:style>
          <a:lnRef idx="2">
            <a:schemeClr val="accent6"/>
          </a:lnRef>
          <a:fillRef idx="0">
            <a:schemeClr val="accent6"/>
          </a:fillRef>
          <a:effectRef idx="1">
            <a:schemeClr val="accent6"/>
          </a:effectRef>
          <a:fontRef idx="minor">
            <a:schemeClr val="tx1"/>
          </a:fontRef>
        </dgm:style>
      </dgm:prSet>
      <dgm:spPr>
        <a:ln w="57150"/>
      </dgm:spPr>
      <dgm:t>
        <a:bodyPr/>
        <a:lstStyle/>
        <a:p>
          <a:endParaRPr lang="en-US"/>
        </a:p>
      </dgm:t>
    </dgm:pt>
    <dgm:pt modelId="{8AC49331-00DB-429E-A381-3E2A27100B55}">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tx2"/>
        </a:solidFill>
        <a:ln>
          <a:solidFill>
            <a:schemeClr val="accent2"/>
          </a:solidFill>
        </a:ln>
      </dgm:spPr>
      <dgm:t>
        <a:bodyPr/>
        <a:lstStyle/>
        <a:p>
          <a:r>
            <a:rPr lang="en-US" sz="800" b="0" dirty="0">
              <a:solidFill>
                <a:schemeClr val="tx1"/>
              </a:solidFill>
              <a:latin typeface="+mj-lt"/>
            </a:rPr>
            <a:t>2. Engage Design Authority Stakeholders early</a:t>
          </a:r>
        </a:p>
      </dgm:t>
    </dgm:pt>
    <dgm:pt modelId="{9301915F-96E0-435A-99A5-89AE88DE63D2}" type="parTrans" cxnId="{DFFB51B4-2A19-4C68-AA09-4AFCC8724B4F}">
      <dgm:prSet/>
      <dgm:spPr/>
      <dgm:t>
        <a:bodyPr/>
        <a:lstStyle/>
        <a:p>
          <a:endParaRPr lang="en-US"/>
        </a:p>
      </dgm:t>
    </dgm:pt>
    <dgm:pt modelId="{56E219DA-71CB-4753-8F00-2AB4C49FB162}" type="sibTrans" cxnId="{DFFB51B4-2A19-4C68-AA09-4AFCC8724B4F}">
      <dgm:prSet>
        <dgm:style>
          <a:lnRef idx="2">
            <a:schemeClr val="accent6"/>
          </a:lnRef>
          <a:fillRef idx="0">
            <a:schemeClr val="accent6"/>
          </a:fillRef>
          <a:effectRef idx="1">
            <a:schemeClr val="accent6"/>
          </a:effectRef>
          <a:fontRef idx="minor">
            <a:schemeClr val="tx1"/>
          </a:fontRef>
        </dgm:style>
      </dgm:prSet>
      <dgm:spPr>
        <a:ln w="57150"/>
      </dgm:spPr>
      <dgm:t>
        <a:bodyPr/>
        <a:lstStyle/>
        <a:p>
          <a:endParaRPr lang="en-US"/>
        </a:p>
      </dgm:t>
    </dgm:pt>
    <dgm:pt modelId="{B94C2A38-2EDB-4773-B012-5DA99B62CE97}">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tx2"/>
        </a:solidFill>
        <a:ln>
          <a:solidFill>
            <a:schemeClr val="accent2"/>
          </a:solidFill>
        </a:ln>
      </dgm:spPr>
      <dgm:t>
        <a:bodyPr/>
        <a:lstStyle/>
        <a:p>
          <a:r>
            <a:rPr lang="en-US" sz="800" b="0" dirty="0">
              <a:solidFill>
                <a:schemeClr val="tx1"/>
              </a:solidFill>
              <a:latin typeface="+mj-lt"/>
            </a:rPr>
            <a:t>3. Only use approved AIA Group Approved Azure Services</a:t>
          </a:r>
        </a:p>
      </dgm:t>
    </dgm:pt>
    <dgm:pt modelId="{220EE86C-930A-4D8C-9CCE-93D1DEED67D8}" type="parTrans" cxnId="{EFE8A51A-3C76-42DB-BDDE-EF4E0F0FE916}">
      <dgm:prSet/>
      <dgm:spPr/>
      <dgm:t>
        <a:bodyPr/>
        <a:lstStyle/>
        <a:p>
          <a:endParaRPr lang="en-US"/>
        </a:p>
      </dgm:t>
    </dgm:pt>
    <dgm:pt modelId="{830B10E4-5719-40BE-8974-BC9733E331CE}" type="sibTrans" cxnId="{EFE8A51A-3C76-42DB-BDDE-EF4E0F0FE916}">
      <dgm:prSet>
        <dgm:style>
          <a:lnRef idx="2">
            <a:schemeClr val="accent6"/>
          </a:lnRef>
          <a:fillRef idx="0">
            <a:schemeClr val="accent6"/>
          </a:fillRef>
          <a:effectRef idx="1">
            <a:schemeClr val="accent6"/>
          </a:effectRef>
          <a:fontRef idx="minor">
            <a:schemeClr val="tx1"/>
          </a:fontRef>
        </dgm:style>
      </dgm:prSet>
      <dgm:spPr>
        <a:ln w="57150"/>
      </dgm:spPr>
      <dgm:t>
        <a:bodyPr/>
        <a:lstStyle/>
        <a:p>
          <a:endParaRPr lang="en-US"/>
        </a:p>
      </dgm:t>
    </dgm:pt>
    <dgm:pt modelId="{73721AE6-85BF-4242-A540-85FFDD267BD4}">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tx2"/>
        </a:solidFill>
        <a:ln>
          <a:solidFill>
            <a:schemeClr val="accent2"/>
          </a:solidFill>
        </a:ln>
      </dgm:spPr>
      <dgm:t>
        <a:bodyPr/>
        <a:lstStyle/>
        <a:p>
          <a:r>
            <a:rPr lang="en-US" sz="800" b="0" dirty="0">
              <a:solidFill>
                <a:schemeClr val="tx1"/>
              </a:solidFill>
              <a:latin typeface="+mj-lt"/>
            </a:rPr>
            <a:t>4. Limit UAT Cycles</a:t>
          </a:r>
        </a:p>
      </dgm:t>
    </dgm:pt>
    <dgm:pt modelId="{0763FB04-176B-491E-BA60-A3EA8D0F180D}" type="parTrans" cxnId="{C9CF8E4A-E01D-473C-9FB6-FFC472D2AFD7}">
      <dgm:prSet/>
      <dgm:spPr/>
      <dgm:t>
        <a:bodyPr/>
        <a:lstStyle/>
        <a:p>
          <a:endParaRPr lang="en-US"/>
        </a:p>
      </dgm:t>
    </dgm:pt>
    <dgm:pt modelId="{3E64B7FA-4EA7-4BB2-8AAB-617A6F9FEFDF}" type="sibTrans" cxnId="{C9CF8E4A-E01D-473C-9FB6-FFC472D2AFD7}">
      <dgm:prSet>
        <dgm:style>
          <a:lnRef idx="2">
            <a:schemeClr val="accent6"/>
          </a:lnRef>
          <a:fillRef idx="0">
            <a:schemeClr val="accent6"/>
          </a:fillRef>
          <a:effectRef idx="1">
            <a:schemeClr val="accent6"/>
          </a:effectRef>
          <a:fontRef idx="minor">
            <a:schemeClr val="tx1"/>
          </a:fontRef>
        </dgm:style>
      </dgm:prSet>
      <dgm:spPr>
        <a:ln w="57150"/>
      </dgm:spPr>
      <dgm:t>
        <a:bodyPr/>
        <a:lstStyle/>
        <a:p>
          <a:endParaRPr lang="en-US"/>
        </a:p>
      </dgm:t>
    </dgm:pt>
    <dgm:pt modelId="{B74901FB-26B5-4F04-BE07-A2D8828FBF82}">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tx2"/>
        </a:solidFill>
        <a:ln>
          <a:solidFill>
            <a:schemeClr val="accent2"/>
          </a:solidFill>
        </a:ln>
      </dgm:spPr>
      <dgm:t>
        <a:bodyPr/>
        <a:lstStyle/>
        <a:p>
          <a:r>
            <a:rPr lang="en-US" sz="800" b="0" dirty="0">
              <a:solidFill>
                <a:schemeClr val="tx1"/>
              </a:solidFill>
              <a:latin typeface="+mj-lt"/>
            </a:rPr>
            <a:t>5. Define Business Benefit for Each Use Case</a:t>
          </a:r>
        </a:p>
      </dgm:t>
    </dgm:pt>
    <dgm:pt modelId="{11F551F8-E323-45D9-A370-71A01D8763E3}" type="parTrans" cxnId="{0F8FD1F6-ADA0-4150-953B-0B1114A424A8}">
      <dgm:prSet/>
      <dgm:spPr/>
      <dgm:t>
        <a:bodyPr/>
        <a:lstStyle/>
        <a:p>
          <a:endParaRPr lang="en-US"/>
        </a:p>
      </dgm:t>
    </dgm:pt>
    <dgm:pt modelId="{552421AE-7B55-4C7C-98BC-5E51DEE1D8F1}" type="sibTrans" cxnId="{0F8FD1F6-ADA0-4150-953B-0B1114A424A8}">
      <dgm:prSet>
        <dgm:style>
          <a:lnRef idx="2">
            <a:schemeClr val="accent6"/>
          </a:lnRef>
          <a:fillRef idx="0">
            <a:schemeClr val="accent6"/>
          </a:fillRef>
          <a:effectRef idx="1">
            <a:schemeClr val="accent6"/>
          </a:effectRef>
          <a:fontRef idx="minor">
            <a:schemeClr val="tx1"/>
          </a:fontRef>
        </dgm:style>
      </dgm:prSet>
      <dgm:spPr>
        <a:ln w="57150"/>
      </dgm:spPr>
      <dgm:t>
        <a:bodyPr/>
        <a:lstStyle/>
        <a:p>
          <a:endParaRPr lang="en-US"/>
        </a:p>
      </dgm:t>
    </dgm:pt>
    <dgm:pt modelId="{F458F36B-1830-4CDF-B1BC-0C2BC0BCC584}">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tx2"/>
        </a:solidFill>
        <a:ln>
          <a:solidFill>
            <a:schemeClr val="accent2"/>
          </a:solidFill>
        </a:ln>
      </dgm:spPr>
      <dgm:t>
        <a:bodyPr/>
        <a:lstStyle/>
        <a:p>
          <a:r>
            <a:rPr lang="en-US" sz="800" b="0" dirty="0">
              <a:solidFill>
                <a:schemeClr val="tx1"/>
              </a:solidFill>
              <a:latin typeface="+mj-lt"/>
            </a:rPr>
            <a:t>6. Engage Change Activity Board early</a:t>
          </a:r>
        </a:p>
      </dgm:t>
    </dgm:pt>
    <dgm:pt modelId="{6CCA20CF-018C-4D0B-9D36-49C9AB654B87}" type="parTrans" cxnId="{FED1F78D-F729-4833-A7AE-E8C313BEDCB9}">
      <dgm:prSet/>
      <dgm:spPr/>
      <dgm:t>
        <a:bodyPr/>
        <a:lstStyle/>
        <a:p>
          <a:endParaRPr lang="en-US"/>
        </a:p>
      </dgm:t>
    </dgm:pt>
    <dgm:pt modelId="{C3FADAE6-60B3-47E1-BF74-5B8E4B8F8FCE}" type="sibTrans" cxnId="{FED1F78D-F729-4833-A7AE-E8C313BEDCB9}">
      <dgm:prSet>
        <dgm:style>
          <a:lnRef idx="2">
            <a:schemeClr val="accent6"/>
          </a:lnRef>
          <a:fillRef idx="0">
            <a:schemeClr val="accent6"/>
          </a:fillRef>
          <a:effectRef idx="1">
            <a:schemeClr val="accent6"/>
          </a:effectRef>
          <a:fontRef idx="minor">
            <a:schemeClr val="tx1"/>
          </a:fontRef>
        </dgm:style>
      </dgm:prSet>
      <dgm:spPr>
        <a:ln w="57150"/>
      </dgm:spPr>
      <dgm:t>
        <a:bodyPr/>
        <a:lstStyle/>
        <a:p>
          <a:endParaRPr lang="en-US"/>
        </a:p>
      </dgm:t>
    </dgm:pt>
    <dgm:pt modelId="{6CF262C1-86BB-4603-8F3C-309A3EA395E7}">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tx2"/>
        </a:solidFill>
        <a:ln>
          <a:solidFill>
            <a:schemeClr val="accent2"/>
          </a:solidFill>
        </a:ln>
      </dgm:spPr>
      <dgm:t>
        <a:bodyPr/>
        <a:lstStyle/>
        <a:p>
          <a:r>
            <a:rPr lang="en-US" sz="800" b="0" dirty="0">
              <a:solidFill>
                <a:schemeClr val="tx1"/>
              </a:solidFill>
              <a:latin typeface="+mj-lt"/>
            </a:rPr>
            <a:t>7. Automation</a:t>
          </a:r>
        </a:p>
      </dgm:t>
    </dgm:pt>
    <dgm:pt modelId="{BEEBC9BB-98C5-4FC0-B8A3-DB7FD752C701}" type="parTrans" cxnId="{F7F2A36A-D5D3-45EA-AF76-D1F376900623}">
      <dgm:prSet/>
      <dgm:spPr/>
      <dgm:t>
        <a:bodyPr/>
        <a:lstStyle/>
        <a:p>
          <a:endParaRPr lang="en-US"/>
        </a:p>
      </dgm:t>
    </dgm:pt>
    <dgm:pt modelId="{4FD2F52E-E699-4DA4-888F-C5ADC997985B}" type="sibTrans" cxnId="{F7F2A36A-D5D3-45EA-AF76-D1F376900623}">
      <dgm:prSet>
        <dgm:style>
          <a:lnRef idx="2">
            <a:schemeClr val="accent6"/>
          </a:lnRef>
          <a:fillRef idx="0">
            <a:schemeClr val="accent6"/>
          </a:fillRef>
          <a:effectRef idx="1">
            <a:schemeClr val="accent6"/>
          </a:effectRef>
          <a:fontRef idx="minor">
            <a:schemeClr val="tx1"/>
          </a:fontRef>
        </dgm:style>
      </dgm:prSet>
      <dgm:spPr>
        <a:ln w="57150"/>
      </dgm:spPr>
      <dgm:t>
        <a:bodyPr/>
        <a:lstStyle/>
        <a:p>
          <a:endParaRPr lang="en-US"/>
        </a:p>
      </dgm:t>
    </dgm:pt>
    <dgm:pt modelId="{EBBD81D5-DD50-4563-9073-F9267949A3E7}">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tx2"/>
        </a:solidFill>
        <a:ln>
          <a:solidFill>
            <a:schemeClr val="accent2"/>
          </a:solidFill>
        </a:ln>
      </dgm:spPr>
      <dgm:t>
        <a:bodyPr/>
        <a:lstStyle/>
        <a:p>
          <a:r>
            <a:rPr lang="en-US" sz="800" b="0" dirty="0">
              <a:solidFill>
                <a:schemeClr val="tx1"/>
              </a:solidFill>
              <a:latin typeface="+mj-lt"/>
            </a:rPr>
            <a:t>8. Limit UAT Cycles </a:t>
          </a:r>
        </a:p>
      </dgm:t>
    </dgm:pt>
    <dgm:pt modelId="{5C11981A-9C59-45BA-949A-678B71400579}" type="parTrans" cxnId="{12EB8A5D-54A9-404D-AE54-7CD614CE8322}">
      <dgm:prSet/>
      <dgm:spPr/>
      <dgm:t>
        <a:bodyPr/>
        <a:lstStyle/>
        <a:p>
          <a:endParaRPr lang="en-US"/>
        </a:p>
      </dgm:t>
    </dgm:pt>
    <dgm:pt modelId="{99FF87C5-2541-4144-9822-7FD64B449C3C}" type="sibTrans" cxnId="{12EB8A5D-54A9-404D-AE54-7CD614CE8322}">
      <dgm:prSet>
        <dgm:style>
          <a:lnRef idx="2">
            <a:schemeClr val="accent6"/>
          </a:lnRef>
          <a:fillRef idx="0">
            <a:schemeClr val="accent6"/>
          </a:fillRef>
          <a:effectRef idx="1">
            <a:schemeClr val="accent6"/>
          </a:effectRef>
          <a:fontRef idx="minor">
            <a:schemeClr val="tx1"/>
          </a:fontRef>
        </dgm:style>
      </dgm:prSet>
      <dgm:spPr>
        <a:ln w="57150"/>
      </dgm:spPr>
      <dgm:t>
        <a:bodyPr/>
        <a:lstStyle/>
        <a:p>
          <a:endParaRPr lang="en-US"/>
        </a:p>
      </dgm:t>
    </dgm:pt>
    <dgm:pt modelId="{67BA6EA4-DB62-4C78-AB03-312913E6537B}">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tx2"/>
        </a:solidFill>
        <a:ln>
          <a:solidFill>
            <a:schemeClr val="accent2"/>
          </a:solidFill>
        </a:ln>
      </dgm:spPr>
      <dgm:t>
        <a:bodyPr/>
        <a:lstStyle/>
        <a:p>
          <a:r>
            <a:rPr lang="en-US" sz="800" b="0" dirty="0">
              <a:solidFill>
                <a:schemeClr val="tx1"/>
              </a:solidFill>
              <a:latin typeface="+mj-lt"/>
            </a:rPr>
            <a:t>9. Perform Multiple Small releases into Production</a:t>
          </a:r>
        </a:p>
      </dgm:t>
    </dgm:pt>
    <dgm:pt modelId="{FC0DA690-1D54-47C5-9359-C493FCEB14BF}" type="parTrans" cxnId="{C634A962-65BE-4DF9-9A4C-F6723F12FBFE}">
      <dgm:prSet/>
      <dgm:spPr/>
      <dgm:t>
        <a:bodyPr/>
        <a:lstStyle/>
        <a:p>
          <a:endParaRPr lang="en-US"/>
        </a:p>
      </dgm:t>
    </dgm:pt>
    <dgm:pt modelId="{3AC5B6C1-F462-4382-A885-7C0D2AE90247}" type="sibTrans" cxnId="{C634A962-65BE-4DF9-9A4C-F6723F12FBFE}">
      <dgm:prSet/>
      <dgm:spPr>
        <a:ln w="57150">
          <a:solidFill>
            <a:schemeClr val="accent6"/>
          </a:solidFill>
        </a:ln>
      </dgm:spPr>
      <dgm:t>
        <a:bodyPr/>
        <a:lstStyle/>
        <a:p>
          <a:endParaRPr lang="en-US"/>
        </a:p>
      </dgm:t>
    </dgm:pt>
    <dgm:pt modelId="{E11162D6-CD0C-4C5F-BAF8-87B076EBA6EC}" type="pres">
      <dgm:prSet presAssocID="{6D365C6D-225C-4909-A2DE-F5D2738F7709}" presName="cycle" presStyleCnt="0">
        <dgm:presLayoutVars>
          <dgm:dir/>
          <dgm:resizeHandles val="exact"/>
        </dgm:presLayoutVars>
      </dgm:prSet>
      <dgm:spPr/>
    </dgm:pt>
    <dgm:pt modelId="{DEAC0573-3B16-4903-AC95-11AAA3CF39AF}" type="pres">
      <dgm:prSet presAssocID="{7A824892-0728-4DE6-984D-3265D6079284}" presName="node" presStyleLbl="node1" presStyleIdx="0" presStyleCnt="9">
        <dgm:presLayoutVars>
          <dgm:bulletEnabled val="1"/>
        </dgm:presLayoutVars>
      </dgm:prSet>
      <dgm:spPr/>
    </dgm:pt>
    <dgm:pt modelId="{F157DE46-2564-470C-A536-BC42BE08017D}" type="pres">
      <dgm:prSet presAssocID="{7A824892-0728-4DE6-984D-3265D6079284}" presName="spNode" presStyleCnt="0"/>
      <dgm:spPr/>
    </dgm:pt>
    <dgm:pt modelId="{3CB00855-AA4F-46B8-92FA-546E58A2E864}" type="pres">
      <dgm:prSet presAssocID="{57592D97-EEBE-41ED-8FF7-62AB0067CE63}" presName="sibTrans" presStyleLbl="sibTrans1D1" presStyleIdx="0" presStyleCnt="9"/>
      <dgm:spPr/>
    </dgm:pt>
    <dgm:pt modelId="{5BC7387E-1305-4DAC-9802-76B8EE8EB43A}" type="pres">
      <dgm:prSet presAssocID="{8AC49331-00DB-429E-A381-3E2A27100B55}" presName="node" presStyleLbl="node1" presStyleIdx="1" presStyleCnt="9">
        <dgm:presLayoutVars>
          <dgm:bulletEnabled val="1"/>
        </dgm:presLayoutVars>
      </dgm:prSet>
      <dgm:spPr/>
    </dgm:pt>
    <dgm:pt modelId="{3EF41527-33B5-47D3-9318-67E97A8BDE69}" type="pres">
      <dgm:prSet presAssocID="{8AC49331-00DB-429E-A381-3E2A27100B55}" presName="spNode" presStyleCnt="0"/>
      <dgm:spPr/>
    </dgm:pt>
    <dgm:pt modelId="{27B2E1E4-C0EE-483C-BC20-D15D0EBF033A}" type="pres">
      <dgm:prSet presAssocID="{56E219DA-71CB-4753-8F00-2AB4C49FB162}" presName="sibTrans" presStyleLbl="sibTrans1D1" presStyleIdx="1" presStyleCnt="9"/>
      <dgm:spPr/>
    </dgm:pt>
    <dgm:pt modelId="{096DB13C-C3BA-4BEE-813F-53400749BDEC}" type="pres">
      <dgm:prSet presAssocID="{B94C2A38-2EDB-4773-B012-5DA99B62CE97}" presName="node" presStyleLbl="node1" presStyleIdx="2" presStyleCnt="9">
        <dgm:presLayoutVars>
          <dgm:bulletEnabled val="1"/>
        </dgm:presLayoutVars>
      </dgm:prSet>
      <dgm:spPr/>
    </dgm:pt>
    <dgm:pt modelId="{66C9D5E0-E4DE-4533-AA75-460F66DBA55D}" type="pres">
      <dgm:prSet presAssocID="{B94C2A38-2EDB-4773-B012-5DA99B62CE97}" presName="spNode" presStyleCnt="0"/>
      <dgm:spPr/>
    </dgm:pt>
    <dgm:pt modelId="{D1FCBF35-9F25-4CF7-A149-535B61AC231E}" type="pres">
      <dgm:prSet presAssocID="{830B10E4-5719-40BE-8974-BC9733E331CE}" presName="sibTrans" presStyleLbl="sibTrans1D1" presStyleIdx="2" presStyleCnt="9"/>
      <dgm:spPr/>
    </dgm:pt>
    <dgm:pt modelId="{F684140D-54AC-485D-91B5-6C17ADDB2DBF}" type="pres">
      <dgm:prSet presAssocID="{73721AE6-85BF-4242-A540-85FFDD267BD4}" presName="node" presStyleLbl="node1" presStyleIdx="3" presStyleCnt="9">
        <dgm:presLayoutVars>
          <dgm:bulletEnabled val="1"/>
        </dgm:presLayoutVars>
      </dgm:prSet>
      <dgm:spPr/>
    </dgm:pt>
    <dgm:pt modelId="{134F7EF7-B41F-454C-941C-0601A5ED5311}" type="pres">
      <dgm:prSet presAssocID="{73721AE6-85BF-4242-A540-85FFDD267BD4}" presName="spNode" presStyleCnt="0"/>
      <dgm:spPr/>
    </dgm:pt>
    <dgm:pt modelId="{E13437C3-13DE-44FD-A1E9-541D1444392D}" type="pres">
      <dgm:prSet presAssocID="{3E64B7FA-4EA7-4BB2-8AAB-617A6F9FEFDF}" presName="sibTrans" presStyleLbl="sibTrans1D1" presStyleIdx="3" presStyleCnt="9"/>
      <dgm:spPr/>
    </dgm:pt>
    <dgm:pt modelId="{57CB2FA8-9CF1-4A55-B81E-A637A3B947F3}" type="pres">
      <dgm:prSet presAssocID="{B74901FB-26B5-4F04-BE07-A2D8828FBF82}" presName="node" presStyleLbl="node1" presStyleIdx="4" presStyleCnt="9">
        <dgm:presLayoutVars>
          <dgm:bulletEnabled val="1"/>
        </dgm:presLayoutVars>
      </dgm:prSet>
      <dgm:spPr/>
    </dgm:pt>
    <dgm:pt modelId="{69312AD4-7851-42B4-BB7D-63DFDD41F620}" type="pres">
      <dgm:prSet presAssocID="{B74901FB-26B5-4F04-BE07-A2D8828FBF82}" presName="spNode" presStyleCnt="0"/>
      <dgm:spPr/>
    </dgm:pt>
    <dgm:pt modelId="{BE38CBE6-4761-4B82-B8F4-803F15617AC6}" type="pres">
      <dgm:prSet presAssocID="{552421AE-7B55-4C7C-98BC-5E51DEE1D8F1}" presName="sibTrans" presStyleLbl="sibTrans1D1" presStyleIdx="4" presStyleCnt="9"/>
      <dgm:spPr/>
    </dgm:pt>
    <dgm:pt modelId="{E8E85099-CDD4-4322-AFF1-CB7EBED428B7}" type="pres">
      <dgm:prSet presAssocID="{F458F36B-1830-4CDF-B1BC-0C2BC0BCC584}" presName="node" presStyleLbl="node1" presStyleIdx="5" presStyleCnt="9">
        <dgm:presLayoutVars>
          <dgm:bulletEnabled val="1"/>
        </dgm:presLayoutVars>
      </dgm:prSet>
      <dgm:spPr/>
    </dgm:pt>
    <dgm:pt modelId="{9681EFCE-B631-4EFB-B0E9-5A9122913A35}" type="pres">
      <dgm:prSet presAssocID="{F458F36B-1830-4CDF-B1BC-0C2BC0BCC584}" presName="spNode" presStyleCnt="0"/>
      <dgm:spPr/>
    </dgm:pt>
    <dgm:pt modelId="{00E9754D-FDC8-4EA2-BFC8-4D9445A6BD8B}" type="pres">
      <dgm:prSet presAssocID="{C3FADAE6-60B3-47E1-BF74-5B8E4B8F8FCE}" presName="sibTrans" presStyleLbl="sibTrans1D1" presStyleIdx="5" presStyleCnt="9"/>
      <dgm:spPr/>
    </dgm:pt>
    <dgm:pt modelId="{AD7297CB-7736-468F-9B11-C9E11A948254}" type="pres">
      <dgm:prSet presAssocID="{6CF262C1-86BB-4603-8F3C-309A3EA395E7}" presName="node" presStyleLbl="node1" presStyleIdx="6" presStyleCnt="9">
        <dgm:presLayoutVars>
          <dgm:bulletEnabled val="1"/>
        </dgm:presLayoutVars>
      </dgm:prSet>
      <dgm:spPr/>
    </dgm:pt>
    <dgm:pt modelId="{824449E9-5194-4B2C-838F-710FE8F68E5B}" type="pres">
      <dgm:prSet presAssocID="{6CF262C1-86BB-4603-8F3C-309A3EA395E7}" presName="spNode" presStyleCnt="0"/>
      <dgm:spPr/>
    </dgm:pt>
    <dgm:pt modelId="{015F9BE6-FC94-46F4-B7DD-BA8A851E4385}" type="pres">
      <dgm:prSet presAssocID="{4FD2F52E-E699-4DA4-888F-C5ADC997985B}" presName="sibTrans" presStyleLbl="sibTrans1D1" presStyleIdx="6" presStyleCnt="9"/>
      <dgm:spPr/>
    </dgm:pt>
    <dgm:pt modelId="{3D1D03FB-5D96-4EB4-A769-ADB5E344A3CD}" type="pres">
      <dgm:prSet presAssocID="{EBBD81D5-DD50-4563-9073-F9267949A3E7}" presName="node" presStyleLbl="node1" presStyleIdx="7" presStyleCnt="9">
        <dgm:presLayoutVars>
          <dgm:bulletEnabled val="1"/>
        </dgm:presLayoutVars>
      </dgm:prSet>
      <dgm:spPr/>
    </dgm:pt>
    <dgm:pt modelId="{114CB938-F0AC-4277-AE3D-3DA67A45B8D8}" type="pres">
      <dgm:prSet presAssocID="{EBBD81D5-DD50-4563-9073-F9267949A3E7}" presName="spNode" presStyleCnt="0"/>
      <dgm:spPr/>
    </dgm:pt>
    <dgm:pt modelId="{2EF4558D-9767-4286-B711-0E5C6BF742AB}" type="pres">
      <dgm:prSet presAssocID="{99FF87C5-2541-4144-9822-7FD64B449C3C}" presName="sibTrans" presStyleLbl="sibTrans1D1" presStyleIdx="7" presStyleCnt="9"/>
      <dgm:spPr/>
    </dgm:pt>
    <dgm:pt modelId="{5DC171DB-B060-4E8D-90A5-C0866BBE072B}" type="pres">
      <dgm:prSet presAssocID="{67BA6EA4-DB62-4C78-AB03-312913E6537B}" presName="node" presStyleLbl="node1" presStyleIdx="8" presStyleCnt="9">
        <dgm:presLayoutVars>
          <dgm:bulletEnabled val="1"/>
        </dgm:presLayoutVars>
      </dgm:prSet>
      <dgm:spPr/>
    </dgm:pt>
    <dgm:pt modelId="{124EF154-5747-4F74-AF59-4372BAF4EB9C}" type="pres">
      <dgm:prSet presAssocID="{67BA6EA4-DB62-4C78-AB03-312913E6537B}" presName="spNode" presStyleCnt="0"/>
      <dgm:spPr/>
    </dgm:pt>
    <dgm:pt modelId="{28F33B58-28D1-4A9B-B3C6-912F7C4236A9}" type="pres">
      <dgm:prSet presAssocID="{3AC5B6C1-F462-4382-A885-7C0D2AE90247}" presName="sibTrans" presStyleLbl="sibTrans1D1" presStyleIdx="8" presStyleCnt="9"/>
      <dgm:spPr/>
    </dgm:pt>
  </dgm:ptLst>
  <dgm:cxnLst>
    <dgm:cxn modelId="{800E7706-DF09-4102-B116-31A0A43EE6AA}" type="presOf" srcId="{56E219DA-71CB-4753-8F00-2AB4C49FB162}" destId="{27B2E1E4-C0EE-483C-BC20-D15D0EBF033A}" srcOrd="0" destOrd="0" presId="urn:microsoft.com/office/officeart/2005/8/layout/cycle6"/>
    <dgm:cxn modelId="{D1529E08-93DB-435C-8058-015B25E0263B}" type="presOf" srcId="{EBBD81D5-DD50-4563-9073-F9267949A3E7}" destId="{3D1D03FB-5D96-4EB4-A769-ADB5E344A3CD}" srcOrd="0" destOrd="0" presId="urn:microsoft.com/office/officeart/2005/8/layout/cycle6"/>
    <dgm:cxn modelId="{51035F19-00D4-4032-9426-446887C8961A}" type="presOf" srcId="{99FF87C5-2541-4144-9822-7FD64B449C3C}" destId="{2EF4558D-9767-4286-B711-0E5C6BF742AB}" srcOrd="0" destOrd="0" presId="urn:microsoft.com/office/officeart/2005/8/layout/cycle6"/>
    <dgm:cxn modelId="{EFE8A51A-3C76-42DB-BDDE-EF4E0F0FE916}" srcId="{6D365C6D-225C-4909-A2DE-F5D2738F7709}" destId="{B94C2A38-2EDB-4773-B012-5DA99B62CE97}" srcOrd="2" destOrd="0" parTransId="{220EE86C-930A-4D8C-9CCE-93D1DEED67D8}" sibTransId="{830B10E4-5719-40BE-8974-BC9733E331CE}"/>
    <dgm:cxn modelId="{7E4E9935-D7FE-4A6E-85EC-300C88999016}" type="presOf" srcId="{3AC5B6C1-F462-4382-A885-7C0D2AE90247}" destId="{28F33B58-28D1-4A9B-B3C6-912F7C4236A9}" srcOrd="0" destOrd="0" presId="urn:microsoft.com/office/officeart/2005/8/layout/cycle6"/>
    <dgm:cxn modelId="{14B45637-3A21-405A-B5C1-405CAEF2FBED}" type="presOf" srcId="{F458F36B-1830-4CDF-B1BC-0C2BC0BCC584}" destId="{E8E85099-CDD4-4322-AFF1-CB7EBED428B7}" srcOrd="0" destOrd="0" presId="urn:microsoft.com/office/officeart/2005/8/layout/cycle6"/>
    <dgm:cxn modelId="{12EB8A5D-54A9-404D-AE54-7CD614CE8322}" srcId="{6D365C6D-225C-4909-A2DE-F5D2738F7709}" destId="{EBBD81D5-DD50-4563-9073-F9267949A3E7}" srcOrd="7" destOrd="0" parTransId="{5C11981A-9C59-45BA-949A-678B71400579}" sibTransId="{99FF87C5-2541-4144-9822-7FD64B449C3C}"/>
    <dgm:cxn modelId="{C634A962-65BE-4DF9-9A4C-F6723F12FBFE}" srcId="{6D365C6D-225C-4909-A2DE-F5D2738F7709}" destId="{67BA6EA4-DB62-4C78-AB03-312913E6537B}" srcOrd="8" destOrd="0" parTransId="{FC0DA690-1D54-47C5-9359-C493FCEB14BF}" sibTransId="{3AC5B6C1-F462-4382-A885-7C0D2AE90247}"/>
    <dgm:cxn modelId="{C9CF8E4A-E01D-473C-9FB6-FFC472D2AFD7}" srcId="{6D365C6D-225C-4909-A2DE-F5D2738F7709}" destId="{73721AE6-85BF-4242-A540-85FFDD267BD4}" srcOrd="3" destOrd="0" parTransId="{0763FB04-176B-491E-BA60-A3EA8D0F180D}" sibTransId="{3E64B7FA-4EA7-4BB2-8AAB-617A6F9FEFDF}"/>
    <dgm:cxn modelId="{F7F2A36A-D5D3-45EA-AF76-D1F376900623}" srcId="{6D365C6D-225C-4909-A2DE-F5D2738F7709}" destId="{6CF262C1-86BB-4603-8F3C-309A3EA395E7}" srcOrd="6" destOrd="0" parTransId="{BEEBC9BB-98C5-4FC0-B8A3-DB7FD752C701}" sibTransId="{4FD2F52E-E699-4DA4-888F-C5ADC997985B}"/>
    <dgm:cxn modelId="{B770C959-3BCE-49F3-9A02-61682A77DFA3}" type="presOf" srcId="{6CF262C1-86BB-4603-8F3C-309A3EA395E7}" destId="{AD7297CB-7736-468F-9B11-C9E11A948254}" srcOrd="0" destOrd="0" presId="urn:microsoft.com/office/officeart/2005/8/layout/cycle6"/>
    <dgm:cxn modelId="{96049881-6A26-4EEB-828B-C69CA43396B6}" type="presOf" srcId="{6D365C6D-225C-4909-A2DE-F5D2738F7709}" destId="{E11162D6-CD0C-4C5F-BAF8-87B076EBA6EC}" srcOrd="0" destOrd="0" presId="urn:microsoft.com/office/officeart/2005/8/layout/cycle6"/>
    <dgm:cxn modelId="{2F3AB882-3402-47EC-A781-30B10D8ACDC7}" type="presOf" srcId="{B74901FB-26B5-4F04-BE07-A2D8828FBF82}" destId="{57CB2FA8-9CF1-4A55-B81E-A637A3B947F3}" srcOrd="0" destOrd="0" presId="urn:microsoft.com/office/officeart/2005/8/layout/cycle6"/>
    <dgm:cxn modelId="{09D0158B-3343-4FE9-BF0B-ECDD65E3974D}" type="presOf" srcId="{830B10E4-5719-40BE-8974-BC9733E331CE}" destId="{D1FCBF35-9F25-4CF7-A149-535B61AC231E}" srcOrd="0" destOrd="0" presId="urn:microsoft.com/office/officeart/2005/8/layout/cycle6"/>
    <dgm:cxn modelId="{FED1F78D-F729-4833-A7AE-E8C313BEDCB9}" srcId="{6D365C6D-225C-4909-A2DE-F5D2738F7709}" destId="{F458F36B-1830-4CDF-B1BC-0C2BC0BCC584}" srcOrd="5" destOrd="0" parTransId="{6CCA20CF-018C-4D0B-9D36-49C9AB654B87}" sibTransId="{C3FADAE6-60B3-47E1-BF74-5B8E4B8F8FCE}"/>
    <dgm:cxn modelId="{5B618292-25D2-4A9E-BAF0-CF0A59A0FC50}" type="presOf" srcId="{57592D97-EEBE-41ED-8FF7-62AB0067CE63}" destId="{3CB00855-AA4F-46B8-92FA-546E58A2E864}" srcOrd="0" destOrd="0" presId="urn:microsoft.com/office/officeart/2005/8/layout/cycle6"/>
    <dgm:cxn modelId="{B1106F9C-C0DC-478C-B3C6-DE0EF700984A}" type="presOf" srcId="{4FD2F52E-E699-4DA4-888F-C5ADC997985B}" destId="{015F9BE6-FC94-46F4-B7DD-BA8A851E4385}" srcOrd="0" destOrd="0" presId="urn:microsoft.com/office/officeart/2005/8/layout/cycle6"/>
    <dgm:cxn modelId="{775EDDAB-CA3A-474F-B801-759700EE1DC0}" srcId="{6D365C6D-225C-4909-A2DE-F5D2738F7709}" destId="{7A824892-0728-4DE6-984D-3265D6079284}" srcOrd="0" destOrd="0" parTransId="{BEACD47E-4B04-4D83-9B9F-923FB9AF61FE}" sibTransId="{57592D97-EEBE-41ED-8FF7-62AB0067CE63}"/>
    <dgm:cxn modelId="{DFFB51B4-2A19-4C68-AA09-4AFCC8724B4F}" srcId="{6D365C6D-225C-4909-A2DE-F5D2738F7709}" destId="{8AC49331-00DB-429E-A381-3E2A27100B55}" srcOrd="1" destOrd="0" parTransId="{9301915F-96E0-435A-99A5-89AE88DE63D2}" sibTransId="{56E219DA-71CB-4753-8F00-2AB4C49FB162}"/>
    <dgm:cxn modelId="{BBE06DB9-71FF-4CFE-8AF0-0A19E7F085A4}" type="presOf" srcId="{73721AE6-85BF-4242-A540-85FFDD267BD4}" destId="{F684140D-54AC-485D-91B5-6C17ADDB2DBF}" srcOrd="0" destOrd="0" presId="urn:microsoft.com/office/officeart/2005/8/layout/cycle6"/>
    <dgm:cxn modelId="{437791BA-7705-4F9F-B451-FEEA0554A326}" type="presOf" srcId="{C3FADAE6-60B3-47E1-BF74-5B8E4B8F8FCE}" destId="{00E9754D-FDC8-4EA2-BFC8-4D9445A6BD8B}" srcOrd="0" destOrd="0" presId="urn:microsoft.com/office/officeart/2005/8/layout/cycle6"/>
    <dgm:cxn modelId="{F27A0AD2-E4BA-4C45-913A-26216AF29045}" type="presOf" srcId="{3E64B7FA-4EA7-4BB2-8AAB-617A6F9FEFDF}" destId="{E13437C3-13DE-44FD-A1E9-541D1444392D}" srcOrd="0" destOrd="0" presId="urn:microsoft.com/office/officeart/2005/8/layout/cycle6"/>
    <dgm:cxn modelId="{69C27CD9-9CC3-4E8D-B385-428D733A48F9}" type="presOf" srcId="{8AC49331-00DB-429E-A381-3E2A27100B55}" destId="{5BC7387E-1305-4DAC-9802-76B8EE8EB43A}" srcOrd="0" destOrd="0" presId="urn:microsoft.com/office/officeart/2005/8/layout/cycle6"/>
    <dgm:cxn modelId="{86B43CDF-E17F-4771-848E-763CE1F25900}" type="presOf" srcId="{7A824892-0728-4DE6-984D-3265D6079284}" destId="{DEAC0573-3B16-4903-AC95-11AAA3CF39AF}" srcOrd="0" destOrd="0" presId="urn:microsoft.com/office/officeart/2005/8/layout/cycle6"/>
    <dgm:cxn modelId="{CDC95EEB-AE19-406B-B0AD-18593DED87F1}" type="presOf" srcId="{552421AE-7B55-4C7C-98BC-5E51DEE1D8F1}" destId="{BE38CBE6-4761-4B82-B8F4-803F15617AC6}" srcOrd="0" destOrd="0" presId="urn:microsoft.com/office/officeart/2005/8/layout/cycle6"/>
    <dgm:cxn modelId="{45F30FF0-AE34-4D8D-BB6E-C0250F05D133}" type="presOf" srcId="{B94C2A38-2EDB-4773-B012-5DA99B62CE97}" destId="{096DB13C-C3BA-4BEE-813F-53400749BDEC}" srcOrd="0" destOrd="0" presId="urn:microsoft.com/office/officeart/2005/8/layout/cycle6"/>
    <dgm:cxn modelId="{584BF8F5-0B52-49D3-A9EA-90B1345A2EF2}" type="presOf" srcId="{67BA6EA4-DB62-4C78-AB03-312913E6537B}" destId="{5DC171DB-B060-4E8D-90A5-C0866BBE072B}" srcOrd="0" destOrd="0" presId="urn:microsoft.com/office/officeart/2005/8/layout/cycle6"/>
    <dgm:cxn modelId="{0F8FD1F6-ADA0-4150-953B-0B1114A424A8}" srcId="{6D365C6D-225C-4909-A2DE-F5D2738F7709}" destId="{B74901FB-26B5-4F04-BE07-A2D8828FBF82}" srcOrd="4" destOrd="0" parTransId="{11F551F8-E323-45D9-A370-71A01D8763E3}" sibTransId="{552421AE-7B55-4C7C-98BC-5E51DEE1D8F1}"/>
    <dgm:cxn modelId="{8923E54E-855C-45CF-B832-C21D31584A1B}" type="presParOf" srcId="{E11162D6-CD0C-4C5F-BAF8-87B076EBA6EC}" destId="{DEAC0573-3B16-4903-AC95-11AAA3CF39AF}" srcOrd="0" destOrd="0" presId="urn:microsoft.com/office/officeart/2005/8/layout/cycle6"/>
    <dgm:cxn modelId="{C1E7C7FF-1FE7-4431-B93A-4E4B5EDB0918}" type="presParOf" srcId="{E11162D6-CD0C-4C5F-BAF8-87B076EBA6EC}" destId="{F157DE46-2564-470C-A536-BC42BE08017D}" srcOrd="1" destOrd="0" presId="urn:microsoft.com/office/officeart/2005/8/layout/cycle6"/>
    <dgm:cxn modelId="{5E4AC5A4-5D25-467F-B9D3-6156804351F8}" type="presParOf" srcId="{E11162D6-CD0C-4C5F-BAF8-87B076EBA6EC}" destId="{3CB00855-AA4F-46B8-92FA-546E58A2E864}" srcOrd="2" destOrd="0" presId="urn:microsoft.com/office/officeart/2005/8/layout/cycle6"/>
    <dgm:cxn modelId="{D3701B29-E44E-4B07-9D2A-9BE945AC6F8A}" type="presParOf" srcId="{E11162D6-CD0C-4C5F-BAF8-87B076EBA6EC}" destId="{5BC7387E-1305-4DAC-9802-76B8EE8EB43A}" srcOrd="3" destOrd="0" presId="urn:microsoft.com/office/officeart/2005/8/layout/cycle6"/>
    <dgm:cxn modelId="{43D42D07-623C-494D-8868-A6B850D1BD45}" type="presParOf" srcId="{E11162D6-CD0C-4C5F-BAF8-87B076EBA6EC}" destId="{3EF41527-33B5-47D3-9318-67E97A8BDE69}" srcOrd="4" destOrd="0" presId="urn:microsoft.com/office/officeart/2005/8/layout/cycle6"/>
    <dgm:cxn modelId="{499670A9-DDC7-48AE-87BB-FBFAF234E25C}" type="presParOf" srcId="{E11162D6-CD0C-4C5F-BAF8-87B076EBA6EC}" destId="{27B2E1E4-C0EE-483C-BC20-D15D0EBF033A}" srcOrd="5" destOrd="0" presId="urn:microsoft.com/office/officeart/2005/8/layout/cycle6"/>
    <dgm:cxn modelId="{1AB67601-35C0-439D-B482-19703CF45041}" type="presParOf" srcId="{E11162D6-CD0C-4C5F-BAF8-87B076EBA6EC}" destId="{096DB13C-C3BA-4BEE-813F-53400749BDEC}" srcOrd="6" destOrd="0" presId="urn:microsoft.com/office/officeart/2005/8/layout/cycle6"/>
    <dgm:cxn modelId="{861E8EC1-AE16-4B5F-8601-68EAB40A9CA4}" type="presParOf" srcId="{E11162D6-CD0C-4C5F-BAF8-87B076EBA6EC}" destId="{66C9D5E0-E4DE-4533-AA75-460F66DBA55D}" srcOrd="7" destOrd="0" presId="urn:microsoft.com/office/officeart/2005/8/layout/cycle6"/>
    <dgm:cxn modelId="{DA00DFFF-6530-4A38-A11D-29FF6992379D}" type="presParOf" srcId="{E11162D6-CD0C-4C5F-BAF8-87B076EBA6EC}" destId="{D1FCBF35-9F25-4CF7-A149-535B61AC231E}" srcOrd="8" destOrd="0" presId="urn:microsoft.com/office/officeart/2005/8/layout/cycle6"/>
    <dgm:cxn modelId="{22D2DA78-F2A4-4F33-BD78-8F180D05DE34}" type="presParOf" srcId="{E11162D6-CD0C-4C5F-BAF8-87B076EBA6EC}" destId="{F684140D-54AC-485D-91B5-6C17ADDB2DBF}" srcOrd="9" destOrd="0" presId="urn:microsoft.com/office/officeart/2005/8/layout/cycle6"/>
    <dgm:cxn modelId="{8132E785-E5E8-4758-BF79-6070E17B220A}" type="presParOf" srcId="{E11162D6-CD0C-4C5F-BAF8-87B076EBA6EC}" destId="{134F7EF7-B41F-454C-941C-0601A5ED5311}" srcOrd="10" destOrd="0" presId="urn:microsoft.com/office/officeart/2005/8/layout/cycle6"/>
    <dgm:cxn modelId="{821741D1-0C7C-44D4-8CFB-B4F59A484A37}" type="presParOf" srcId="{E11162D6-CD0C-4C5F-BAF8-87B076EBA6EC}" destId="{E13437C3-13DE-44FD-A1E9-541D1444392D}" srcOrd="11" destOrd="0" presId="urn:microsoft.com/office/officeart/2005/8/layout/cycle6"/>
    <dgm:cxn modelId="{84BA60D9-DADD-4C89-876C-89F32F3C0CF6}" type="presParOf" srcId="{E11162D6-CD0C-4C5F-BAF8-87B076EBA6EC}" destId="{57CB2FA8-9CF1-4A55-B81E-A637A3B947F3}" srcOrd="12" destOrd="0" presId="urn:microsoft.com/office/officeart/2005/8/layout/cycle6"/>
    <dgm:cxn modelId="{7BC81058-1D6D-4EC6-B4E6-109DFD6270A7}" type="presParOf" srcId="{E11162D6-CD0C-4C5F-BAF8-87B076EBA6EC}" destId="{69312AD4-7851-42B4-BB7D-63DFDD41F620}" srcOrd="13" destOrd="0" presId="urn:microsoft.com/office/officeart/2005/8/layout/cycle6"/>
    <dgm:cxn modelId="{CE4943FF-6F69-467B-B90B-9DE2AE965C83}" type="presParOf" srcId="{E11162D6-CD0C-4C5F-BAF8-87B076EBA6EC}" destId="{BE38CBE6-4761-4B82-B8F4-803F15617AC6}" srcOrd="14" destOrd="0" presId="urn:microsoft.com/office/officeart/2005/8/layout/cycle6"/>
    <dgm:cxn modelId="{AACB8E0E-548F-4B3C-9596-6B24B75FE5CE}" type="presParOf" srcId="{E11162D6-CD0C-4C5F-BAF8-87B076EBA6EC}" destId="{E8E85099-CDD4-4322-AFF1-CB7EBED428B7}" srcOrd="15" destOrd="0" presId="urn:microsoft.com/office/officeart/2005/8/layout/cycle6"/>
    <dgm:cxn modelId="{FEB20B7E-264B-4899-8052-6BFD5DC08DFC}" type="presParOf" srcId="{E11162D6-CD0C-4C5F-BAF8-87B076EBA6EC}" destId="{9681EFCE-B631-4EFB-B0E9-5A9122913A35}" srcOrd="16" destOrd="0" presId="urn:microsoft.com/office/officeart/2005/8/layout/cycle6"/>
    <dgm:cxn modelId="{74C0E53F-A946-4EE6-BA9D-CF75E9031047}" type="presParOf" srcId="{E11162D6-CD0C-4C5F-BAF8-87B076EBA6EC}" destId="{00E9754D-FDC8-4EA2-BFC8-4D9445A6BD8B}" srcOrd="17" destOrd="0" presId="urn:microsoft.com/office/officeart/2005/8/layout/cycle6"/>
    <dgm:cxn modelId="{1F302549-2928-48DD-8EA5-6E92493903DB}" type="presParOf" srcId="{E11162D6-CD0C-4C5F-BAF8-87B076EBA6EC}" destId="{AD7297CB-7736-468F-9B11-C9E11A948254}" srcOrd="18" destOrd="0" presId="urn:microsoft.com/office/officeart/2005/8/layout/cycle6"/>
    <dgm:cxn modelId="{22C9625D-04E3-49CA-A162-604CA92032C6}" type="presParOf" srcId="{E11162D6-CD0C-4C5F-BAF8-87B076EBA6EC}" destId="{824449E9-5194-4B2C-838F-710FE8F68E5B}" srcOrd="19" destOrd="0" presId="urn:microsoft.com/office/officeart/2005/8/layout/cycle6"/>
    <dgm:cxn modelId="{8F10BC39-6156-48AB-B0AB-787B888669CB}" type="presParOf" srcId="{E11162D6-CD0C-4C5F-BAF8-87B076EBA6EC}" destId="{015F9BE6-FC94-46F4-B7DD-BA8A851E4385}" srcOrd="20" destOrd="0" presId="urn:microsoft.com/office/officeart/2005/8/layout/cycle6"/>
    <dgm:cxn modelId="{ED329C30-BD25-4C9F-9891-2D49F0C193D9}" type="presParOf" srcId="{E11162D6-CD0C-4C5F-BAF8-87B076EBA6EC}" destId="{3D1D03FB-5D96-4EB4-A769-ADB5E344A3CD}" srcOrd="21" destOrd="0" presId="urn:microsoft.com/office/officeart/2005/8/layout/cycle6"/>
    <dgm:cxn modelId="{138473D4-B130-42E1-B304-CAA09354F93A}" type="presParOf" srcId="{E11162D6-CD0C-4C5F-BAF8-87B076EBA6EC}" destId="{114CB938-F0AC-4277-AE3D-3DA67A45B8D8}" srcOrd="22" destOrd="0" presId="urn:microsoft.com/office/officeart/2005/8/layout/cycle6"/>
    <dgm:cxn modelId="{C4E146CE-C789-4FA3-9C4F-5BD8F448C273}" type="presParOf" srcId="{E11162D6-CD0C-4C5F-BAF8-87B076EBA6EC}" destId="{2EF4558D-9767-4286-B711-0E5C6BF742AB}" srcOrd="23" destOrd="0" presId="urn:microsoft.com/office/officeart/2005/8/layout/cycle6"/>
    <dgm:cxn modelId="{6097ECB0-2DA5-4E63-AD4B-3F092E33A50A}" type="presParOf" srcId="{E11162D6-CD0C-4C5F-BAF8-87B076EBA6EC}" destId="{5DC171DB-B060-4E8D-90A5-C0866BBE072B}" srcOrd="24" destOrd="0" presId="urn:microsoft.com/office/officeart/2005/8/layout/cycle6"/>
    <dgm:cxn modelId="{E6C3910E-390F-438C-B8C1-E07966ABBFCE}" type="presParOf" srcId="{E11162D6-CD0C-4C5F-BAF8-87B076EBA6EC}" destId="{124EF154-5747-4F74-AF59-4372BAF4EB9C}" srcOrd="25" destOrd="0" presId="urn:microsoft.com/office/officeart/2005/8/layout/cycle6"/>
    <dgm:cxn modelId="{DC593654-6560-4D18-B552-7BAB23000F26}" type="presParOf" srcId="{E11162D6-CD0C-4C5F-BAF8-87B076EBA6EC}" destId="{28F33B58-28D1-4A9B-B3C6-912F7C4236A9}" srcOrd="26" destOrd="0" presId="urn:microsoft.com/office/officeart/2005/8/layout/cycle6"/>
  </dgm:cxnLst>
  <dgm:bg/>
  <dgm:whole/>
  <dgm:extLst>
    <a:ext uri="http://schemas.microsoft.com/office/drawing/2008/diagram">
      <dsp:dataModelExt xmlns:dsp="http://schemas.microsoft.com/office/drawing/2008/diagram" relId="rId3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marL="0" lvl="0" indent="0" algn="ctr" defTabSz="7556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Data Platform Capability</a:t>
          </a:r>
        </a:p>
      </dgm:t>
    </dgm:pt>
    <dgm:pt modelId="{8E3B3157-8DBC-4FED-87D2-FCB0767BFF6D}" type="parTrans" cxnId="{B38FBD47-E3C1-4584-B555-8EF512280E0A}">
      <dgm:prSet/>
      <dgm:spPr/>
      <dgm:t>
        <a:bodyPr/>
        <a:lstStyle/>
        <a:p>
          <a:endParaRPr lang="en-US" sz="1300" b="1">
            <a:latin typeface="+mn-lt"/>
          </a:endParaRPr>
        </a:p>
      </dgm:t>
    </dgm:pt>
    <dgm:pt modelId="{6D5E303A-7892-43F5-A39F-D1D8869A926B}" type="sibTrans" cxnId="{B38FBD47-E3C1-4584-B555-8EF512280E0A}">
      <dgm:prSet/>
      <dgm:spPr/>
      <dgm:t>
        <a:bodyPr/>
        <a:lstStyle/>
        <a:p>
          <a:endParaRPr lang="en-US" sz="1300" b="1">
            <a:latin typeface="+mn-lt"/>
          </a:endParaRPr>
        </a:p>
      </dgm:t>
    </dgm:pt>
    <dgm:pt modelId="{E50ABF5C-81DE-43EE-A18E-428D2F4F5AB5}">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dirty="0">
              <a:solidFill>
                <a:schemeClr val="bg1"/>
              </a:solidFill>
              <a:latin typeface="EYInterstate Light" panose="02000506000000020004" pitchFamily="2" charset="0"/>
              <a:ea typeface="+mn-ea"/>
              <a:cs typeface="+mn-cs"/>
            </a:rPr>
            <a:t>Use Case Identification &amp; Prioritization</a:t>
          </a:r>
        </a:p>
      </dgm:t>
    </dgm:pt>
    <dgm:pt modelId="{6FA08A0E-C83D-49D8-AB4B-6983CB0E9C27}" type="parTrans" cxnId="{0250065D-8E12-4A93-B82D-1058243FEEC7}">
      <dgm:prSet/>
      <dgm:spPr/>
      <dgm:t>
        <a:bodyPr/>
        <a:lstStyle/>
        <a:p>
          <a:endParaRPr lang="en-US" sz="1300">
            <a:latin typeface="+mn-lt"/>
          </a:endParaRPr>
        </a:p>
      </dgm:t>
    </dgm:pt>
    <dgm:pt modelId="{DD3D89F6-E74A-4970-928A-C31969496C00}" type="sibTrans" cxnId="{0250065D-8E12-4A93-B82D-1058243FEEC7}">
      <dgm:prSet/>
      <dgm:spPr/>
      <dgm:t>
        <a:bodyPr/>
        <a:lstStyle/>
        <a:p>
          <a:endParaRPr lang="en-US" sz="1300">
            <a:latin typeface="+mn-lt"/>
          </a:endParaRPr>
        </a:p>
      </dgm:t>
    </dgm:pt>
    <dgm:pt modelId="{88221659-8D96-4C02-9441-07CC22D455F0}">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dirty="0">
              <a:solidFill>
                <a:schemeClr val="bg1"/>
              </a:solidFill>
              <a:latin typeface="EYInterstate Light" panose="02000506000000020004" pitchFamily="2" charset="0"/>
              <a:ea typeface="+mn-ea"/>
              <a:cs typeface="+mn-cs"/>
            </a:rPr>
            <a:t>Data Platform Architecture</a:t>
          </a:r>
        </a:p>
      </dgm:t>
    </dgm:pt>
    <dgm:pt modelId="{7A4F699F-4368-44E1-8BE3-C8F8BC3A271B}" type="parTrans" cxnId="{BA1C0D9E-0E0F-4DB2-BC7C-A910A17193E1}">
      <dgm:prSet/>
      <dgm:spPr/>
      <dgm:t>
        <a:bodyPr/>
        <a:lstStyle/>
        <a:p>
          <a:endParaRPr lang="en-US" sz="1300">
            <a:latin typeface="+mn-lt"/>
          </a:endParaRPr>
        </a:p>
      </dgm:t>
    </dgm:pt>
    <dgm:pt modelId="{738CF2EE-377A-4FCB-BF78-3FDCAAEB831B}" type="sibTrans" cxnId="{BA1C0D9E-0E0F-4DB2-BC7C-A910A17193E1}">
      <dgm:prSet/>
      <dgm:spPr/>
      <dgm:t>
        <a:bodyPr/>
        <a:lstStyle/>
        <a:p>
          <a:endParaRPr lang="en-US" sz="1300">
            <a:latin typeface="+mn-lt"/>
          </a:endParaRPr>
        </a:p>
      </dgm:t>
    </dgm:pt>
    <dgm:pt modelId="{1A0C32E0-C57A-4BF5-BAAC-74484E0711DF}">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dirty="0">
              <a:solidFill>
                <a:schemeClr val="bg1"/>
              </a:solidFill>
              <a:latin typeface="EYInterstate Light" panose="02000506000000020004" pitchFamily="2" charset="0"/>
              <a:ea typeface="+mn-ea"/>
              <a:cs typeface="+mn-cs"/>
            </a:rPr>
            <a:t>Target Operating Model</a:t>
          </a:r>
        </a:p>
      </dgm:t>
    </dgm:pt>
    <dgm:pt modelId="{537DA0FA-031B-4286-89D4-DC1BA505436E}" type="parTrans" cxnId="{914A17AB-3AE1-4DB0-A7AC-BF33DCD9E25E}">
      <dgm:prSet/>
      <dgm:spPr/>
      <dgm:t>
        <a:bodyPr/>
        <a:lstStyle/>
        <a:p>
          <a:endParaRPr lang="en-US" sz="1300">
            <a:latin typeface="+mn-lt"/>
          </a:endParaRPr>
        </a:p>
      </dgm:t>
    </dgm:pt>
    <dgm:pt modelId="{FCCB2953-3E48-4D6A-84D8-CCE21D6532AC}" type="sibTrans" cxnId="{914A17AB-3AE1-4DB0-A7AC-BF33DCD9E25E}">
      <dgm:prSet/>
      <dgm:spPr/>
      <dgm:t>
        <a:bodyPr/>
        <a:lstStyle/>
        <a:p>
          <a:endParaRPr lang="en-US" sz="1300">
            <a:latin typeface="+mn-lt"/>
          </a:endParaRPr>
        </a:p>
      </dgm:t>
    </dgm:pt>
    <dgm:pt modelId="{1FC4C10B-1C4F-4906-BAFB-084ADAD21587}">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dirty="0">
              <a:solidFill>
                <a:schemeClr val="bg1"/>
              </a:solidFill>
              <a:latin typeface="EYInterstate Light" panose="02000506000000020004" pitchFamily="2" charset="0"/>
              <a:ea typeface="+mn-ea"/>
              <a:cs typeface="+mn-cs"/>
            </a:rPr>
            <a:t>IT Strategic Roadmap</a:t>
          </a:r>
        </a:p>
      </dgm:t>
    </dgm:pt>
    <dgm:pt modelId="{B0A333C1-4398-45E4-9C81-1DAA5D4560D2}" type="parTrans" cxnId="{36B23F4D-DA24-4DEB-B355-EAFF7BC49EA6}">
      <dgm:prSet/>
      <dgm:spPr/>
      <dgm:t>
        <a:bodyPr/>
        <a:lstStyle/>
        <a:p>
          <a:endParaRPr lang="en-US" sz="1300">
            <a:latin typeface="+mn-lt"/>
          </a:endParaRPr>
        </a:p>
      </dgm:t>
    </dgm:pt>
    <dgm:pt modelId="{AC73896D-CB7A-47FE-B394-87F86018D3BE}" type="sibTrans" cxnId="{36B23F4D-DA24-4DEB-B355-EAFF7BC49EA6}">
      <dgm:prSet/>
      <dgm:spPr/>
      <dgm:t>
        <a:bodyPr/>
        <a:lstStyle/>
        <a:p>
          <a:endParaRPr lang="en-US" sz="1300">
            <a:latin typeface="+mn-lt"/>
          </a:endParaRPr>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custLinFactNeighborX="8326">
        <dgm:presLayoutVars>
          <dgm:bulletEnabled val="1"/>
        </dgm:presLayoutVars>
      </dgm:prSet>
      <dgm:spPr>
        <a:xfrm>
          <a:off x="439" y="0"/>
          <a:ext cx="856738" cy="273345"/>
        </a:xfrm>
        <a:prstGeom prst="homePlate">
          <a:avLst/>
        </a:prstGeom>
      </dgm:spPr>
    </dgm:pt>
    <dgm:pt modelId="{85315A3C-5F09-4245-9EB1-290F3B65E71D}" type="pres">
      <dgm:prSet presAssocID="{6D5E303A-7892-43F5-A39F-D1D8869A926B}" presName="parSpace" presStyleCnt="0"/>
      <dgm:spPr/>
    </dgm:pt>
    <dgm:pt modelId="{6BB51E7D-5D16-406B-81AA-25146C1CF430}" type="pres">
      <dgm:prSet presAssocID="{E50ABF5C-81DE-43EE-A18E-428D2F4F5AB5}" presName="parTxOnly" presStyleLbl="node1" presStyleIdx="1" presStyleCnt="5" custLinFactNeighborX="8582">
        <dgm:presLayoutVars>
          <dgm:bulletEnabled val="1"/>
        </dgm:presLayoutVars>
      </dgm:prSet>
      <dgm:spPr/>
    </dgm:pt>
    <dgm:pt modelId="{6E3FF1A1-C8DA-4148-8E83-25DD3867CBC9}" type="pres">
      <dgm:prSet presAssocID="{DD3D89F6-E74A-4970-928A-C31969496C00}" presName="parSpace" presStyleCnt="0"/>
      <dgm:spPr/>
    </dgm:pt>
    <dgm:pt modelId="{0D2B3D1C-7288-49AF-9B70-755B70F42238}" type="pres">
      <dgm:prSet presAssocID="{88221659-8D96-4C02-9441-07CC22D455F0}" presName="parTxOnly" presStyleLbl="node1" presStyleIdx="2" presStyleCnt="5" custLinFactNeighborX="8582">
        <dgm:presLayoutVars>
          <dgm:bulletEnabled val="1"/>
        </dgm:presLayoutVars>
      </dgm:prSet>
      <dgm:spPr/>
    </dgm:pt>
    <dgm:pt modelId="{8513EDF4-B858-47A6-B132-5319E346D15F}" type="pres">
      <dgm:prSet presAssocID="{738CF2EE-377A-4FCB-BF78-3FDCAAEB831B}" presName="parSpace" presStyleCnt="0"/>
      <dgm:spPr/>
    </dgm:pt>
    <dgm:pt modelId="{C0648608-EBCA-4737-A26D-0194CA04C8F4}" type="pres">
      <dgm:prSet presAssocID="{1A0C32E0-C57A-4BF5-BAAC-74484E0711DF}" presName="parTxOnly" presStyleLbl="node1" presStyleIdx="3" presStyleCnt="5" custLinFactNeighborX="8582">
        <dgm:presLayoutVars>
          <dgm:bulletEnabled val="1"/>
        </dgm:presLayoutVars>
      </dgm:prSet>
      <dgm:spPr/>
    </dgm:pt>
    <dgm:pt modelId="{84B4293C-F8E5-42DA-9095-EE63BCFA2B94}" type="pres">
      <dgm:prSet presAssocID="{FCCB2953-3E48-4D6A-84D8-CCE21D6532AC}" presName="parSpace" presStyleCnt="0"/>
      <dgm:spPr/>
    </dgm:pt>
    <dgm:pt modelId="{606D5D85-4023-4CEF-84A0-143611DDB027}" type="pres">
      <dgm:prSet presAssocID="{1FC4C10B-1C4F-4906-BAFB-084ADAD21587}" presName="parTxOnly" presStyleLbl="node1" presStyleIdx="4" presStyleCnt="5" custLinFactNeighborX="8582">
        <dgm:presLayoutVars>
          <dgm:bulletEnabled val="1"/>
        </dgm:presLayoutVars>
      </dgm:prSet>
      <dgm:spPr/>
    </dgm:pt>
  </dgm:ptLst>
  <dgm:cxnLst>
    <dgm:cxn modelId="{A3378C3F-D901-4A6D-A718-86F299C69DE1}" type="presOf" srcId="{88221659-8D96-4C02-9441-07CC22D455F0}" destId="{0D2B3D1C-7288-49AF-9B70-755B70F42238}" srcOrd="0" destOrd="0" presId="urn:microsoft.com/office/officeart/2005/8/layout/hChevron3"/>
    <dgm:cxn modelId="{0250065D-8E12-4A93-B82D-1058243FEEC7}" srcId="{6656E1C4-BE68-41DF-90AD-C4D6430C221E}" destId="{E50ABF5C-81DE-43EE-A18E-428D2F4F5AB5}" srcOrd="1" destOrd="0" parTransId="{6FA08A0E-C83D-49D8-AB4B-6983CB0E9C27}" sibTransId="{DD3D89F6-E74A-4970-928A-C31969496C00}"/>
    <dgm:cxn modelId="{B38FBD47-E3C1-4584-B555-8EF512280E0A}" srcId="{6656E1C4-BE68-41DF-90AD-C4D6430C221E}" destId="{800EE8D8-A9A1-4862-9F1C-0110A712C3D3}" srcOrd="0" destOrd="0" parTransId="{8E3B3157-8DBC-4FED-87D2-FCB0767BFF6D}" sibTransId="{6D5E303A-7892-43F5-A39F-D1D8869A926B}"/>
    <dgm:cxn modelId="{CF9B1F4D-6553-452C-81CA-76C85EBC3E2C}" type="presOf" srcId="{1A0C32E0-C57A-4BF5-BAAC-74484E0711DF}" destId="{C0648608-EBCA-4737-A26D-0194CA04C8F4}" srcOrd="0" destOrd="0" presId="urn:microsoft.com/office/officeart/2005/8/layout/hChevron3"/>
    <dgm:cxn modelId="{36B23F4D-DA24-4DEB-B355-EAFF7BC49EA6}" srcId="{6656E1C4-BE68-41DF-90AD-C4D6430C221E}" destId="{1FC4C10B-1C4F-4906-BAFB-084ADAD21587}" srcOrd="4" destOrd="0" parTransId="{B0A333C1-4398-45E4-9C81-1DAA5D4560D2}" sibTransId="{AC73896D-CB7A-47FE-B394-87F86018D3BE}"/>
    <dgm:cxn modelId="{AD323487-D6B5-486B-B3A0-13E64C9DFDF1}" type="presOf" srcId="{800EE8D8-A9A1-4862-9F1C-0110A712C3D3}" destId="{9EA7ACE5-1326-4A75-A244-CAF86395FE2E}" srcOrd="0" destOrd="0" presId="urn:microsoft.com/office/officeart/2005/8/layout/hChevron3"/>
    <dgm:cxn modelId="{3B894089-1B8F-44E8-926D-41A10104924B}" type="presOf" srcId="{E50ABF5C-81DE-43EE-A18E-428D2F4F5AB5}" destId="{6BB51E7D-5D16-406B-81AA-25146C1CF430}" srcOrd="0" destOrd="0" presId="urn:microsoft.com/office/officeart/2005/8/layout/hChevron3"/>
    <dgm:cxn modelId="{BA1C0D9E-0E0F-4DB2-BC7C-A910A17193E1}" srcId="{6656E1C4-BE68-41DF-90AD-C4D6430C221E}" destId="{88221659-8D96-4C02-9441-07CC22D455F0}" srcOrd="2" destOrd="0" parTransId="{7A4F699F-4368-44E1-8BE3-C8F8BC3A271B}" sibTransId="{738CF2EE-377A-4FCB-BF78-3FDCAAEB831B}"/>
    <dgm:cxn modelId="{B31924A0-C4EA-4050-9BD3-4145938D5501}" type="presOf" srcId="{1FC4C10B-1C4F-4906-BAFB-084ADAD21587}" destId="{606D5D85-4023-4CEF-84A0-143611DDB027}" srcOrd="0" destOrd="0" presId="urn:microsoft.com/office/officeart/2005/8/layout/hChevron3"/>
    <dgm:cxn modelId="{914A17AB-3AE1-4DB0-A7AC-BF33DCD9E25E}" srcId="{6656E1C4-BE68-41DF-90AD-C4D6430C221E}" destId="{1A0C32E0-C57A-4BF5-BAAC-74484E0711DF}" srcOrd="3" destOrd="0" parTransId="{537DA0FA-031B-4286-89D4-DC1BA505436E}" sibTransId="{FCCB2953-3E48-4D6A-84D8-CCE21D6532AC}"/>
    <dgm:cxn modelId="{C5972AED-2FB4-431C-8897-495A2F9D9813}" type="presOf" srcId="{6656E1C4-BE68-41DF-90AD-C4D6430C221E}" destId="{B00278D6-6D01-40ED-9662-22AEA09096D1}"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49F57861-A5D8-4F79-8F6A-63FE1C7A3C84}" type="presParOf" srcId="{B00278D6-6D01-40ED-9662-22AEA09096D1}" destId="{85315A3C-5F09-4245-9EB1-290F3B65E71D}" srcOrd="1" destOrd="0" presId="urn:microsoft.com/office/officeart/2005/8/layout/hChevron3"/>
    <dgm:cxn modelId="{F8A9306B-669B-4255-9250-88F5AB945FD5}" type="presParOf" srcId="{B00278D6-6D01-40ED-9662-22AEA09096D1}" destId="{6BB51E7D-5D16-406B-81AA-25146C1CF430}" srcOrd="2" destOrd="0" presId="urn:microsoft.com/office/officeart/2005/8/layout/hChevron3"/>
    <dgm:cxn modelId="{451E240D-FF69-4B43-891C-33FB6651C93A}" type="presParOf" srcId="{B00278D6-6D01-40ED-9662-22AEA09096D1}" destId="{6E3FF1A1-C8DA-4148-8E83-25DD3867CBC9}" srcOrd="3" destOrd="0" presId="urn:microsoft.com/office/officeart/2005/8/layout/hChevron3"/>
    <dgm:cxn modelId="{5BEF0674-FD93-452B-96D4-649B4D55F0EC}" type="presParOf" srcId="{B00278D6-6D01-40ED-9662-22AEA09096D1}" destId="{0D2B3D1C-7288-49AF-9B70-755B70F42238}" srcOrd="4" destOrd="0" presId="urn:microsoft.com/office/officeart/2005/8/layout/hChevron3"/>
    <dgm:cxn modelId="{E10598A5-AE67-4584-837E-55378DA38460}" type="presParOf" srcId="{B00278D6-6D01-40ED-9662-22AEA09096D1}" destId="{8513EDF4-B858-47A6-B132-5319E346D15F}" srcOrd="5" destOrd="0" presId="urn:microsoft.com/office/officeart/2005/8/layout/hChevron3"/>
    <dgm:cxn modelId="{134B24F6-19AE-4DDB-A5E7-5D38F0A3FB07}" type="presParOf" srcId="{B00278D6-6D01-40ED-9662-22AEA09096D1}" destId="{C0648608-EBCA-4737-A26D-0194CA04C8F4}" srcOrd="6" destOrd="0" presId="urn:microsoft.com/office/officeart/2005/8/layout/hChevron3"/>
    <dgm:cxn modelId="{0FD7DD2B-297F-4841-8CBF-09F711E57FA3}" type="presParOf" srcId="{B00278D6-6D01-40ED-9662-22AEA09096D1}" destId="{84B4293C-F8E5-42DA-9095-EE63BCFA2B94}" srcOrd="7" destOrd="0" presId="urn:microsoft.com/office/officeart/2005/8/layout/hChevron3"/>
    <dgm:cxn modelId="{4A33643A-8E10-4005-B1D2-FF6A91422FAC}" type="presParOf" srcId="{B00278D6-6D01-40ED-9662-22AEA09096D1}" destId="{606D5D85-4023-4CEF-84A0-143611DDB027}" srcOrd="8"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bg2"/>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marL="0" lvl="0" indent="0" algn="ctr" defTabSz="755650">
            <a:lnSpc>
              <a:spcPct val="90000"/>
            </a:lnSpc>
            <a:spcBef>
              <a:spcPct val="0"/>
            </a:spcBef>
            <a:spcAft>
              <a:spcPct val="35000"/>
            </a:spcAft>
            <a:buNone/>
          </a:pPr>
          <a:r>
            <a:rPr lang="en-US" sz="1300" b="1" kern="1200" dirty="0">
              <a:solidFill>
                <a:schemeClr val="tx2"/>
              </a:solidFill>
              <a:latin typeface="EYInterstate Light" panose="02000506000000020004" pitchFamily="2" charset="0"/>
              <a:ea typeface="+mn-ea"/>
              <a:cs typeface="+mn-cs"/>
            </a:rPr>
            <a:t>Data Platform Capability</a:t>
          </a:r>
        </a:p>
      </dgm:t>
    </dgm:pt>
    <dgm:pt modelId="{8E3B3157-8DBC-4FED-87D2-FCB0767BFF6D}" type="parTrans" cxnId="{B38FBD47-E3C1-4584-B555-8EF512280E0A}">
      <dgm:prSet/>
      <dgm:spPr/>
      <dgm:t>
        <a:bodyPr/>
        <a:lstStyle/>
        <a:p>
          <a:endParaRPr lang="en-US" sz="1300" b="1">
            <a:latin typeface="+mn-lt"/>
          </a:endParaRPr>
        </a:p>
      </dgm:t>
    </dgm:pt>
    <dgm:pt modelId="{6D5E303A-7892-43F5-A39F-D1D8869A926B}" type="sibTrans" cxnId="{B38FBD47-E3C1-4584-B555-8EF512280E0A}">
      <dgm:prSet/>
      <dgm:spPr/>
      <dgm:t>
        <a:bodyPr/>
        <a:lstStyle/>
        <a:p>
          <a:endParaRPr lang="en-US" sz="1300" b="1">
            <a:latin typeface="+mn-lt"/>
          </a:endParaRPr>
        </a:p>
      </dgm:t>
    </dgm:pt>
    <dgm:pt modelId="{E50ABF5C-81DE-43EE-A18E-428D2F4F5AB5}">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dirty="0">
              <a:solidFill>
                <a:schemeClr val="bg1"/>
              </a:solidFill>
              <a:latin typeface="EYInterstate Light" panose="02000506000000020004" pitchFamily="2" charset="0"/>
              <a:ea typeface="+mn-ea"/>
              <a:cs typeface="+mn-cs"/>
            </a:rPr>
            <a:t>Use Case Identification &amp; Prioritization</a:t>
          </a:r>
        </a:p>
      </dgm:t>
    </dgm:pt>
    <dgm:pt modelId="{6FA08A0E-C83D-49D8-AB4B-6983CB0E9C27}" type="parTrans" cxnId="{0250065D-8E12-4A93-B82D-1058243FEEC7}">
      <dgm:prSet/>
      <dgm:spPr/>
      <dgm:t>
        <a:bodyPr/>
        <a:lstStyle/>
        <a:p>
          <a:endParaRPr lang="en-US" sz="1300">
            <a:latin typeface="+mn-lt"/>
          </a:endParaRPr>
        </a:p>
      </dgm:t>
    </dgm:pt>
    <dgm:pt modelId="{DD3D89F6-E74A-4970-928A-C31969496C00}" type="sibTrans" cxnId="{0250065D-8E12-4A93-B82D-1058243FEEC7}">
      <dgm:prSet/>
      <dgm:spPr/>
      <dgm:t>
        <a:bodyPr/>
        <a:lstStyle/>
        <a:p>
          <a:endParaRPr lang="en-US" sz="1300">
            <a:latin typeface="+mn-lt"/>
          </a:endParaRPr>
        </a:p>
      </dgm:t>
    </dgm:pt>
    <dgm:pt modelId="{88221659-8D96-4C02-9441-07CC22D455F0}">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dirty="0">
              <a:solidFill>
                <a:schemeClr val="bg1"/>
              </a:solidFill>
              <a:latin typeface="EYInterstate Light" panose="02000506000000020004" pitchFamily="2" charset="0"/>
              <a:ea typeface="+mn-ea"/>
              <a:cs typeface="+mn-cs"/>
            </a:rPr>
            <a:t>Data Platform Architecture</a:t>
          </a:r>
        </a:p>
      </dgm:t>
    </dgm:pt>
    <dgm:pt modelId="{7A4F699F-4368-44E1-8BE3-C8F8BC3A271B}" type="parTrans" cxnId="{BA1C0D9E-0E0F-4DB2-BC7C-A910A17193E1}">
      <dgm:prSet/>
      <dgm:spPr/>
      <dgm:t>
        <a:bodyPr/>
        <a:lstStyle/>
        <a:p>
          <a:endParaRPr lang="en-US" sz="1300">
            <a:latin typeface="+mn-lt"/>
          </a:endParaRPr>
        </a:p>
      </dgm:t>
    </dgm:pt>
    <dgm:pt modelId="{738CF2EE-377A-4FCB-BF78-3FDCAAEB831B}" type="sibTrans" cxnId="{BA1C0D9E-0E0F-4DB2-BC7C-A910A17193E1}">
      <dgm:prSet/>
      <dgm:spPr/>
      <dgm:t>
        <a:bodyPr/>
        <a:lstStyle/>
        <a:p>
          <a:endParaRPr lang="en-US" sz="1300">
            <a:latin typeface="+mn-lt"/>
          </a:endParaRPr>
        </a:p>
      </dgm:t>
    </dgm:pt>
    <dgm:pt modelId="{1A0C32E0-C57A-4BF5-BAAC-74484E0711DF}">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dirty="0">
              <a:solidFill>
                <a:schemeClr val="bg1"/>
              </a:solidFill>
              <a:latin typeface="EYInterstate Light" panose="02000506000000020004" pitchFamily="2" charset="0"/>
              <a:ea typeface="+mn-ea"/>
              <a:cs typeface="+mn-cs"/>
            </a:rPr>
            <a:t>Target Operating Model</a:t>
          </a:r>
        </a:p>
      </dgm:t>
    </dgm:pt>
    <dgm:pt modelId="{537DA0FA-031B-4286-89D4-DC1BA505436E}" type="parTrans" cxnId="{914A17AB-3AE1-4DB0-A7AC-BF33DCD9E25E}">
      <dgm:prSet/>
      <dgm:spPr/>
      <dgm:t>
        <a:bodyPr/>
        <a:lstStyle/>
        <a:p>
          <a:endParaRPr lang="en-US" sz="1300">
            <a:latin typeface="+mn-lt"/>
          </a:endParaRPr>
        </a:p>
      </dgm:t>
    </dgm:pt>
    <dgm:pt modelId="{FCCB2953-3E48-4D6A-84D8-CCE21D6532AC}" type="sibTrans" cxnId="{914A17AB-3AE1-4DB0-A7AC-BF33DCD9E25E}">
      <dgm:prSet/>
      <dgm:spPr/>
      <dgm:t>
        <a:bodyPr/>
        <a:lstStyle/>
        <a:p>
          <a:endParaRPr lang="en-US" sz="1300">
            <a:latin typeface="+mn-lt"/>
          </a:endParaRPr>
        </a:p>
      </dgm:t>
    </dgm:pt>
    <dgm:pt modelId="{1FC4C10B-1C4F-4906-BAFB-084ADAD21587}">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dirty="0">
              <a:solidFill>
                <a:schemeClr val="bg1"/>
              </a:solidFill>
              <a:latin typeface="EYInterstate Light" panose="02000506000000020004" pitchFamily="2" charset="0"/>
              <a:ea typeface="+mn-ea"/>
              <a:cs typeface="+mn-cs"/>
            </a:rPr>
            <a:t>IT Strategic Roadmap</a:t>
          </a:r>
        </a:p>
      </dgm:t>
    </dgm:pt>
    <dgm:pt modelId="{B0A333C1-4398-45E4-9C81-1DAA5D4560D2}" type="parTrans" cxnId="{36B23F4D-DA24-4DEB-B355-EAFF7BC49EA6}">
      <dgm:prSet/>
      <dgm:spPr/>
      <dgm:t>
        <a:bodyPr/>
        <a:lstStyle/>
        <a:p>
          <a:endParaRPr lang="en-US" sz="1300">
            <a:latin typeface="+mn-lt"/>
          </a:endParaRPr>
        </a:p>
      </dgm:t>
    </dgm:pt>
    <dgm:pt modelId="{AC73896D-CB7A-47FE-B394-87F86018D3BE}" type="sibTrans" cxnId="{36B23F4D-DA24-4DEB-B355-EAFF7BC49EA6}">
      <dgm:prSet/>
      <dgm:spPr/>
      <dgm:t>
        <a:bodyPr/>
        <a:lstStyle/>
        <a:p>
          <a:endParaRPr lang="en-US" sz="1300">
            <a:latin typeface="+mn-lt"/>
          </a:endParaRPr>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custLinFactNeighborX="8326">
        <dgm:presLayoutVars>
          <dgm:bulletEnabled val="1"/>
        </dgm:presLayoutVars>
      </dgm:prSet>
      <dgm:spPr>
        <a:xfrm>
          <a:off x="439" y="0"/>
          <a:ext cx="856738" cy="273345"/>
        </a:xfrm>
        <a:prstGeom prst="homePlate">
          <a:avLst/>
        </a:prstGeom>
      </dgm:spPr>
    </dgm:pt>
    <dgm:pt modelId="{85315A3C-5F09-4245-9EB1-290F3B65E71D}" type="pres">
      <dgm:prSet presAssocID="{6D5E303A-7892-43F5-A39F-D1D8869A926B}" presName="parSpace" presStyleCnt="0"/>
      <dgm:spPr/>
    </dgm:pt>
    <dgm:pt modelId="{6BB51E7D-5D16-406B-81AA-25146C1CF430}" type="pres">
      <dgm:prSet presAssocID="{E50ABF5C-81DE-43EE-A18E-428D2F4F5AB5}" presName="parTxOnly" presStyleLbl="node1" presStyleIdx="1" presStyleCnt="5" custLinFactNeighborX="8582">
        <dgm:presLayoutVars>
          <dgm:bulletEnabled val="1"/>
        </dgm:presLayoutVars>
      </dgm:prSet>
      <dgm:spPr/>
    </dgm:pt>
    <dgm:pt modelId="{6E3FF1A1-C8DA-4148-8E83-25DD3867CBC9}" type="pres">
      <dgm:prSet presAssocID="{DD3D89F6-E74A-4970-928A-C31969496C00}" presName="parSpace" presStyleCnt="0"/>
      <dgm:spPr/>
    </dgm:pt>
    <dgm:pt modelId="{0D2B3D1C-7288-49AF-9B70-755B70F42238}" type="pres">
      <dgm:prSet presAssocID="{88221659-8D96-4C02-9441-07CC22D455F0}" presName="parTxOnly" presStyleLbl="node1" presStyleIdx="2" presStyleCnt="5" custLinFactNeighborX="8582">
        <dgm:presLayoutVars>
          <dgm:bulletEnabled val="1"/>
        </dgm:presLayoutVars>
      </dgm:prSet>
      <dgm:spPr/>
    </dgm:pt>
    <dgm:pt modelId="{8513EDF4-B858-47A6-B132-5319E346D15F}" type="pres">
      <dgm:prSet presAssocID="{738CF2EE-377A-4FCB-BF78-3FDCAAEB831B}" presName="parSpace" presStyleCnt="0"/>
      <dgm:spPr/>
    </dgm:pt>
    <dgm:pt modelId="{C0648608-EBCA-4737-A26D-0194CA04C8F4}" type="pres">
      <dgm:prSet presAssocID="{1A0C32E0-C57A-4BF5-BAAC-74484E0711DF}" presName="parTxOnly" presStyleLbl="node1" presStyleIdx="3" presStyleCnt="5" custLinFactNeighborX="8582">
        <dgm:presLayoutVars>
          <dgm:bulletEnabled val="1"/>
        </dgm:presLayoutVars>
      </dgm:prSet>
      <dgm:spPr/>
    </dgm:pt>
    <dgm:pt modelId="{84B4293C-F8E5-42DA-9095-EE63BCFA2B94}" type="pres">
      <dgm:prSet presAssocID="{FCCB2953-3E48-4D6A-84D8-CCE21D6532AC}" presName="parSpace" presStyleCnt="0"/>
      <dgm:spPr/>
    </dgm:pt>
    <dgm:pt modelId="{606D5D85-4023-4CEF-84A0-143611DDB027}" type="pres">
      <dgm:prSet presAssocID="{1FC4C10B-1C4F-4906-BAFB-084ADAD21587}" presName="parTxOnly" presStyleLbl="node1" presStyleIdx="4" presStyleCnt="5" custLinFactNeighborX="8582">
        <dgm:presLayoutVars>
          <dgm:bulletEnabled val="1"/>
        </dgm:presLayoutVars>
      </dgm:prSet>
      <dgm:spPr/>
    </dgm:pt>
  </dgm:ptLst>
  <dgm:cxnLst>
    <dgm:cxn modelId="{A3378C3F-D901-4A6D-A718-86F299C69DE1}" type="presOf" srcId="{88221659-8D96-4C02-9441-07CC22D455F0}" destId="{0D2B3D1C-7288-49AF-9B70-755B70F42238}" srcOrd="0" destOrd="0" presId="urn:microsoft.com/office/officeart/2005/8/layout/hChevron3"/>
    <dgm:cxn modelId="{0250065D-8E12-4A93-B82D-1058243FEEC7}" srcId="{6656E1C4-BE68-41DF-90AD-C4D6430C221E}" destId="{E50ABF5C-81DE-43EE-A18E-428D2F4F5AB5}" srcOrd="1" destOrd="0" parTransId="{6FA08A0E-C83D-49D8-AB4B-6983CB0E9C27}" sibTransId="{DD3D89F6-E74A-4970-928A-C31969496C00}"/>
    <dgm:cxn modelId="{B38FBD47-E3C1-4584-B555-8EF512280E0A}" srcId="{6656E1C4-BE68-41DF-90AD-C4D6430C221E}" destId="{800EE8D8-A9A1-4862-9F1C-0110A712C3D3}" srcOrd="0" destOrd="0" parTransId="{8E3B3157-8DBC-4FED-87D2-FCB0767BFF6D}" sibTransId="{6D5E303A-7892-43F5-A39F-D1D8869A926B}"/>
    <dgm:cxn modelId="{CF9B1F4D-6553-452C-81CA-76C85EBC3E2C}" type="presOf" srcId="{1A0C32E0-C57A-4BF5-BAAC-74484E0711DF}" destId="{C0648608-EBCA-4737-A26D-0194CA04C8F4}" srcOrd="0" destOrd="0" presId="urn:microsoft.com/office/officeart/2005/8/layout/hChevron3"/>
    <dgm:cxn modelId="{36B23F4D-DA24-4DEB-B355-EAFF7BC49EA6}" srcId="{6656E1C4-BE68-41DF-90AD-C4D6430C221E}" destId="{1FC4C10B-1C4F-4906-BAFB-084ADAD21587}" srcOrd="4" destOrd="0" parTransId="{B0A333C1-4398-45E4-9C81-1DAA5D4560D2}" sibTransId="{AC73896D-CB7A-47FE-B394-87F86018D3BE}"/>
    <dgm:cxn modelId="{AD323487-D6B5-486B-B3A0-13E64C9DFDF1}" type="presOf" srcId="{800EE8D8-A9A1-4862-9F1C-0110A712C3D3}" destId="{9EA7ACE5-1326-4A75-A244-CAF86395FE2E}" srcOrd="0" destOrd="0" presId="urn:microsoft.com/office/officeart/2005/8/layout/hChevron3"/>
    <dgm:cxn modelId="{3B894089-1B8F-44E8-926D-41A10104924B}" type="presOf" srcId="{E50ABF5C-81DE-43EE-A18E-428D2F4F5AB5}" destId="{6BB51E7D-5D16-406B-81AA-25146C1CF430}" srcOrd="0" destOrd="0" presId="urn:microsoft.com/office/officeart/2005/8/layout/hChevron3"/>
    <dgm:cxn modelId="{BA1C0D9E-0E0F-4DB2-BC7C-A910A17193E1}" srcId="{6656E1C4-BE68-41DF-90AD-C4D6430C221E}" destId="{88221659-8D96-4C02-9441-07CC22D455F0}" srcOrd="2" destOrd="0" parTransId="{7A4F699F-4368-44E1-8BE3-C8F8BC3A271B}" sibTransId="{738CF2EE-377A-4FCB-BF78-3FDCAAEB831B}"/>
    <dgm:cxn modelId="{B31924A0-C4EA-4050-9BD3-4145938D5501}" type="presOf" srcId="{1FC4C10B-1C4F-4906-BAFB-084ADAD21587}" destId="{606D5D85-4023-4CEF-84A0-143611DDB027}" srcOrd="0" destOrd="0" presId="urn:microsoft.com/office/officeart/2005/8/layout/hChevron3"/>
    <dgm:cxn modelId="{914A17AB-3AE1-4DB0-A7AC-BF33DCD9E25E}" srcId="{6656E1C4-BE68-41DF-90AD-C4D6430C221E}" destId="{1A0C32E0-C57A-4BF5-BAAC-74484E0711DF}" srcOrd="3" destOrd="0" parTransId="{537DA0FA-031B-4286-89D4-DC1BA505436E}" sibTransId="{FCCB2953-3E48-4D6A-84D8-CCE21D6532AC}"/>
    <dgm:cxn modelId="{C5972AED-2FB4-431C-8897-495A2F9D9813}" type="presOf" srcId="{6656E1C4-BE68-41DF-90AD-C4D6430C221E}" destId="{B00278D6-6D01-40ED-9662-22AEA09096D1}"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49F57861-A5D8-4F79-8F6A-63FE1C7A3C84}" type="presParOf" srcId="{B00278D6-6D01-40ED-9662-22AEA09096D1}" destId="{85315A3C-5F09-4245-9EB1-290F3B65E71D}" srcOrd="1" destOrd="0" presId="urn:microsoft.com/office/officeart/2005/8/layout/hChevron3"/>
    <dgm:cxn modelId="{F8A9306B-669B-4255-9250-88F5AB945FD5}" type="presParOf" srcId="{B00278D6-6D01-40ED-9662-22AEA09096D1}" destId="{6BB51E7D-5D16-406B-81AA-25146C1CF430}" srcOrd="2" destOrd="0" presId="urn:microsoft.com/office/officeart/2005/8/layout/hChevron3"/>
    <dgm:cxn modelId="{451E240D-FF69-4B43-891C-33FB6651C93A}" type="presParOf" srcId="{B00278D6-6D01-40ED-9662-22AEA09096D1}" destId="{6E3FF1A1-C8DA-4148-8E83-25DD3867CBC9}" srcOrd="3" destOrd="0" presId="urn:microsoft.com/office/officeart/2005/8/layout/hChevron3"/>
    <dgm:cxn modelId="{5BEF0674-FD93-452B-96D4-649B4D55F0EC}" type="presParOf" srcId="{B00278D6-6D01-40ED-9662-22AEA09096D1}" destId="{0D2B3D1C-7288-49AF-9B70-755B70F42238}" srcOrd="4" destOrd="0" presId="urn:microsoft.com/office/officeart/2005/8/layout/hChevron3"/>
    <dgm:cxn modelId="{E10598A5-AE67-4584-837E-55378DA38460}" type="presParOf" srcId="{B00278D6-6D01-40ED-9662-22AEA09096D1}" destId="{8513EDF4-B858-47A6-B132-5319E346D15F}" srcOrd="5" destOrd="0" presId="urn:microsoft.com/office/officeart/2005/8/layout/hChevron3"/>
    <dgm:cxn modelId="{134B24F6-19AE-4DDB-A5E7-5D38F0A3FB07}" type="presParOf" srcId="{B00278D6-6D01-40ED-9662-22AEA09096D1}" destId="{C0648608-EBCA-4737-A26D-0194CA04C8F4}" srcOrd="6" destOrd="0" presId="urn:microsoft.com/office/officeart/2005/8/layout/hChevron3"/>
    <dgm:cxn modelId="{0FD7DD2B-297F-4841-8CBF-09F711E57FA3}" type="presParOf" srcId="{B00278D6-6D01-40ED-9662-22AEA09096D1}" destId="{84B4293C-F8E5-42DA-9095-EE63BCFA2B94}" srcOrd="7" destOrd="0" presId="urn:microsoft.com/office/officeart/2005/8/layout/hChevron3"/>
    <dgm:cxn modelId="{4A33643A-8E10-4005-B1D2-FF6A91422FAC}" type="presParOf" srcId="{B00278D6-6D01-40ED-9662-22AEA09096D1}" destId="{606D5D85-4023-4CEF-84A0-143611DDB027}" srcOrd="8"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marL="0" lvl="0" indent="0" algn="ctr" defTabSz="7556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Capability</a:t>
          </a:r>
        </a:p>
      </dgm:t>
    </dgm:pt>
    <dgm:pt modelId="{8E3B3157-8DBC-4FED-87D2-FCB0767BFF6D}" type="parTrans" cxnId="{B38FBD47-E3C1-4584-B555-8EF512280E0A}">
      <dgm:prSet/>
      <dgm:spPr/>
      <dgm:t>
        <a:bodyPr/>
        <a:lstStyle/>
        <a:p>
          <a:endParaRPr lang="en-US" sz="1300" b="1">
            <a:latin typeface="+mn-lt"/>
          </a:endParaRPr>
        </a:p>
      </dgm:t>
    </dgm:pt>
    <dgm:pt modelId="{6D5E303A-7892-43F5-A39F-D1D8869A926B}" type="sibTrans" cxnId="{B38FBD47-E3C1-4584-B555-8EF512280E0A}">
      <dgm:prSet/>
      <dgm:spPr/>
      <dgm:t>
        <a:bodyPr/>
        <a:lstStyle/>
        <a:p>
          <a:endParaRPr lang="en-US" sz="1300" b="1">
            <a:latin typeface="+mn-lt"/>
          </a:endParaRPr>
        </a:p>
      </dgm:t>
    </dgm:pt>
    <dgm:pt modelId="{E50ABF5C-81DE-43EE-A18E-428D2F4F5AB5}">
      <dgm:prSet phldrT="[Text]" custT="1"/>
      <dgm:spPr>
        <a:solidFill>
          <a:schemeClr val="bg2"/>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tx2"/>
              </a:solidFill>
              <a:latin typeface="EYInterstate Light" panose="02000506000000020004" pitchFamily="2" charset="0"/>
              <a:ea typeface="+mn-ea"/>
              <a:cs typeface="+mn-cs"/>
            </a:rPr>
            <a:t>Use Case Identification &amp; Prioritization</a:t>
          </a:r>
        </a:p>
      </dgm:t>
    </dgm:pt>
    <dgm:pt modelId="{6FA08A0E-C83D-49D8-AB4B-6983CB0E9C27}" type="parTrans" cxnId="{0250065D-8E12-4A93-B82D-1058243FEEC7}">
      <dgm:prSet/>
      <dgm:spPr/>
      <dgm:t>
        <a:bodyPr/>
        <a:lstStyle/>
        <a:p>
          <a:endParaRPr lang="en-US" sz="1300">
            <a:latin typeface="+mn-lt"/>
          </a:endParaRPr>
        </a:p>
      </dgm:t>
    </dgm:pt>
    <dgm:pt modelId="{DD3D89F6-E74A-4970-928A-C31969496C00}" type="sibTrans" cxnId="{0250065D-8E12-4A93-B82D-1058243FEEC7}">
      <dgm:prSet/>
      <dgm:spPr/>
      <dgm:t>
        <a:bodyPr/>
        <a:lstStyle/>
        <a:p>
          <a:endParaRPr lang="en-US" sz="1300">
            <a:latin typeface="+mn-lt"/>
          </a:endParaRPr>
        </a:p>
      </dgm:t>
    </dgm:pt>
    <dgm:pt modelId="{88221659-8D96-4C02-9441-07CC22D455F0}">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Data Platform Architecture</a:t>
          </a:r>
        </a:p>
      </dgm:t>
    </dgm:pt>
    <dgm:pt modelId="{7A4F699F-4368-44E1-8BE3-C8F8BC3A271B}" type="parTrans" cxnId="{BA1C0D9E-0E0F-4DB2-BC7C-A910A17193E1}">
      <dgm:prSet/>
      <dgm:spPr/>
      <dgm:t>
        <a:bodyPr/>
        <a:lstStyle/>
        <a:p>
          <a:endParaRPr lang="en-US" sz="1300">
            <a:latin typeface="+mn-lt"/>
          </a:endParaRPr>
        </a:p>
      </dgm:t>
    </dgm:pt>
    <dgm:pt modelId="{738CF2EE-377A-4FCB-BF78-3FDCAAEB831B}" type="sibTrans" cxnId="{BA1C0D9E-0E0F-4DB2-BC7C-A910A17193E1}">
      <dgm:prSet/>
      <dgm:spPr/>
      <dgm:t>
        <a:bodyPr/>
        <a:lstStyle/>
        <a:p>
          <a:endParaRPr lang="en-US" sz="1300">
            <a:latin typeface="+mn-lt"/>
          </a:endParaRPr>
        </a:p>
      </dgm:t>
    </dgm:pt>
    <dgm:pt modelId="{1A0C32E0-C57A-4BF5-BAAC-74484E0711DF}">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Target Operating Model</a:t>
          </a:r>
        </a:p>
      </dgm:t>
    </dgm:pt>
    <dgm:pt modelId="{537DA0FA-031B-4286-89D4-DC1BA505436E}" type="parTrans" cxnId="{914A17AB-3AE1-4DB0-A7AC-BF33DCD9E25E}">
      <dgm:prSet/>
      <dgm:spPr/>
      <dgm:t>
        <a:bodyPr/>
        <a:lstStyle/>
        <a:p>
          <a:endParaRPr lang="en-US" sz="1300">
            <a:latin typeface="+mn-lt"/>
          </a:endParaRPr>
        </a:p>
      </dgm:t>
    </dgm:pt>
    <dgm:pt modelId="{FCCB2953-3E48-4D6A-84D8-CCE21D6532AC}" type="sibTrans" cxnId="{914A17AB-3AE1-4DB0-A7AC-BF33DCD9E25E}">
      <dgm:prSet/>
      <dgm:spPr/>
      <dgm:t>
        <a:bodyPr/>
        <a:lstStyle/>
        <a:p>
          <a:endParaRPr lang="en-US" sz="1300">
            <a:latin typeface="+mn-lt"/>
          </a:endParaRPr>
        </a:p>
      </dgm:t>
    </dgm:pt>
    <dgm:pt modelId="{1FC4C10B-1C4F-4906-BAFB-084ADAD21587}">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IT Strategic Roadmap</a:t>
          </a:r>
        </a:p>
      </dgm:t>
    </dgm:pt>
    <dgm:pt modelId="{B0A333C1-4398-45E4-9C81-1DAA5D4560D2}" type="parTrans" cxnId="{36B23F4D-DA24-4DEB-B355-EAFF7BC49EA6}">
      <dgm:prSet/>
      <dgm:spPr/>
      <dgm:t>
        <a:bodyPr/>
        <a:lstStyle/>
        <a:p>
          <a:endParaRPr lang="en-US" sz="1300">
            <a:latin typeface="+mn-lt"/>
          </a:endParaRPr>
        </a:p>
      </dgm:t>
    </dgm:pt>
    <dgm:pt modelId="{AC73896D-CB7A-47FE-B394-87F86018D3BE}" type="sibTrans" cxnId="{36B23F4D-DA24-4DEB-B355-EAFF7BC49EA6}">
      <dgm:prSet/>
      <dgm:spPr/>
      <dgm:t>
        <a:bodyPr/>
        <a:lstStyle/>
        <a:p>
          <a:endParaRPr lang="en-US" sz="1300">
            <a:latin typeface="+mn-lt"/>
          </a:endParaRPr>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custLinFactNeighborX="8326">
        <dgm:presLayoutVars>
          <dgm:bulletEnabled val="1"/>
        </dgm:presLayoutVars>
      </dgm:prSet>
      <dgm:spPr>
        <a:xfrm>
          <a:off x="439" y="0"/>
          <a:ext cx="856738" cy="273345"/>
        </a:xfrm>
        <a:prstGeom prst="homePlate">
          <a:avLst/>
        </a:prstGeom>
      </dgm:spPr>
    </dgm:pt>
    <dgm:pt modelId="{85315A3C-5F09-4245-9EB1-290F3B65E71D}" type="pres">
      <dgm:prSet presAssocID="{6D5E303A-7892-43F5-A39F-D1D8869A926B}" presName="parSpace" presStyleCnt="0"/>
      <dgm:spPr/>
    </dgm:pt>
    <dgm:pt modelId="{6BB51E7D-5D16-406B-81AA-25146C1CF430}" type="pres">
      <dgm:prSet presAssocID="{E50ABF5C-81DE-43EE-A18E-428D2F4F5AB5}" presName="parTxOnly" presStyleLbl="node1" presStyleIdx="1" presStyleCnt="5" custLinFactNeighborX="8582">
        <dgm:presLayoutVars>
          <dgm:bulletEnabled val="1"/>
        </dgm:presLayoutVars>
      </dgm:prSet>
      <dgm:spPr/>
    </dgm:pt>
    <dgm:pt modelId="{6E3FF1A1-C8DA-4148-8E83-25DD3867CBC9}" type="pres">
      <dgm:prSet presAssocID="{DD3D89F6-E74A-4970-928A-C31969496C00}" presName="parSpace" presStyleCnt="0"/>
      <dgm:spPr/>
    </dgm:pt>
    <dgm:pt modelId="{0D2B3D1C-7288-49AF-9B70-755B70F42238}" type="pres">
      <dgm:prSet presAssocID="{88221659-8D96-4C02-9441-07CC22D455F0}" presName="parTxOnly" presStyleLbl="node1" presStyleIdx="2" presStyleCnt="5" custLinFactNeighborX="8582">
        <dgm:presLayoutVars>
          <dgm:bulletEnabled val="1"/>
        </dgm:presLayoutVars>
      </dgm:prSet>
      <dgm:spPr/>
    </dgm:pt>
    <dgm:pt modelId="{8513EDF4-B858-47A6-B132-5319E346D15F}" type="pres">
      <dgm:prSet presAssocID="{738CF2EE-377A-4FCB-BF78-3FDCAAEB831B}" presName="parSpace" presStyleCnt="0"/>
      <dgm:spPr/>
    </dgm:pt>
    <dgm:pt modelId="{C0648608-EBCA-4737-A26D-0194CA04C8F4}" type="pres">
      <dgm:prSet presAssocID="{1A0C32E0-C57A-4BF5-BAAC-74484E0711DF}" presName="parTxOnly" presStyleLbl="node1" presStyleIdx="3" presStyleCnt="5" custLinFactNeighborX="8582">
        <dgm:presLayoutVars>
          <dgm:bulletEnabled val="1"/>
        </dgm:presLayoutVars>
      </dgm:prSet>
      <dgm:spPr/>
    </dgm:pt>
    <dgm:pt modelId="{84B4293C-F8E5-42DA-9095-EE63BCFA2B94}" type="pres">
      <dgm:prSet presAssocID="{FCCB2953-3E48-4D6A-84D8-CCE21D6532AC}" presName="parSpace" presStyleCnt="0"/>
      <dgm:spPr/>
    </dgm:pt>
    <dgm:pt modelId="{606D5D85-4023-4CEF-84A0-143611DDB027}" type="pres">
      <dgm:prSet presAssocID="{1FC4C10B-1C4F-4906-BAFB-084ADAD21587}" presName="parTxOnly" presStyleLbl="node1" presStyleIdx="4" presStyleCnt="5" custLinFactNeighborX="8582">
        <dgm:presLayoutVars>
          <dgm:bulletEnabled val="1"/>
        </dgm:presLayoutVars>
      </dgm:prSet>
      <dgm:spPr/>
    </dgm:pt>
  </dgm:ptLst>
  <dgm:cxnLst>
    <dgm:cxn modelId="{A3378C3F-D901-4A6D-A718-86F299C69DE1}" type="presOf" srcId="{88221659-8D96-4C02-9441-07CC22D455F0}" destId="{0D2B3D1C-7288-49AF-9B70-755B70F42238}" srcOrd="0" destOrd="0" presId="urn:microsoft.com/office/officeart/2005/8/layout/hChevron3"/>
    <dgm:cxn modelId="{0250065D-8E12-4A93-B82D-1058243FEEC7}" srcId="{6656E1C4-BE68-41DF-90AD-C4D6430C221E}" destId="{E50ABF5C-81DE-43EE-A18E-428D2F4F5AB5}" srcOrd="1" destOrd="0" parTransId="{6FA08A0E-C83D-49D8-AB4B-6983CB0E9C27}" sibTransId="{DD3D89F6-E74A-4970-928A-C31969496C00}"/>
    <dgm:cxn modelId="{B38FBD47-E3C1-4584-B555-8EF512280E0A}" srcId="{6656E1C4-BE68-41DF-90AD-C4D6430C221E}" destId="{800EE8D8-A9A1-4862-9F1C-0110A712C3D3}" srcOrd="0" destOrd="0" parTransId="{8E3B3157-8DBC-4FED-87D2-FCB0767BFF6D}" sibTransId="{6D5E303A-7892-43F5-A39F-D1D8869A926B}"/>
    <dgm:cxn modelId="{CF9B1F4D-6553-452C-81CA-76C85EBC3E2C}" type="presOf" srcId="{1A0C32E0-C57A-4BF5-BAAC-74484E0711DF}" destId="{C0648608-EBCA-4737-A26D-0194CA04C8F4}" srcOrd="0" destOrd="0" presId="urn:microsoft.com/office/officeart/2005/8/layout/hChevron3"/>
    <dgm:cxn modelId="{36B23F4D-DA24-4DEB-B355-EAFF7BC49EA6}" srcId="{6656E1C4-BE68-41DF-90AD-C4D6430C221E}" destId="{1FC4C10B-1C4F-4906-BAFB-084ADAD21587}" srcOrd="4" destOrd="0" parTransId="{B0A333C1-4398-45E4-9C81-1DAA5D4560D2}" sibTransId="{AC73896D-CB7A-47FE-B394-87F86018D3BE}"/>
    <dgm:cxn modelId="{AD323487-D6B5-486B-B3A0-13E64C9DFDF1}" type="presOf" srcId="{800EE8D8-A9A1-4862-9F1C-0110A712C3D3}" destId="{9EA7ACE5-1326-4A75-A244-CAF86395FE2E}" srcOrd="0" destOrd="0" presId="urn:microsoft.com/office/officeart/2005/8/layout/hChevron3"/>
    <dgm:cxn modelId="{3B894089-1B8F-44E8-926D-41A10104924B}" type="presOf" srcId="{E50ABF5C-81DE-43EE-A18E-428D2F4F5AB5}" destId="{6BB51E7D-5D16-406B-81AA-25146C1CF430}" srcOrd="0" destOrd="0" presId="urn:microsoft.com/office/officeart/2005/8/layout/hChevron3"/>
    <dgm:cxn modelId="{BA1C0D9E-0E0F-4DB2-BC7C-A910A17193E1}" srcId="{6656E1C4-BE68-41DF-90AD-C4D6430C221E}" destId="{88221659-8D96-4C02-9441-07CC22D455F0}" srcOrd="2" destOrd="0" parTransId="{7A4F699F-4368-44E1-8BE3-C8F8BC3A271B}" sibTransId="{738CF2EE-377A-4FCB-BF78-3FDCAAEB831B}"/>
    <dgm:cxn modelId="{B31924A0-C4EA-4050-9BD3-4145938D5501}" type="presOf" srcId="{1FC4C10B-1C4F-4906-BAFB-084ADAD21587}" destId="{606D5D85-4023-4CEF-84A0-143611DDB027}" srcOrd="0" destOrd="0" presId="urn:microsoft.com/office/officeart/2005/8/layout/hChevron3"/>
    <dgm:cxn modelId="{914A17AB-3AE1-4DB0-A7AC-BF33DCD9E25E}" srcId="{6656E1C4-BE68-41DF-90AD-C4D6430C221E}" destId="{1A0C32E0-C57A-4BF5-BAAC-74484E0711DF}" srcOrd="3" destOrd="0" parTransId="{537DA0FA-031B-4286-89D4-DC1BA505436E}" sibTransId="{FCCB2953-3E48-4D6A-84D8-CCE21D6532AC}"/>
    <dgm:cxn modelId="{C5972AED-2FB4-431C-8897-495A2F9D9813}" type="presOf" srcId="{6656E1C4-BE68-41DF-90AD-C4D6430C221E}" destId="{B00278D6-6D01-40ED-9662-22AEA09096D1}"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49F57861-A5D8-4F79-8F6A-63FE1C7A3C84}" type="presParOf" srcId="{B00278D6-6D01-40ED-9662-22AEA09096D1}" destId="{85315A3C-5F09-4245-9EB1-290F3B65E71D}" srcOrd="1" destOrd="0" presId="urn:microsoft.com/office/officeart/2005/8/layout/hChevron3"/>
    <dgm:cxn modelId="{F8A9306B-669B-4255-9250-88F5AB945FD5}" type="presParOf" srcId="{B00278D6-6D01-40ED-9662-22AEA09096D1}" destId="{6BB51E7D-5D16-406B-81AA-25146C1CF430}" srcOrd="2" destOrd="0" presId="urn:microsoft.com/office/officeart/2005/8/layout/hChevron3"/>
    <dgm:cxn modelId="{451E240D-FF69-4B43-891C-33FB6651C93A}" type="presParOf" srcId="{B00278D6-6D01-40ED-9662-22AEA09096D1}" destId="{6E3FF1A1-C8DA-4148-8E83-25DD3867CBC9}" srcOrd="3" destOrd="0" presId="urn:microsoft.com/office/officeart/2005/8/layout/hChevron3"/>
    <dgm:cxn modelId="{5BEF0674-FD93-452B-96D4-649B4D55F0EC}" type="presParOf" srcId="{B00278D6-6D01-40ED-9662-22AEA09096D1}" destId="{0D2B3D1C-7288-49AF-9B70-755B70F42238}" srcOrd="4" destOrd="0" presId="urn:microsoft.com/office/officeart/2005/8/layout/hChevron3"/>
    <dgm:cxn modelId="{E10598A5-AE67-4584-837E-55378DA38460}" type="presParOf" srcId="{B00278D6-6D01-40ED-9662-22AEA09096D1}" destId="{8513EDF4-B858-47A6-B132-5319E346D15F}" srcOrd="5" destOrd="0" presId="urn:microsoft.com/office/officeart/2005/8/layout/hChevron3"/>
    <dgm:cxn modelId="{134B24F6-19AE-4DDB-A5E7-5D38F0A3FB07}" type="presParOf" srcId="{B00278D6-6D01-40ED-9662-22AEA09096D1}" destId="{C0648608-EBCA-4737-A26D-0194CA04C8F4}" srcOrd="6" destOrd="0" presId="urn:microsoft.com/office/officeart/2005/8/layout/hChevron3"/>
    <dgm:cxn modelId="{0FD7DD2B-297F-4841-8CBF-09F711E57FA3}" type="presParOf" srcId="{B00278D6-6D01-40ED-9662-22AEA09096D1}" destId="{84B4293C-F8E5-42DA-9095-EE63BCFA2B94}" srcOrd="7" destOrd="0" presId="urn:microsoft.com/office/officeart/2005/8/layout/hChevron3"/>
    <dgm:cxn modelId="{4A33643A-8E10-4005-B1D2-FF6A91422FAC}" type="presParOf" srcId="{B00278D6-6D01-40ED-9662-22AEA09096D1}" destId="{606D5D85-4023-4CEF-84A0-143611DDB027}" srcOrd="8"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marL="0" lvl="0" indent="0" algn="ctr" defTabSz="7556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Capability</a:t>
          </a:r>
        </a:p>
      </dgm:t>
    </dgm:pt>
    <dgm:pt modelId="{8E3B3157-8DBC-4FED-87D2-FCB0767BFF6D}" type="parTrans" cxnId="{B38FBD47-E3C1-4584-B555-8EF512280E0A}">
      <dgm:prSet/>
      <dgm:spPr/>
      <dgm:t>
        <a:bodyPr/>
        <a:lstStyle/>
        <a:p>
          <a:endParaRPr lang="en-US" sz="1300" b="1">
            <a:latin typeface="+mn-lt"/>
          </a:endParaRPr>
        </a:p>
      </dgm:t>
    </dgm:pt>
    <dgm:pt modelId="{6D5E303A-7892-43F5-A39F-D1D8869A926B}" type="sibTrans" cxnId="{B38FBD47-E3C1-4584-B555-8EF512280E0A}">
      <dgm:prSet/>
      <dgm:spPr/>
      <dgm:t>
        <a:bodyPr/>
        <a:lstStyle/>
        <a:p>
          <a:endParaRPr lang="en-US" sz="1300" b="1">
            <a:latin typeface="+mn-lt"/>
          </a:endParaRPr>
        </a:p>
      </dgm:t>
    </dgm:pt>
    <dgm:pt modelId="{E50ABF5C-81DE-43EE-A18E-428D2F4F5AB5}">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Use Case Identification &amp; Prioritization</a:t>
          </a:r>
        </a:p>
      </dgm:t>
    </dgm:pt>
    <dgm:pt modelId="{6FA08A0E-C83D-49D8-AB4B-6983CB0E9C27}" type="parTrans" cxnId="{0250065D-8E12-4A93-B82D-1058243FEEC7}">
      <dgm:prSet/>
      <dgm:spPr/>
      <dgm:t>
        <a:bodyPr/>
        <a:lstStyle/>
        <a:p>
          <a:endParaRPr lang="en-US" sz="1300">
            <a:latin typeface="+mn-lt"/>
          </a:endParaRPr>
        </a:p>
      </dgm:t>
    </dgm:pt>
    <dgm:pt modelId="{DD3D89F6-E74A-4970-928A-C31969496C00}" type="sibTrans" cxnId="{0250065D-8E12-4A93-B82D-1058243FEEC7}">
      <dgm:prSet/>
      <dgm:spPr/>
      <dgm:t>
        <a:bodyPr/>
        <a:lstStyle/>
        <a:p>
          <a:endParaRPr lang="en-US" sz="1300">
            <a:latin typeface="+mn-lt"/>
          </a:endParaRPr>
        </a:p>
      </dgm:t>
    </dgm:pt>
    <dgm:pt modelId="{88221659-8D96-4C02-9441-07CC22D455F0}">
      <dgm:prSet phldrT="[Text]" custT="1"/>
      <dgm:spPr>
        <a:solidFill>
          <a:schemeClr val="bg2"/>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tx2"/>
              </a:solidFill>
              <a:latin typeface="EYInterstate Light" panose="02000506000000020004" pitchFamily="2" charset="0"/>
              <a:ea typeface="+mn-ea"/>
              <a:cs typeface="+mn-cs"/>
            </a:rPr>
            <a:t>Data Platform Architecture</a:t>
          </a:r>
        </a:p>
      </dgm:t>
    </dgm:pt>
    <dgm:pt modelId="{7A4F699F-4368-44E1-8BE3-C8F8BC3A271B}" type="parTrans" cxnId="{BA1C0D9E-0E0F-4DB2-BC7C-A910A17193E1}">
      <dgm:prSet/>
      <dgm:spPr/>
      <dgm:t>
        <a:bodyPr/>
        <a:lstStyle/>
        <a:p>
          <a:endParaRPr lang="en-US" sz="1300">
            <a:latin typeface="+mn-lt"/>
          </a:endParaRPr>
        </a:p>
      </dgm:t>
    </dgm:pt>
    <dgm:pt modelId="{738CF2EE-377A-4FCB-BF78-3FDCAAEB831B}" type="sibTrans" cxnId="{BA1C0D9E-0E0F-4DB2-BC7C-A910A17193E1}">
      <dgm:prSet/>
      <dgm:spPr/>
      <dgm:t>
        <a:bodyPr/>
        <a:lstStyle/>
        <a:p>
          <a:endParaRPr lang="en-US" sz="1300">
            <a:latin typeface="+mn-lt"/>
          </a:endParaRPr>
        </a:p>
      </dgm:t>
    </dgm:pt>
    <dgm:pt modelId="{1A0C32E0-C57A-4BF5-BAAC-74484E0711DF}">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Target Operating Model</a:t>
          </a:r>
        </a:p>
      </dgm:t>
    </dgm:pt>
    <dgm:pt modelId="{537DA0FA-031B-4286-89D4-DC1BA505436E}" type="parTrans" cxnId="{914A17AB-3AE1-4DB0-A7AC-BF33DCD9E25E}">
      <dgm:prSet/>
      <dgm:spPr/>
      <dgm:t>
        <a:bodyPr/>
        <a:lstStyle/>
        <a:p>
          <a:endParaRPr lang="en-US" sz="1300">
            <a:latin typeface="+mn-lt"/>
          </a:endParaRPr>
        </a:p>
      </dgm:t>
    </dgm:pt>
    <dgm:pt modelId="{FCCB2953-3E48-4D6A-84D8-CCE21D6532AC}" type="sibTrans" cxnId="{914A17AB-3AE1-4DB0-A7AC-BF33DCD9E25E}">
      <dgm:prSet/>
      <dgm:spPr/>
      <dgm:t>
        <a:bodyPr/>
        <a:lstStyle/>
        <a:p>
          <a:endParaRPr lang="en-US" sz="1300">
            <a:latin typeface="+mn-lt"/>
          </a:endParaRPr>
        </a:p>
      </dgm:t>
    </dgm:pt>
    <dgm:pt modelId="{1FC4C10B-1C4F-4906-BAFB-084ADAD21587}">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IT Strategic Roadmap</a:t>
          </a:r>
        </a:p>
      </dgm:t>
    </dgm:pt>
    <dgm:pt modelId="{B0A333C1-4398-45E4-9C81-1DAA5D4560D2}" type="parTrans" cxnId="{36B23F4D-DA24-4DEB-B355-EAFF7BC49EA6}">
      <dgm:prSet/>
      <dgm:spPr/>
      <dgm:t>
        <a:bodyPr/>
        <a:lstStyle/>
        <a:p>
          <a:endParaRPr lang="en-US" sz="1300">
            <a:latin typeface="+mn-lt"/>
          </a:endParaRPr>
        </a:p>
      </dgm:t>
    </dgm:pt>
    <dgm:pt modelId="{AC73896D-CB7A-47FE-B394-87F86018D3BE}" type="sibTrans" cxnId="{36B23F4D-DA24-4DEB-B355-EAFF7BC49EA6}">
      <dgm:prSet/>
      <dgm:spPr/>
      <dgm:t>
        <a:bodyPr/>
        <a:lstStyle/>
        <a:p>
          <a:endParaRPr lang="en-US" sz="1300">
            <a:latin typeface="+mn-lt"/>
          </a:endParaRPr>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custLinFactNeighborX="8326">
        <dgm:presLayoutVars>
          <dgm:bulletEnabled val="1"/>
        </dgm:presLayoutVars>
      </dgm:prSet>
      <dgm:spPr>
        <a:xfrm>
          <a:off x="439" y="0"/>
          <a:ext cx="856738" cy="273345"/>
        </a:xfrm>
        <a:prstGeom prst="homePlate">
          <a:avLst/>
        </a:prstGeom>
      </dgm:spPr>
    </dgm:pt>
    <dgm:pt modelId="{85315A3C-5F09-4245-9EB1-290F3B65E71D}" type="pres">
      <dgm:prSet presAssocID="{6D5E303A-7892-43F5-A39F-D1D8869A926B}" presName="parSpace" presStyleCnt="0"/>
      <dgm:spPr/>
    </dgm:pt>
    <dgm:pt modelId="{6BB51E7D-5D16-406B-81AA-25146C1CF430}" type="pres">
      <dgm:prSet presAssocID="{E50ABF5C-81DE-43EE-A18E-428D2F4F5AB5}" presName="parTxOnly" presStyleLbl="node1" presStyleIdx="1" presStyleCnt="5" custLinFactNeighborX="8582">
        <dgm:presLayoutVars>
          <dgm:bulletEnabled val="1"/>
        </dgm:presLayoutVars>
      </dgm:prSet>
      <dgm:spPr/>
    </dgm:pt>
    <dgm:pt modelId="{6E3FF1A1-C8DA-4148-8E83-25DD3867CBC9}" type="pres">
      <dgm:prSet presAssocID="{DD3D89F6-E74A-4970-928A-C31969496C00}" presName="parSpace" presStyleCnt="0"/>
      <dgm:spPr/>
    </dgm:pt>
    <dgm:pt modelId="{0D2B3D1C-7288-49AF-9B70-755B70F42238}" type="pres">
      <dgm:prSet presAssocID="{88221659-8D96-4C02-9441-07CC22D455F0}" presName="parTxOnly" presStyleLbl="node1" presStyleIdx="2" presStyleCnt="5" custLinFactNeighborX="8582">
        <dgm:presLayoutVars>
          <dgm:bulletEnabled val="1"/>
        </dgm:presLayoutVars>
      </dgm:prSet>
      <dgm:spPr/>
    </dgm:pt>
    <dgm:pt modelId="{8513EDF4-B858-47A6-B132-5319E346D15F}" type="pres">
      <dgm:prSet presAssocID="{738CF2EE-377A-4FCB-BF78-3FDCAAEB831B}" presName="parSpace" presStyleCnt="0"/>
      <dgm:spPr/>
    </dgm:pt>
    <dgm:pt modelId="{C0648608-EBCA-4737-A26D-0194CA04C8F4}" type="pres">
      <dgm:prSet presAssocID="{1A0C32E0-C57A-4BF5-BAAC-74484E0711DF}" presName="parTxOnly" presStyleLbl="node1" presStyleIdx="3" presStyleCnt="5" custLinFactNeighborX="8582">
        <dgm:presLayoutVars>
          <dgm:bulletEnabled val="1"/>
        </dgm:presLayoutVars>
      </dgm:prSet>
      <dgm:spPr/>
    </dgm:pt>
    <dgm:pt modelId="{84B4293C-F8E5-42DA-9095-EE63BCFA2B94}" type="pres">
      <dgm:prSet presAssocID="{FCCB2953-3E48-4D6A-84D8-CCE21D6532AC}" presName="parSpace" presStyleCnt="0"/>
      <dgm:spPr/>
    </dgm:pt>
    <dgm:pt modelId="{606D5D85-4023-4CEF-84A0-143611DDB027}" type="pres">
      <dgm:prSet presAssocID="{1FC4C10B-1C4F-4906-BAFB-084ADAD21587}" presName="parTxOnly" presStyleLbl="node1" presStyleIdx="4" presStyleCnt="5" custLinFactNeighborX="8582">
        <dgm:presLayoutVars>
          <dgm:bulletEnabled val="1"/>
        </dgm:presLayoutVars>
      </dgm:prSet>
      <dgm:spPr/>
    </dgm:pt>
  </dgm:ptLst>
  <dgm:cxnLst>
    <dgm:cxn modelId="{A3378C3F-D901-4A6D-A718-86F299C69DE1}" type="presOf" srcId="{88221659-8D96-4C02-9441-07CC22D455F0}" destId="{0D2B3D1C-7288-49AF-9B70-755B70F42238}" srcOrd="0" destOrd="0" presId="urn:microsoft.com/office/officeart/2005/8/layout/hChevron3"/>
    <dgm:cxn modelId="{0250065D-8E12-4A93-B82D-1058243FEEC7}" srcId="{6656E1C4-BE68-41DF-90AD-C4D6430C221E}" destId="{E50ABF5C-81DE-43EE-A18E-428D2F4F5AB5}" srcOrd="1" destOrd="0" parTransId="{6FA08A0E-C83D-49D8-AB4B-6983CB0E9C27}" sibTransId="{DD3D89F6-E74A-4970-928A-C31969496C00}"/>
    <dgm:cxn modelId="{B38FBD47-E3C1-4584-B555-8EF512280E0A}" srcId="{6656E1C4-BE68-41DF-90AD-C4D6430C221E}" destId="{800EE8D8-A9A1-4862-9F1C-0110A712C3D3}" srcOrd="0" destOrd="0" parTransId="{8E3B3157-8DBC-4FED-87D2-FCB0767BFF6D}" sibTransId="{6D5E303A-7892-43F5-A39F-D1D8869A926B}"/>
    <dgm:cxn modelId="{CF9B1F4D-6553-452C-81CA-76C85EBC3E2C}" type="presOf" srcId="{1A0C32E0-C57A-4BF5-BAAC-74484E0711DF}" destId="{C0648608-EBCA-4737-A26D-0194CA04C8F4}" srcOrd="0" destOrd="0" presId="urn:microsoft.com/office/officeart/2005/8/layout/hChevron3"/>
    <dgm:cxn modelId="{36B23F4D-DA24-4DEB-B355-EAFF7BC49EA6}" srcId="{6656E1C4-BE68-41DF-90AD-C4D6430C221E}" destId="{1FC4C10B-1C4F-4906-BAFB-084ADAD21587}" srcOrd="4" destOrd="0" parTransId="{B0A333C1-4398-45E4-9C81-1DAA5D4560D2}" sibTransId="{AC73896D-CB7A-47FE-B394-87F86018D3BE}"/>
    <dgm:cxn modelId="{AD323487-D6B5-486B-B3A0-13E64C9DFDF1}" type="presOf" srcId="{800EE8D8-A9A1-4862-9F1C-0110A712C3D3}" destId="{9EA7ACE5-1326-4A75-A244-CAF86395FE2E}" srcOrd="0" destOrd="0" presId="urn:microsoft.com/office/officeart/2005/8/layout/hChevron3"/>
    <dgm:cxn modelId="{3B894089-1B8F-44E8-926D-41A10104924B}" type="presOf" srcId="{E50ABF5C-81DE-43EE-A18E-428D2F4F5AB5}" destId="{6BB51E7D-5D16-406B-81AA-25146C1CF430}" srcOrd="0" destOrd="0" presId="urn:microsoft.com/office/officeart/2005/8/layout/hChevron3"/>
    <dgm:cxn modelId="{BA1C0D9E-0E0F-4DB2-BC7C-A910A17193E1}" srcId="{6656E1C4-BE68-41DF-90AD-C4D6430C221E}" destId="{88221659-8D96-4C02-9441-07CC22D455F0}" srcOrd="2" destOrd="0" parTransId="{7A4F699F-4368-44E1-8BE3-C8F8BC3A271B}" sibTransId="{738CF2EE-377A-4FCB-BF78-3FDCAAEB831B}"/>
    <dgm:cxn modelId="{B31924A0-C4EA-4050-9BD3-4145938D5501}" type="presOf" srcId="{1FC4C10B-1C4F-4906-BAFB-084ADAD21587}" destId="{606D5D85-4023-4CEF-84A0-143611DDB027}" srcOrd="0" destOrd="0" presId="urn:microsoft.com/office/officeart/2005/8/layout/hChevron3"/>
    <dgm:cxn modelId="{914A17AB-3AE1-4DB0-A7AC-BF33DCD9E25E}" srcId="{6656E1C4-BE68-41DF-90AD-C4D6430C221E}" destId="{1A0C32E0-C57A-4BF5-BAAC-74484E0711DF}" srcOrd="3" destOrd="0" parTransId="{537DA0FA-031B-4286-89D4-DC1BA505436E}" sibTransId="{FCCB2953-3E48-4D6A-84D8-CCE21D6532AC}"/>
    <dgm:cxn modelId="{C5972AED-2FB4-431C-8897-495A2F9D9813}" type="presOf" srcId="{6656E1C4-BE68-41DF-90AD-C4D6430C221E}" destId="{B00278D6-6D01-40ED-9662-22AEA09096D1}"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49F57861-A5D8-4F79-8F6A-63FE1C7A3C84}" type="presParOf" srcId="{B00278D6-6D01-40ED-9662-22AEA09096D1}" destId="{85315A3C-5F09-4245-9EB1-290F3B65E71D}" srcOrd="1" destOrd="0" presId="urn:microsoft.com/office/officeart/2005/8/layout/hChevron3"/>
    <dgm:cxn modelId="{F8A9306B-669B-4255-9250-88F5AB945FD5}" type="presParOf" srcId="{B00278D6-6D01-40ED-9662-22AEA09096D1}" destId="{6BB51E7D-5D16-406B-81AA-25146C1CF430}" srcOrd="2" destOrd="0" presId="urn:microsoft.com/office/officeart/2005/8/layout/hChevron3"/>
    <dgm:cxn modelId="{451E240D-FF69-4B43-891C-33FB6651C93A}" type="presParOf" srcId="{B00278D6-6D01-40ED-9662-22AEA09096D1}" destId="{6E3FF1A1-C8DA-4148-8E83-25DD3867CBC9}" srcOrd="3" destOrd="0" presId="urn:microsoft.com/office/officeart/2005/8/layout/hChevron3"/>
    <dgm:cxn modelId="{5BEF0674-FD93-452B-96D4-649B4D55F0EC}" type="presParOf" srcId="{B00278D6-6D01-40ED-9662-22AEA09096D1}" destId="{0D2B3D1C-7288-49AF-9B70-755B70F42238}" srcOrd="4" destOrd="0" presId="urn:microsoft.com/office/officeart/2005/8/layout/hChevron3"/>
    <dgm:cxn modelId="{E10598A5-AE67-4584-837E-55378DA38460}" type="presParOf" srcId="{B00278D6-6D01-40ED-9662-22AEA09096D1}" destId="{8513EDF4-B858-47A6-B132-5319E346D15F}" srcOrd="5" destOrd="0" presId="urn:microsoft.com/office/officeart/2005/8/layout/hChevron3"/>
    <dgm:cxn modelId="{134B24F6-19AE-4DDB-A5E7-5D38F0A3FB07}" type="presParOf" srcId="{B00278D6-6D01-40ED-9662-22AEA09096D1}" destId="{C0648608-EBCA-4737-A26D-0194CA04C8F4}" srcOrd="6" destOrd="0" presId="urn:microsoft.com/office/officeart/2005/8/layout/hChevron3"/>
    <dgm:cxn modelId="{0FD7DD2B-297F-4841-8CBF-09F711E57FA3}" type="presParOf" srcId="{B00278D6-6D01-40ED-9662-22AEA09096D1}" destId="{84B4293C-F8E5-42DA-9095-EE63BCFA2B94}" srcOrd="7" destOrd="0" presId="urn:microsoft.com/office/officeart/2005/8/layout/hChevron3"/>
    <dgm:cxn modelId="{4A33643A-8E10-4005-B1D2-FF6A91422FAC}" type="presParOf" srcId="{B00278D6-6D01-40ED-9662-22AEA09096D1}" destId="{606D5D85-4023-4CEF-84A0-143611DDB027}" srcOrd="8"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marL="0" lvl="0" indent="0" algn="ctr" defTabSz="7556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Capability</a:t>
          </a:r>
        </a:p>
      </dgm:t>
    </dgm:pt>
    <dgm:pt modelId="{8E3B3157-8DBC-4FED-87D2-FCB0767BFF6D}" type="parTrans" cxnId="{B38FBD47-E3C1-4584-B555-8EF512280E0A}">
      <dgm:prSet/>
      <dgm:spPr/>
      <dgm:t>
        <a:bodyPr/>
        <a:lstStyle/>
        <a:p>
          <a:endParaRPr lang="en-US" sz="1300" b="1">
            <a:latin typeface="+mn-lt"/>
          </a:endParaRPr>
        </a:p>
      </dgm:t>
    </dgm:pt>
    <dgm:pt modelId="{6D5E303A-7892-43F5-A39F-D1D8869A926B}" type="sibTrans" cxnId="{B38FBD47-E3C1-4584-B555-8EF512280E0A}">
      <dgm:prSet/>
      <dgm:spPr/>
      <dgm:t>
        <a:bodyPr/>
        <a:lstStyle/>
        <a:p>
          <a:endParaRPr lang="en-US" sz="1300" b="1">
            <a:latin typeface="+mn-lt"/>
          </a:endParaRPr>
        </a:p>
      </dgm:t>
    </dgm:pt>
    <dgm:pt modelId="{E50ABF5C-81DE-43EE-A18E-428D2F4F5AB5}">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Use Case Identification &amp; Prioritization</a:t>
          </a:r>
        </a:p>
      </dgm:t>
    </dgm:pt>
    <dgm:pt modelId="{6FA08A0E-C83D-49D8-AB4B-6983CB0E9C27}" type="parTrans" cxnId="{0250065D-8E12-4A93-B82D-1058243FEEC7}">
      <dgm:prSet/>
      <dgm:spPr/>
      <dgm:t>
        <a:bodyPr/>
        <a:lstStyle/>
        <a:p>
          <a:endParaRPr lang="en-US" sz="1300">
            <a:latin typeface="+mn-lt"/>
          </a:endParaRPr>
        </a:p>
      </dgm:t>
    </dgm:pt>
    <dgm:pt modelId="{DD3D89F6-E74A-4970-928A-C31969496C00}" type="sibTrans" cxnId="{0250065D-8E12-4A93-B82D-1058243FEEC7}">
      <dgm:prSet/>
      <dgm:spPr/>
      <dgm:t>
        <a:bodyPr/>
        <a:lstStyle/>
        <a:p>
          <a:endParaRPr lang="en-US" sz="1300">
            <a:latin typeface="+mn-lt"/>
          </a:endParaRPr>
        </a:p>
      </dgm:t>
    </dgm:pt>
    <dgm:pt modelId="{88221659-8D96-4C02-9441-07CC22D455F0}">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Data Platform Architecture</a:t>
          </a:r>
        </a:p>
      </dgm:t>
    </dgm:pt>
    <dgm:pt modelId="{7A4F699F-4368-44E1-8BE3-C8F8BC3A271B}" type="parTrans" cxnId="{BA1C0D9E-0E0F-4DB2-BC7C-A910A17193E1}">
      <dgm:prSet/>
      <dgm:spPr/>
      <dgm:t>
        <a:bodyPr/>
        <a:lstStyle/>
        <a:p>
          <a:endParaRPr lang="en-US" sz="1300">
            <a:latin typeface="+mn-lt"/>
          </a:endParaRPr>
        </a:p>
      </dgm:t>
    </dgm:pt>
    <dgm:pt modelId="{738CF2EE-377A-4FCB-BF78-3FDCAAEB831B}" type="sibTrans" cxnId="{BA1C0D9E-0E0F-4DB2-BC7C-A910A17193E1}">
      <dgm:prSet/>
      <dgm:spPr/>
      <dgm:t>
        <a:bodyPr/>
        <a:lstStyle/>
        <a:p>
          <a:endParaRPr lang="en-US" sz="1300">
            <a:latin typeface="+mn-lt"/>
          </a:endParaRPr>
        </a:p>
      </dgm:t>
    </dgm:pt>
    <dgm:pt modelId="{1A0C32E0-C57A-4BF5-BAAC-74484E0711DF}">
      <dgm:prSet phldrT="[Text]" custT="1"/>
      <dgm:spPr>
        <a:solidFill>
          <a:schemeClr val="accent2"/>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tx2"/>
              </a:solidFill>
              <a:latin typeface="EYInterstate Light" panose="02000506000000020004" pitchFamily="2" charset="0"/>
              <a:ea typeface="+mn-ea"/>
              <a:cs typeface="+mn-cs"/>
            </a:rPr>
            <a:t>Target Operating Model</a:t>
          </a:r>
        </a:p>
      </dgm:t>
    </dgm:pt>
    <dgm:pt modelId="{537DA0FA-031B-4286-89D4-DC1BA505436E}" type="parTrans" cxnId="{914A17AB-3AE1-4DB0-A7AC-BF33DCD9E25E}">
      <dgm:prSet/>
      <dgm:spPr/>
      <dgm:t>
        <a:bodyPr/>
        <a:lstStyle/>
        <a:p>
          <a:endParaRPr lang="en-US" sz="1300">
            <a:latin typeface="+mn-lt"/>
          </a:endParaRPr>
        </a:p>
      </dgm:t>
    </dgm:pt>
    <dgm:pt modelId="{FCCB2953-3E48-4D6A-84D8-CCE21D6532AC}" type="sibTrans" cxnId="{914A17AB-3AE1-4DB0-A7AC-BF33DCD9E25E}">
      <dgm:prSet/>
      <dgm:spPr/>
      <dgm:t>
        <a:bodyPr/>
        <a:lstStyle/>
        <a:p>
          <a:endParaRPr lang="en-US" sz="1300">
            <a:latin typeface="+mn-lt"/>
          </a:endParaRPr>
        </a:p>
      </dgm:t>
    </dgm:pt>
    <dgm:pt modelId="{1FC4C10B-1C4F-4906-BAFB-084ADAD21587}">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IT Strategic Roadmap</a:t>
          </a:r>
        </a:p>
      </dgm:t>
    </dgm:pt>
    <dgm:pt modelId="{B0A333C1-4398-45E4-9C81-1DAA5D4560D2}" type="parTrans" cxnId="{36B23F4D-DA24-4DEB-B355-EAFF7BC49EA6}">
      <dgm:prSet/>
      <dgm:spPr/>
      <dgm:t>
        <a:bodyPr/>
        <a:lstStyle/>
        <a:p>
          <a:endParaRPr lang="en-US" sz="1300">
            <a:latin typeface="+mn-lt"/>
          </a:endParaRPr>
        </a:p>
      </dgm:t>
    </dgm:pt>
    <dgm:pt modelId="{AC73896D-CB7A-47FE-B394-87F86018D3BE}" type="sibTrans" cxnId="{36B23F4D-DA24-4DEB-B355-EAFF7BC49EA6}">
      <dgm:prSet/>
      <dgm:spPr/>
      <dgm:t>
        <a:bodyPr/>
        <a:lstStyle/>
        <a:p>
          <a:endParaRPr lang="en-US" sz="1300">
            <a:latin typeface="+mn-lt"/>
          </a:endParaRPr>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custLinFactNeighborX="8326">
        <dgm:presLayoutVars>
          <dgm:bulletEnabled val="1"/>
        </dgm:presLayoutVars>
      </dgm:prSet>
      <dgm:spPr>
        <a:xfrm>
          <a:off x="439" y="0"/>
          <a:ext cx="856738" cy="273345"/>
        </a:xfrm>
        <a:prstGeom prst="homePlate">
          <a:avLst/>
        </a:prstGeom>
      </dgm:spPr>
    </dgm:pt>
    <dgm:pt modelId="{85315A3C-5F09-4245-9EB1-290F3B65E71D}" type="pres">
      <dgm:prSet presAssocID="{6D5E303A-7892-43F5-A39F-D1D8869A926B}" presName="parSpace" presStyleCnt="0"/>
      <dgm:spPr/>
    </dgm:pt>
    <dgm:pt modelId="{6BB51E7D-5D16-406B-81AA-25146C1CF430}" type="pres">
      <dgm:prSet presAssocID="{E50ABF5C-81DE-43EE-A18E-428D2F4F5AB5}" presName="parTxOnly" presStyleLbl="node1" presStyleIdx="1" presStyleCnt="5" custLinFactNeighborX="8582">
        <dgm:presLayoutVars>
          <dgm:bulletEnabled val="1"/>
        </dgm:presLayoutVars>
      </dgm:prSet>
      <dgm:spPr/>
    </dgm:pt>
    <dgm:pt modelId="{6E3FF1A1-C8DA-4148-8E83-25DD3867CBC9}" type="pres">
      <dgm:prSet presAssocID="{DD3D89F6-E74A-4970-928A-C31969496C00}" presName="parSpace" presStyleCnt="0"/>
      <dgm:spPr/>
    </dgm:pt>
    <dgm:pt modelId="{0D2B3D1C-7288-49AF-9B70-755B70F42238}" type="pres">
      <dgm:prSet presAssocID="{88221659-8D96-4C02-9441-07CC22D455F0}" presName="parTxOnly" presStyleLbl="node1" presStyleIdx="2" presStyleCnt="5" custLinFactNeighborX="8582">
        <dgm:presLayoutVars>
          <dgm:bulletEnabled val="1"/>
        </dgm:presLayoutVars>
      </dgm:prSet>
      <dgm:spPr/>
    </dgm:pt>
    <dgm:pt modelId="{8513EDF4-B858-47A6-B132-5319E346D15F}" type="pres">
      <dgm:prSet presAssocID="{738CF2EE-377A-4FCB-BF78-3FDCAAEB831B}" presName="parSpace" presStyleCnt="0"/>
      <dgm:spPr/>
    </dgm:pt>
    <dgm:pt modelId="{C0648608-EBCA-4737-A26D-0194CA04C8F4}" type="pres">
      <dgm:prSet presAssocID="{1A0C32E0-C57A-4BF5-BAAC-74484E0711DF}" presName="parTxOnly" presStyleLbl="node1" presStyleIdx="3" presStyleCnt="5" custLinFactNeighborX="8582">
        <dgm:presLayoutVars>
          <dgm:bulletEnabled val="1"/>
        </dgm:presLayoutVars>
      </dgm:prSet>
      <dgm:spPr/>
    </dgm:pt>
    <dgm:pt modelId="{84B4293C-F8E5-42DA-9095-EE63BCFA2B94}" type="pres">
      <dgm:prSet presAssocID="{FCCB2953-3E48-4D6A-84D8-CCE21D6532AC}" presName="parSpace" presStyleCnt="0"/>
      <dgm:spPr/>
    </dgm:pt>
    <dgm:pt modelId="{606D5D85-4023-4CEF-84A0-143611DDB027}" type="pres">
      <dgm:prSet presAssocID="{1FC4C10B-1C4F-4906-BAFB-084ADAD21587}" presName="parTxOnly" presStyleLbl="node1" presStyleIdx="4" presStyleCnt="5" custLinFactNeighborX="8582">
        <dgm:presLayoutVars>
          <dgm:bulletEnabled val="1"/>
        </dgm:presLayoutVars>
      </dgm:prSet>
      <dgm:spPr/>
    </dgm:pt>
  </dgm:ptLst>
  <dgm:cxnLst>
    <dgm:cxn modelId="{A3378C3F-D901-4A6D-A718-86F299C69DE1}" type="presOf" srcId="{88221659-8D96-4C02-9441-07CC22D455F0}" destId="{0D2B3D1C-7288-49AF-9B70-755B70F42238}" srcOrd="0" destOrd="0" presId="urn:microsoft.com/office/officeart/2005/8/layout/hChevron3"/>
    <dgm:cxn modelId="{0250065D-8E12-4A93-B82D-1058243FEEC7}" srcId="{6656E1C4-BE68-41DF-90AD-C4D6430C221E}" destId="{E50ABF5C-81DE-43EE-A18E-428D2F4F5AB5}" srcOrd="1" destOrd="0" parTransId="{6FA08A0E-C83D-49D8-AB4B-6983CB0E9C27}" sibTransId="{DD3D89F6-E74A-4970-928A-C31969496C00}"/>
    <dgm:cxn modelId="{B38FBD47-E3C1-4584-B555-8EF512280E0A}" srcId="{6656E1C4-BE68-41DF-90AD-C4D6430C221E}" destId="{800EE8D8-A9A1-4862-9F1C-0110A712C3D3}" srcOrd="0" destOrd="0" parTransId="{8E3B3157-8DBC-4FED-87D2-FCB0767BFF6D}" sibTransId="{6D5E303A-7892-43F5-A39F-D1D8869A926B}"/>
    <dgm:cxn modelId="{CF9B1F4D-6553-452C-81CA-76C85EBC3E2C}" type="presOf" srcId="{1A0C32E0-C57A-4BF5-BAAC-74484E0711DF}" destId="{C0648608-EBCA-4737-A26D-0194CA04C8F4}" srcOrd="0" destOrd="0" presId="urn:microsoft.com/office/officeart/2005/8/layout/hChevron3"/>
    <dgm:cxn modelId="{36B23F4D-DA24-4DEB-B355-EAFF7BC49EA6}" srcId="{6656E1C4-BE68-41DF-90AD-C4D6430C221E}" destId="{1FC4C10B-1C4F-4906-BAFB-084ADAD21587}" srcOrd="4" destOrd="0" parTransId="{B0A333C1-4398-45E4-9C81-1DAA5D4560D2}" sibTransId="{AC73896D-CB7A-47FE-B394-87F86018D3BE}"/>
    <dgm:cxn modelId="{AD323487-D6B5-486B-B3A0-13E64C9DFDF1}" type="presOf" srcId="{800EE8D8-A9A1-4862-9F1C-0110A712C3D3}" destId="{9EA7ACE5-1326-4A75-A244-CAF86395FE2E}" srcOrd="0" destOrd="0" presId="urn:microsoft.com/office/officeart/2005/8/layout/hChevron3"/>
    <dgm:cxn modelId="{3B894089-1B8F-44E8-926D-41A10104924B}" type="presOf" srcId="{E50ABF5C-81DE-43EE-A18E-428D2F4F5AB5}" destId="{6BB51E7D-5D16-406B-81AA-25146C1CF430}" srcOrd="0" destOrd="0" presId="urn:microsoft.com/office/officeart/2005/8/layout/hChevron3"/>
    <dgm:cxn modelId="{BA1C0D9E-0E0F-4DB2-BC7C-A910A17193E1}" srcId="{6656E1C4-BE68-41DF-90AD-C4D6430C221E}" destId="{88221659-8D96-4C02-9441-07CC22D455F0}" srcOrd="2" destOrd="0" parTransId="{7A4F699F-4368-44E1-8BE3-C8F8BC3A271B}" sibTransId="{738CF2EE-377A-4FCB-BF78-3FDCAAEB831B}"/>
    <dgm:cxn modelId="{B31924A0-C4EA-4050-9BD3-4145938D5501}" type="presOf" srcId="{1FC4C10B-1C4F-4906-BAFB-084ADAD21587}" destId="{606D5D85-4023-4CEF-84A0-143611DDB027}" srcOrd="0" destOrd="0" presId="urn:microsoft.com/office/officeart/2005/8/layout/hChevron3"/>
    <dgm:cxn modelId="{914A17AB-3AE1-4DB0-A7AC-BF33DCD9E25E}" srcId="{6656E1C4-BE68-41DF-90AD-C4D6430C221E}" destId="{1A0C32E0-C57A-4BF5-BAAC-74484E0711DF}" srcOrd="3" destOrd="0" parTransId="{537DA0FA-031B-4286-89D4-DC1BA505436E}" sibTransId="{FCCB2953-3E48-4D6A-84D8-CCE21D6532AC}"/>
    <dgm:cxn modelId="{C5972AED-2FB4-431C-8897-495A2F9D9813}" type="presOf" srcId="{6656E1C4-BE68-41DF-90AD-C4D6430C221E}" destId="{B00278D6-6D01-40ED-9662-22AEA09096D1}"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49F57861-A5D8-4F79-8F6A-63FE1C7A3C84}" type="presParOf" srcId="{B00278D6-6D01-40ED-9662-22AEA09096D1}" destId="{85315A3C-5F09-4245-9EB1-290F3B65E71D}" srcOrd="1" destOrd="0" presId="urn:microsoft.com/office/officeart/2005/8/layout/hChevron3"/>
    <dgm:cxn modelId="{F8A9306B-669B-4255-9250-88F5AB945FD5}" type="presParOf" srcId="{B00278D6-6D01-40ED-9662-22AEA09096D1}" destId="{6BB51E7D-5D16-406B-81AA-25146C1CF430}" srcOrd="2" destOrd="0" presId="urn:microsoft.com/office/officeart/2005/8/layout/hChevron3"/>
    <dgm:cxn modelId="{451E240D-FF69-4B43-891C-33FB6651C93A}" type="presParOf" srcId="{B00278D6-6D01-40ED-9662-22AEA09096D1}" destId="{6E3FF1A1-C8DA-4148-8E83-25DD3867CBC9}" srcOrd="3" destOrd="0" presId="urn:microsoft.com/office/officeart/2005/8/layout/hChevron3"/>
    <dgm:cxn modelId="{5BEF0674-FD93-452B-96D4-649B4D55F0EC}" type="presParOf" srcId="{B00278D6-6D01-40ED-9662-22AEA09096D1}" destId="{0D2B3D1C-7288-49AF-9B70-755B70F42238}" srcOrd="4" destOrd="0" presId="urn:microsoft.com/office/officeart/2005/8/layout/hChevron3"/>
    <dgm:cxn modelId="{E10598A5-AE67-4584-837E-55378DA38460}" type="presParOf" srcId="{B00278D6-6D01-40ED-9662-22AEA09096D1}" destId="{8513EDF4-B858-47A6-B132-5319E346D15F}" srcOrd="5" destOrd="0" presId="urn:microsoft.com/office/officeart/2005/8/layout/hChevron3"/>
    <dgm:cxn modelId="{134B24F6-19AE-4DDB-A5E7-5D38F0A3FB07}" type="presParOf" srcId="{B00278D6-6D01-40ED-9662-22AEA09096D1}" destId="{C0648608-EBCA-4737-A26D-0194CA04C8F4}" srcOrd="6" destOrd="0" presId="urn:microsoft.com/office/officeart/2005/8/layout/hChevron3"/>
    <dgm:cxn modelId="{0FD7DD2B-297F-4841-8CBF-09F711E57FA3}" type="presParOf" srcId="{B00278D6-6D01-40ED-9662-22AEA09096D1}" destId="{84B4293C-F8E5-42DA-9095-EE63BCFA2B94}" srcOrd="7" destOrd="0" presId="urn:microsoft.com/office/officeart/2005/8/layout/hChevron3"/>
    <dgm:cxn modelId="{4A33643A-8E10-4005-B1D2-FF6A91422FAC}" type="presParOf" srcId="{B00278D6-6D01-40ED-9662-22AEA09096D1}" destId="{606D5D85-4023-4CEF-84A0-143611DDB027}" srcOrd="8"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marL="0" lvl="0" indent="0" algn="ctr" defTabSz="7556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Capability</a:t>
          </a:r>
        </a:p>
      </dgm:t>
    </dgm:pt>
    <dgm:pt modelId="{8E3B3157-8DBC-4FED-87D2-FCB0767BFF6D}" type="parTrans" cxnId="{B38FBD47-E3C1-4584-B555-8EF512280E0A}">
      <dgm:prSet/>
      <dgm:spPr/>
      <dgm:t>
        <a:bodyPr/>
        <a:lstStyle/>
        <a:p>
          <a:endParaRPr lang="en-US" sz="1300" b="1">
            <a:latin typeface="+mn-lt"/>
          </a:endParaRPr>
        </a:p>
      </dgm:t>
    </dgm:pt>
    <dgm:pt modelId="{6D5E303A-7892-43F5-A39F-D1D8869A926B}" type="sibTrans" cxnId="{B38FBD47-E3C1-4584-B555-8EF512280E0A}">
      <dgm:prSet/>
      <dgm:spPr/>
      <dgm:t>
        <a:bodyPr/>
        <a:lstStyle/>
        <a:p>
          <a:endParaRPr lang="en-US" sz="1300" b="1">
            <a:latin typeface="+mn-lt"/>
          </a:endParaRPr>
        </a:p>
      </dgm:t>
    </dgm:pt>
    <dgm:pt modelId="{E50ABF5C-81DE-43EE-A18E-428D2F4F5AB5}">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Use Case Identification &amp; Prioritization</a:t>
          </a:r>
        </a:p>
      </dgm:t>
    </dgm:pt>
    <dgm:pt modelId="{6FA08A0E-C83D-49D8-AB4B-6983CB0E9C27}" type="parTrans" cxnId="{0250065D-8E12-4A93-B82D-1058243FEEC7}">
      <dgm:prSet/>
      <dgm:spPr/>
      <dgm:t>
        <a:bodyPr/>
        <a:lstStyle/>
        <a:p>
          <a:endParaRPr lang="en-US" sz="1300">
            <a:latin typeface="+mn-lt"/>
          </a:endParaRPr>
        </a:p>
      </dgm:t>
    </dgm:pt>
    <dgm:pt modelId="{DD3D89F6-E74A-4970-928A-C31969496C00}" type="sibTrans" cxnId="{0250065D-8E12-4A93-B82D-1058243FEEC7}">
      <dgm:prSet/>
      <dgm:spPr/>
      <dgm:t>
        <a:bodyPr/>
        <a:lstStyle/>
        <a:p>
          <a:endParaRPr lang="en-US" sz="1300">
            <a:latin typeface="+mn-lt"/>
          </a:endParaRPr>
        </a:p>
      </dgm:t>
    </dgm:pt>
    <dgm:pt modelId="{88221659-8D96-4C02-9441-07CC22D455F0}">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Data Platform Architecture</a:t>
          </a:r>
        </a:p>
      </dgm:t>
    </dgm:pt>
    <dgm:pt modelId="{7A4F699F-4368-44E1-8BE3-C8F8BC3A271B}" type="parTrans" cxnId="{BA1C0D9E-0E0F-4DB2-BC7C-A910A17193E1}">
      <dgm:prSet/>
      <dgm:spPr/>
      <dgm:t>
        <a:bodyPr/>
        <a:lstStyle/>
        <a:p>
          <a:endParaRPr lang="en-US" sz="1300">
            <a:latin typeface="+mn-lt"/>
          </a:endParaRPr>
        </a:p>
      </dgm:t>
    </dgm:pt>
    <dgm:pt modelId="{738CF2EE-377A-4FCB-BF78-3FDCAAEB831B}" type="sibTrans" cxnId="{BA1C0D9E-0E0F-4DB2-BC7C-A910A17193E1}">
      <dgm:prSet/>
      <dgm:spPr/>
      <dgm:t>
        <a:bodyPr/>
        <a:lstStyle/>
        <a:p>
          <a:endParaRPr lang="en-US" sz="1300">
            <a:latin typeface="+mn-lt"/>
          </a:endParaRPr>
        </a:p>
      </dgm:t>
    </dgm:pt>
    <dgm:pt modelId="{1A0C32E0-C57A-4BF5-BAAC-74484E0711DF}">
      <dgm:prSet phldrT="[Text]" custT="1"/>
      <dgm:spPr>
        <a:solidFill>
          <a:schemeClr val="accent1"/>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bg1"/>
              </a:solidFill>
              <a:latin typeface="EYInterstate Light" panose="02000506000000020004" pitchFamily="2" charset="0"/>
              <a:ea typeface="+mn-ea"/>
              <a:cs typeface="+mn-cs"/>
            </a:rPr>
            <a:t>Target Operating Model</a:t>
          </a:r>
        </a:p>
      </dgm:t>
    </dgm:pt>
    <dgm:pt modelId="{537DA0FA-031B-4286-89D4-DC1BA505436E}" type="parTrans" cxnId="{914A17AB-3AE1-4DB0-A7AC-BF33DCD9E25E}">
      <dgm:prSet/>
      <dgm:spPr/>
      <dgm:t>
        <a:bodyPr/>
        <a:lstStyle/>
        <a:p>
          <a:endParaRPr lang="en-US" sz="1300">
            <a:latin typeface="+mn-lt"/>
          </a:endParaRPr>
        </a:p>
      </dgm:t>
    </dgm:pt>
    <dgm:pt modelId="{FCCB2953-3E48-4D6A-84D8-CCE21D6532AC}" type="sibTrans" cxnId="{914A17AB-3AE1-4DB0-A7AC-BF33DCD9E25E}">
      <dgm:prSet/>
      <dgm:spPr/>
      <dgm:t>
        <a:bodyPr/>
        <a:lstStyle/>
        <a:p>
          <a:endParaRPr lang="en-US" sz="1300">
            <a:latin typeface="+mn-lt"/>
          </a:endParaRPr>
        </a:p>
      </dgm:t>
    </dgm:pt>
    <dgm:pt modelId="{1FC4C10B-1C4F-4906-BAFB-084ADAD21587}">
      <dgm:prSet phldrT="[Text]" custT="1"/>
      <dgm:spPr>
        <a:solidFill>
          <a:schemeClr val="accent2"/>
        </a:solidFill>
        <a:ln w="12700" cap="flat" cmpd="sng" algn="ctr">
          <a:solidFill>
            <a:schemeClr val="bg1"/>
          </a:solidFill>
          <a:prstDash val="solid"/>
          <a:miter lim="800000"/>
        </a:ln>
        <a:effectLst/>
      </dgm:spPr>
      <dgm:t>
        <a:bodyPr spcFirstLastPara="0" vert="horz" wrap="square" lIns="24003" tIns="16002" rIns="8001" bIns="16002" numCol="1" spcCol="1270" anchor="ctr" anchorCtr="0"/>
        <a:lstStyle/>
        <a:p>
          <a:pPr>
            <a:buNone/>
          </a:pPr>
          <a:r>
            <a:rPr lang="en-US" sz="1300" b="1">
              <a:solidFill>
                <a:schemeClr val="tx2"/>
              </a:solidFill>
              <a:latin typeface="EYInterstate Light" panose="02000506000000020004" pitchFamily="2" charset="0"/>
              <a:ea typeface="+mn-ea"/>
              <a:cs typeface="+mn-cs"/>
            </a:rPr>
            <a:t>IT Strategic Roadmap</a:t>
          </a:r>
        </a:p>
      </dgm:t>
    </dgm:pt>
    <dgm:pt modelId="{B0A333C1-4398-45E4-9C81-1DAA5D4560D2}" type="parTrans" cxnId="{36B23F4D-DA24-4DEB-B355-EAFF7BC49EA6}">
      <dgm:prSet/>
      <dgm:spPr/>
      <dgm:t>
        <a:bodyPr/>
        <a:lstStyle/>
        <a:p>
          <a:endParaRPr lang="en-US" sz="1300">
            <a:latin typeface="+mn-lt"/>
          </a:endParaRPr>
        </a:p>
      </dgm:t>
    </dgm:pt>
    <dgm:pt modelId="{AC73896D-CB7A-47FE-B394-87F86018D3BE}" type="sibTrans" cxnId="{36B23F4D-DA24-4DEB-B355-EAFF7BC49EA6}">
      <dgm:prSet/>
      <dgm:spPr/>
      <dgm:t>
        <a:bodyPr/>
        <a:lstStyle/>
        <a:p>
          <a:endParaRPr lang="en-US" sz="1300">
            <a:latin typeface="+mn-lt"/>
          </a:endParaRPr>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custLinFactNeighborX="8326">
        <dgm:presLayoutVars>
          <dgm:bulletEnabled val="1"/>
        </dgm:presLayoutVars>
      </dgm:prSet>
      <dgm:spPr>
        <a:xfrm>
          <a:off x="439" y="0"/>
          <a:ext cx="856738" cy="273345"/>
        </a:xfrm>
        <a:prstGeom prst="homePlate">
          <a:avLst/>
        </a:prstGeom>
      </dgm:spPr>
    </dgm:pt>
    <dgm:pt modelId="{85315A3C-5F09-4245-9EB1-290F3B65E71D}" type="pres">
      <dgm:prSet presAssocID="{6D5E303A-7892-43F5-A39F-D1D8869A926B}" presName="parSpace" presStyleCnt="0"/>
      <dgm:spPr/>
    </dgm:pt>
    <dgm:pt modelId="{6BB51E7D-5D16-406B-81AA-25146C1CF430}" type="pres">
      <dgm:prSet presAssocID="{E50ABF5C-81DE-43EE-A18E-428D2F4F5AB5}" presName="parTxOnly" presStyleLbl="node1" presStyleIdx="1" presStyleCnt="5" custLinFactNeighborX="8582">
        <dgm:presLayoutVars>
          <dgm:bulletEnabled val="1"/>
        </dgm:presLayoutVars>
      </dgm:prSet>
      <dgm:spPr/>
    </dgm:pt>
    <dgm:pt modelId="{6E3FF1A1-C8DA-4148-8E83-25DD3867CBC9}" type="pres">
      <dgm:prSet presAssocID="{DD3D89F6-E74A-4970-928A-C31969496C00}" presName="parSpace" presStyleCnt="0"/>
      <dgm:spPr/>
    </dgm:pt>
    <dgm:pt modelId="{0D2B3D1C-7288-49AF-9B70-755B70F42238}" type="pres">
      <dgm:prSet presAssocID="{88221659-8D96-4C02-9441-07CC22D455F0}" presName="parTxOnly" presStyleLbl="node1" presStyleIdx="2" presStyleCnt="5" custLinFactNeighborX="8582">
        <dgm:presLayoutVars>
          <dgm:bulletEnabled val="1"/>
        </dgm:presLayoutVars>
      </dgm:prSet>
      <dgm:spPr/>
    </dgm:pt>
    <dgm:pt modelId="{8513EDF4-B858-47A6-B132-5319E346D15F}" type="pres">
      <dgm:prSet presAssocID="{738CF2EE-377A-4FCB-BF78-3FDCAAEB831B}" presName="parSpace" presStyleCnt="0"/>
      <dgm:spPr/>
    </dgm:pt>
    <dgm:pt modelId="{C0648608-EBCA-4737-A26D-0194CA04C8F4}" type="pres">
      <dgm:prSet presAssocID="{1A0C32E0-C57A-4BF5-BAAC-74484E0711DF}" presName="parTxOnly" presStyleLbl="node1" presStyleIdx="3" presStyleCnt="5" custLinFactNeighborX="8582">
        <dgm:presLayoutVars>
          <dgm:bulletEnabled val="1"/>
        </dgm:presLayoutVars>
      </dgm:prSet>
      <dgm:spPr/>
    </dgm:pt>
    <dgm:pt modelId="{84B4293C-F8E5-42DA-9095-EE63BCFA2B94}" type="pres">
      <dgm:prSet presAssocID="{FCCB2953-3E48-4D6A-84D8-CCE21D6532AC}" presName="parSpace" presStyleCnt="0"/>
      <dgm:spPr/>
    </dgm:pt>
    <dgm:pt modelId="{606D5D85-4023-4CEF-84A0-143611DDB027}" type="pres">
      <dgm:prSet presAssocID="{1FC4C10B-1C4F-4906-BAFB-084ADAD21587}" presName="parTxOnly" presStyleLbl="node1" presStyleIdx="4" presStyleCnt="5" custLinFactNeighborX="8582">
        <dgm:presLayoutVars>
          <dgm:bulletEnabled val="1"/>
        </dgm:presLayoutVars>
      </dgm:prSet>
      <dgm:spPr/>
    </dgm:pt>
  </dgm:ptLst>
  <dgm:cxnLst>
    <dgm:cxn modelId="{A3378C3F-D901-4A6D-A718-86F299C69DE1}" type="presOf" srcId="{88221659-8D96-4C02-9441-07CC22D455F0}" destId="{0D2B3D1C-7288-49AF-9B70-755B70F42238}" srcOrd="0" destOrd="0" presId="urn:microsoft.com/office/officeart/2005/8/layout/hChevron3"/>
    <dgm:cxn modelId="{0250065D-8E12-4A93-B82D-1058243FEEC7}" srcId="{6656E1C4-BE68-41DF-90AD-C4D6430C221E}" destId="{E50ABF5C-81DE-43EE-A18E-428D2F4F5AB5}" srcOrd="1" destOrd="0" parTransId="{6FA08A0E-C83D-49D8-AB4B-6983CB0E9C27}" sibTransId="{DD3D89F6-E74A-4970-928A-C31969496C00}"/>
    <dgm:cxn modelId="{B38FBD47-E3C1-4584-B555-8EF512280E0A}" srcId="{6656E1C4-BE68-41DF-90AD-C4D6430C221E}" destId="{800EE8D8-A9A1-4862-9F1C-0110A712C3D3}" srcOrd="0" destOrd="0" parTransId="{8E3B3157-8DBC-4FED-87D2-FCB0767BFF6D}" sibTransId="{6D5E303A-7892-43F5-A39F-D1D8869A926B}"/>
    <dgm:cxn modelId="{CF9B1F4D-6553-452C-81CA-76C85EBC3E2C}" type="presOf" srcId="{1A0C32E0-C57A-4BF5-BAAC-74484E0711DF}" destId="{C0648608-EBCA-4737-A26D-0194CA04C8F4}" srcOrd="0" destOrd="0" presId="urn:microsoft.com/office/officeart/2005/8/layout/hChevron3"/>
    <dgm:cxn modelId="{36B23F4D-DA24-4DEB-B355-EAFF7BC49EA6}" srcId="{6656E1C4-BE68-41DF-90AD-C4D6430C221E}" destId="{1FC4C10B-1C4F-4906-BAFB-084ADAD21587}" srcOrd="4" destOrd="0" parTransId="{B0A333C1-4398-45E4-9C81-1DAA5D4560D2}" sibTransId="{AC73896D-CB7A-47FE-B394-87F86018D3BE}"/>
    <dgm:cxn modelId="{AD323487-D6B5-486B-B3A0-13E64C9DFDF1}" type="presOf" srcId="{800EE8D8-A9A1-4862-9F1C-0110A712C3D3}" destId="{9EA7ACE5-1326-4A75-A244-CAF86395FE2E}" srcOrd="0" destOrd="0" presId="urn:microsoft.com/office/officeart/2005/8/layout/hChevron3"/>
    <dgm:cxn modelId="{3B894089-1B8F-44E8-926D-41A10104924B}" type="presOf" srcId="{E50ABF5C-81DE-43EE-A18E-428D2F4F5AB5}" destId="{6BB51E7D-5D16-406B-81AA-25146C1CF430}" srcOrd="0" destOrd="0" presId="urn:microsoft.com/office/officeart/2005/8/layout/hChevron3"/>
    <dgm:cxn modelId="{BA1C0D9E-0E0F-4DB2-BC7C-A910A17193E1}" srcId="{6656E1C4-BE68-41DF-90AD-C4D6430C221E}" destId="{88221659-8D96-4C02-9441-07CC22D455F0}" srcOrd="2" destOrd="0" parTransId="{7A4F699F-4368-44E1-8BE3-C8F8BC3A271B}" sibTransId="{738CF2EE-377A-4FCB-BF78-3FDCAAEB831B}"/>
    <dgm:cxn modelId="{B31924A0-C4EA-4050-9BD3-4145938D5501}" type="presOf" srcId="{1FC4C10B-1C4F-4906-BAFB-084ADAD21587}" destId="{606D5D85-4023-4CEF-84A0-143611DDB027}" srcOrd="0" destOrd="0" presId="urn:microsoft.com/office/officeart/2005/8/layout/hChevron3"/>
    <dgm:cxn modelId="{914A17AB-3AE1-4DB0-A7AC-BF33DCD9E25E}" srcId="{6656E1C4-BE68-41DF-90AD-C4D6430C221E}" destId="{1A0C32E0-C57A-4BF5-BAAC-74484E0711DF}" srcOrd="3" destOrd="0" parTransId="{537DA0FA-031B-4286-89D4-DC1BA505436E}" sibTransId="{FCCB2953-3E48-4D6A-84D8-CCE21D6532AC}"/>
    <dgm:cxn modelId="{C5972AED-2FB4-431C-8897-495A2F9D9813}" type="presOf" srcId="{6656E1C4-BE68-41DF-90AD-C4D6430C221E}" destId="{B00278D6-6D01-40ED-9662-22AEA09096D1}"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49F57861-A5D8-4F79-8F6A-63FE1C7A3C84}" type="presParOf" srcId="{B00278D6-6D01-40ED-9662-22AEA09096D1}" destId="{85315A3C-5F09-4245-9EB1-290F3B65E71D}" srcOrd="1" destOrd="0" presId="urn:microsoft.com/office/officeart/2005/8/layout/hChevron3"/>
    <dgm:cxn modelId="{F8A9306B-669B-4255-9250-88F5AB945FD5}" type="presParOf" srcId="{B00278D6-6D01-40ED-9662-22AEA09096D1}" destId="{6BB51E7D-5D16-406B-81AA-25146C1CF430}" srcOrd="2" destOrd="0" presId="urn:microsoft.com/office/officeart/2005/8/layout/hChevron3"/>
    <dgm:cxn modelId="{451E240D-FF69-4B43-891C-33FB6651C93A}" type="presParOf" srcId="{B00278D6-6D01-40ED-9662-22AEA09096D1}" destId="{6E3FF1A1-C8DA-4148-8E83-25DD3867CBC9}" srcOrd="3" destOrd="0" presId="urn:microsoft.com/office/officeart/2005/8/layout/hChevron3"/>
    <dgm:cxn modelId="{5BEF0674-FD93-452B-96D4-649B4D55F0EC}" type="presParOf" srcId="{B00278D6-6D01-40ED-9662-22AEA09096D1}" destId="{0D2B3D1C-7288-49AF-9B70-755B70F42238}" srcOrd="4" destOrd="0" presId="urn:microsoft.com/office/officeart/2005/8/layout/hChevron3"/>
    <dgm:cxn modelId="{E10598A5-AE67-4584-837E-55378DA38460}" type="presParOf" srcId="{B00278D6-6D01-40ED-9662-22AEA09096D1}" destId="{8513EDF4-B858-47A6-B132-5319E346D15F}" srcOrd="5" destOrd="0" presId="urn:microsoft.com/office/officeart/2005/8/layout/hChevron3"/>
    <dgm:cxn modelId="{134B24F6-19AE-4DDB-A5E7-5D38F0A3FB07}" type="presParOf" srcId="{B00278D6-6D01-40ED-9662-22AEA09096D1}" destId="{C0648608-EBCA-4737-A26D-0194CA04C8F4}" srcOrd="6" destOrd="0" presId="urn:microsoft.com/office/officeart/2005/8/layout/hChevron3"/>
    <dgm:cxn modelId="{0FD7DD2B-297F-4841-8CBF-09F711E57FA3}" type="presParOf" srcId="{B00278D6-6D01-40ED-9662-22AEA09096D1}" destId="{84B4293C-F8E5-42DA-9095-EE63BCFA2B94}" srcOrd="7" destOrd="0" presId="urn:microsoft.com/office/officeart/2005/8/layout/hChevron3"/>
    <dgm:cxn modelId="{4A33643A-8E10-4005-B1D2-FF6A91422FAC}" type="presParOf" srcId="{B00278D6-6D01-40ED-9662-22AEA09096D1}" destId="{606D5D85-4023-4CEF-84A0-143611DDB027}" srcOrd="8"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Q1. General</a:t>
          </a:r>
        </a:p>
      </dgm:t>
    </dgm:pt>
    <dgm:pt modelId="{8E3B3157-8DBC-4FED-87D2-FCB0767BFF6D}" type="parTrans" cxnId="{B38FBD47-E3C1-4584-B555-8EF512280E0A}">
      <dgm:prSet/>
      <dgm:spPr/>
      <dgm:t>
        <a:bodyPr/>
        <a:lstStyle/>
        <a:p>
          <a:endParaRPr lang="en-US">
            <a:latin typeface="+mn-lt"/>
          </a:endParaRPr>
        </a:p>
      </dgm:t>
    </dgm:pt>
    <dgm:pt modelId="{6D5E303A-7892-43F5-A39F-D1D8869A926B}" type="sibTrans" cxnId="{B38FBD47-E3C1-4584-B555-8EF512280E0A}">
      <dgm:prSet/>
      <dgm:spPr/>
      <dgm:t>
        <a:bodyPr/>
        <a:lstStyle/>
        <a:p>
          <a:endParaRPr lang="en-US">
            <a:latin typeface="+mn-lt"/>
          </a:endParaRPr>
        </a:p>
      </dgm:t>
    </dgm:pt>
    <dgm:pt modelId="{82F33808-1A30-43F3-ADA7-88F15155A521}">
      <dgm:prSet phldrT="[Text]" custT="1"/>
      <dgm:spPr>
        <a:xfrm>
          <a:off x="5001021" y="2084652"/>
          <a:ext cx="3123406" cy="1249362"/>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600">
              <a:solidFill>
                <a:sysClr val="window" lastClr="FFFFFF"/>
              </a:solidFill>
              <a:latin typeface="+mn-lt"/>
              <a:ea typeface="+mn-ea"/>
              <a:cs typeface="+mn-cs"/>
            </a:rPr>
            <a:t>Q4. Assets, Tools &amp; Accelerators</a:t>
          </a:r>
        </a:p>
      </dgm:t>
    </dgm:pt>
    <dgm:pt modelId="{EE8B952B-957A-4FF7-8CC0-766F8B4F698F}" type="parTrans" cxnId="{28EAC51B-D291-470F-83AD-0EBFEC47B789}">
      <dgm:prSet/>
      <dgm:spPr/>
      <dgm:t>
        <a:bodyPr/>
        <a:lstStyle/>
        <a:p>
          <a:endParaRPr lang="en-US">
            <a:latin typeface="+mn-lt"/>
          </a:endParaRPr>
        </a:p>
      </dgm:t>
    </dgm:pt>
    <dgm:pt modelId="{1F07D0C1-9AF6-41D5-BDA9-794CCFAD5C27}" type="sibTrans" cxnId="{28EAC51B-D291-470F-83AD-0EBFEC47B789}">
      <dgm:prSet/>
      <dgm:spPr/>
      <dgm:t>
        <a:bodyPr/>
        <a:lstStyle/>
        <a:p>
          <a:endParaRPr lang="en-US">
            <a:latin typeface="+mn-lt"/>
          </a:endParaRPr>
        </a:p>
      </dgm:t>
    </dgm:pt>
    <dgm:pt modelId="{91ECB0DE-5ADB-45DC-9C54-CC3A7FF7A015}">
      <dgm:prSet phldrT="[Text]" custT="1"/>
      <dgm:spPr>
        <a:xfrm>
          <a:off x="5001021" y="2084652"/>
          <a:ext cx="3123406" cy="1249362"/>
        </a:xfrm>
        <a:solidFill>
          <a:schemeClr val="accent2">
            <a:lumMod val="100000"/>
          </a:schemeClr>
        </a:solidFill>
        <a:ln w="12700" cap="flat" cmpd="sng" algn="ctr">
          <a:solidFill>
            <a:sysClr val="window" lastClr="FFFFFF">
              <a:hueOff val="0"/>
              <a:satOff val="0"/>
              <a:lumOff val="0"/>
              <a:alphaOff val="0"/>
            </a:sysClr>
          </a:solidFill>
          <a:prstDash val="solid"/>
          <a:miter lim="800000"/>
        </a:ln>
        <a:effectLst/>
      </dgm:spPr>
      <dgm:t>
        <a:bodyPr/>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mn-lt"/>
              <a:ea typeface="+mn-ea"/>
              <a:cs typeface="+mn-cs"/>
            </a:rPr>
            <a:t>Q2. Team (Depth, Flexibility &amp; Skills</a:t>
          </a:r>
          <a:endParaRPr lang="en-US" sz="600" kern="1200">
            <a:solidFill>
              <a:schemeClr val="tx1">
                <a:lumMod val="100000"/>
              </a:schemeClr>
            </a:solidFill>
            <a:latin typeface="EYInterstate Light"/>
            <a:ea typeface="+mn-ea"/>
            <a:cs typeface="+mn-cs"/>
          </a:endParaRPr>
        </a:p>
      </dgm:t>
    </dgm:pt>
    <dgm:pt modelId="{44C9CF60-B70E-47A9-9F84-490BE7637D0B}" type="parTrans" cxnId="{E4AA1674-9D5B-496D-9885-5055A9D3F4F7}">
      <dgm:prSet/>
      <dgm:spPr/>
      <dgm:t>
        <a:bodyPr/>
        <a:lstStyle/>
        <a:p>
          <a:endParaRPr lang="en-US"/>
        </a:p>
      </dgm:t>
    </dgm:pt>
    <dgm:pt modelId="{04B8FBB7-1D70-438E-9D79-A7748E1EF1DC}" type="sibTrans" cxnId="{E4AA1674-9D5B-496D-9885-5055A9D3F4F7}">
      <dgm:prSet/>
      <dgm:spPr/>
      <dgm:t>
        <a:bodyPr/>
        <a:lstStyle/>
        <a:p>
          <a:endParaRPr lang="en-US"/>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3">
        <dgm:presLayoutVars>
          <dgm:bulletEnabled val="1"/>
        </dgm:presLayoutVars>
      </dgm:prSet>
      <dgm:spPr>
        <a:xfrm>
          <a:off x="439" y="0"/>
          <a:ext cx="856738" cy="273345"/>
        </a:xfrm>
        <a:prstGeom prst="homePlate">
          <a:avLst/>
        </a:prstGeom>
      </dgm:spPr>
    </dgm:pt>
    <dgm:pt modelId="{A37B3827-2C1C-4E4A-95BF-31302553E8E9}" type="pres">
      <dgm:prSet presAssocID="{6D5E303A-7892-43F5-A39F-D1D8869A926B}" presName="parSpace" presStyleCnt="0"/>
      <dgm:spPr/>
    </dgm:pt>
    <dgm:pt modelId="{76212330-C1FC-401E-89CF-68665DE345E5}" type="pres">
      <dgm:prSet presAssocID="{91ECB0DE-5ADB-45DC-9C54-CC3A7FF7A015}" presName="parTxOnly" presStyleLbl="node1" presStyleIdx="1" presStyleCnt="3">
        <dgm:presLayoutVars>
          <dgm:bulletEnabled val="1"/>
        </dgm:presLayoutVars>
      </dgm:prSet>
      <dgm:spPr/>
    </dgm:pt>
    <dgm:pt modelId="{F8D3F44A-76EB-4466-945C-D10F688F3BD6}" type="pres">
      <dgm:prSet presAssocID="{04B8FBB7-1D70-438E-9D79-A7748E1EF1DC}" presName="parSpace" presStyleCnt="0"/>
      <dgm:spPr/>
    </dgm:pt>
    <dgm:pt modelId="{49DC1B39-843B-4442-BC2B-F1D746694542}" type="pres">
      <dgm:prSet presAssocID="{82F33808-1A30-43F3-ADA7-88F15155A521}" presName="parTxOnly" presStyleLbl="node1" presStyleIdx="2" presStyleCnt="3">
        <dgm:presLayoutVars>
          <dgm:bulletEnabled val="1"/>
        </dgm:presLayoutVars>
      </dgm:prSet>
      <dgm:spPr/>
    </dgm:pt>
  </dgm:ptLst>
  <dgm:cxnLst>
    <dgm:cxn modelId="{28EAC51B-D291-470F-83AD-0EBFEC47B789}" srcId="{6656E1C4-BE68-41DF-90AD-C4D6430C221E}" destId="{82F33808-1A30-43F3-ADA7-88F15155A521}" srcOrd="2" destOrd="0" parTransId="{EE8B952B-957A-4FF7-8CC0-766F8B4F698F}" sibTransId="{1F07D0C1-9AF6-41D5-BDA9-794CCFAD5C27}"/>
    <dgm:cxn modelId="{B38FBD47-E3C1-4584-B555-8EF512280E0A}" srcId="{6656E1C4-BE68-41DF-90AD-C4D6430C221E}" destId="{800EE8D8-A9A1-4862-9F1C-0110A712C3D3}" srcOrd="0" destOrd="0" parTransId="{8E3B3157-8DBC-4FED-87D2-FCB0767BFF6D}" sibTransId="{6D5E303A-7892-43F5-A39F-D1D8869A926B}"/>
    <dgm:cxn modelId="{E4AA1674-9D5B-496D-9885-5055A9D3F4F7}" srcId="{6656E1C4-BE68-41DF-90AD-C4D6430C221E}" destId="{91ECB0DE-5ADB-45DC-9C54-CC3A7FF7A015}" srcOrd="1" destOrd="0" parTransId="{44C9CF60-B70E-47A9-9F84-490BE7637D0B}" sibTransId="{04B8FBB7-1D70-438E-9D79-A7748E1EF1DC}"/>
    <dgm:cxn modelId="{AD323487-D6B5-486B-B3A0-13E64C9DFDF1}" type="presOf" srcId="{800EE8D8-A9A1-4862-9F1C-0110A712C3D3}" destId="{9EA7ACE5-1326-4A75-A244-CAF86395FE2E}" srcOrd="0" destOrd="0" presId="urn:microsoft.com/office/officeart/2005/8/layout/hChevron3"/>
    <dgm:cxn modelId="{1C69CDCA-B132-4FA7-91BD-E7E73FD85ADF}" type="presOf" srcId="{91ECB0DE-5ADB-45DC-9C54-CC3A7FF7A015}" destId="{76212330-C1FC-401E-89CF-68665DE345E5}" srcOrd="0" destOrd="0" presId="urn:microsoft.com/office/officeart/2005/8/layout/hChevron3"/>
    <dgm:cxn modelId="{C5972AED-2FB4-431C-8897-495A2F9D9813}" type="presOf" srcId="{6656E1C4-BE68-41DF-90AD-C4D6430C221E}" destId="{B00278D6-6D01-40ED-9662-22AEA09096D1}" srcOrd="0" destOrd="0" presId="urn:microsoft.com/office/officeart/2005/8/layout/hChevron3"/>
    <dgm:cxn modelId="{43064BFE-33F1-42FB-AB5C-443102AB7858}" type="presOf" srcId="{82F33808-1A30-43F3-ADA7-88F15155A521}" destId="{49DC1B39-843B-4442-BC2B-F1D746694542}"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FB81F8B6-9BFD-462A-B6BC-2BD5DE7C37FD}" type="presParOf" srcId="{B00278D6-6D01-40ED-9662-22AEA09096D1}" destId="{A37B3827-2C1C-4E4A-95BF-31302553E8E9}" srcOrd="1" destOrd="0" presId="urn:microsoft.com/office/officeart/2005/8/layout/hChevron3"/>
    <dgm:cxn modelId="{9405182F-7231-4BF2-9AC0-86CF07DABB9B}" type="presParOf" srcId="{B00278D6-6D01-40ED-9662-22AEA09096D1}" destId="{76212330-C1FC-401E-89CF-68665DE345E5}" srcOrd="2" destOrd="0" presId="urn:microsoft.com/office/officeart/2005/8/layout/hChevron3"/>
    <dgm:cxn modelId="{1797C5A2-7223-4F55-AF93-2F4C119BFD0C}" type="presParOf" srcId="{B00278D6-6D01-40ED-9662-22AEA09096D1}" destId="{F8D3F44A-76EB-4466-945C-D10F688F3BD6}" srcOrd="3" destOrd="0" presId="urn:microsoft.com/office/officeart/2005/8/layout/hChevron3"/>
    <dgm:cxn modelId="{35CC5DFC-E60F-4B68-AC0E-3B6CB3AEC912}" type="presParOf" srcId="{B00278D6-6D01-40ED-9662-22AEA09096D1}" destId="{49DC1B39-843B-4442-BC2B-F1D746694542}" srcOrd="4"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General Section</a:t>
          </a:r>
        </a:p>
      </dgm:t>
    </dgm:pt>
    <dgm:pt modelId="{8E3B3157-8DBC-4FED-87D2-FCB0767BFF6D}" type="parTrans" cxnId="{B38FBD47-E3C1-4584-B555-8EF512280E0A}">
      <dgm:prSet/>
      <dgm:spPr/>
      <dgm:t>
        <a:bodyPr/>
        <a:lstStyle/>
        <a:p>
          <a:endParaRPr lang="en-US">
            <a:latin typeface="+mn-lt"/>
          </a:endParaRPr>
        </a:p>
      </dgm:t>
    </dgm:pt>
    <dgm:pt modelId="{6D5E303A-7892-43F5-A39F-D1D8869A926B}" type="sibTrans" cxnId="{B38FBD47-E3C1-4584-B555-8EF512280E0A}">
      <dgm:prSet/>
      <dgm:spPr/>
      <dgm:t>
        <a:bodyPr/>
        <a:lstStyle/>
        <a:p>
          <a:endParaRPr lang="en-US">
            <a:latin typeface="+mn-lt"/>
          </a:endParaRPr>
        </a:p>
      </dgm:t>
    </dgm:pt>
    <dgm:pt modelId="{D7375FAC-73A2-4C9B-942C-7EFD1098DD92}">
      <dgm:prSet phldrT="[Text]" custT="1"/>
      <dgm:spPr>
        <a:solidFill>
          <a:schemeClr val="accent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Experience &amp; Credentials</a:t>
          </a:r>
        </a:p>
      </dgm:t>
    </dgm:pt>
    <dgm:pt modelId="{2082F071-0F56-457E-837A-618DF771E2F0}" type="parTrans" cxnId="{9D7CB5DE-1CDA-4525-8144-51F72EFE5CDC}">
      <dgm:prSet/>
      <dgm:spPr/>
      <dgm:t>
        <a:bodyPr/>
        <a:lstStyle/>
        <a:p>
          <a:endParaRPr lang="en-US">
            <a:latin typeface="+mn-lt"/>
          </a:endParaRPr>
        </a:p>
      </dgm:t>
    </dgm:pt>
    <dgm:pt modelId="{F28C1199-DE0F-4DB5-9E63-CD38CACBFB97}" type="sibTrans" cxnId="{9D7CB5DE-1CDA-4525-8144-51F72EFE5CDC}">
      <dgm:prSet/>
      <dgm:spPr/>
      <dgm:t>
        <a:bodyPr/>
        <a:lstStyle/>
        <a:p>
          <a:endParaRPr lang="en-US">
            <a:latin typeface="+mn-lt"/>
          </a:endParaRPr>
        </a:p>
      </dgm:t>
    </dgm:pt>
    <dgm:pt modelId="{82F33808-1A30-43F3-ADA7-88F15155A521}">
      <dgm:prSet phldrT="[Text]" custT="1"/>
      <dgm:spPr>
        <a:xfrm>
          <a:off x="5001021" y="2084652"/>
          <a:ext cx="3123406" cy="1249362"/>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600">
              <a:solidFill>
                <a:sysClr val="window" lastClr="FFFFFF"/>
              </a:solidFill>
              <a:latin typeface="+mn-lt"/>
              <a:ea typeface="+mn-ea"/>
              <a:cs typeface="+mn-cs"/>
            </a:rPr>
            <a:t>Assets, Tools &amp; Accelerators</a:t>
          </a:r>
        </a:p>
      </dgm:t>
    </dgm:pt>
    <dgm:pt modelId="{EE8B952B-957A-4FF7-8CC0-766F8B4F698F}" type="parTrans" cxnId="{28EAC51B-D291-470F-83AD-0EBFEC47B789}">
      <dgm:prSet/>
      <dgm:spPr/>
      <dgm:t>
        <a:bodyPr/>
        <a:lstStyle/>
        <a:p>
          <a:endParaRPr lang="en-US">
            <a:latin typeface="+mn-lt"/>
          </a:endParaRPr>
        </a:p>
      </dgm:t>
    </dgm:pt>
    <dgm:pt modelId="{1F07D0C1-9AF6-41D5-BDA9-794CCFAD5C27}" type="sibTrans" cxnId="{28EAC51B-D291-470F-83AD-0EBFEC47B789}">
      <dgm:prSet/>
      <dgm:spPr/>
      <dgm:t>
        <a:bodyPr/>
        <a:lstStyle/>
        <a:p>
          <a:endParaRPr lang="en-US">
            <a:latin typeface="+mn-lt"/>
          </a:endParaRPr>
        </a:p>
      </dgm:t>
    </dgm:pt>
    <dgm:pt modelId="{91ECB0DE-5ADB-45DC-9C54-CC3A7FF7A015}">
      <dgm:prSet phldrT="[Text]" custT="1"/>
      <dgm:spPr>
        <a:xfrm>
          <a:off x="5001021" y="2084652"/>
          <a:ext cx="3123406" cy="1249362"/>
        </a:xfrm>
        <a:solidFill>
          <a:schemeClr val="bg1"/>
        </a:solidFill>
        <a:ln w="12700" cap="flat" cmpd="sng" algn="ctr">
          <a:solidFill>
            <a:sysClr val="window" lastClr="FFFFFF">
              <a:hueOff val="0"/>
              <a:satOff val="0"/>
              <a:lumOff val="0"/>
              <a:alphaOff val="0"/>
            </a:sysClr>
          </a:solidFill>
          <a:prstDash val="solid"/>
          <a:miter lim="800000"/>
        </a:ln>
        <a:effectLst/>
      </dgm:spPr>
      <dgm: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Team (Depth, Flexibility &amp; Skills</a:t>
          </a:r>
          <a:endParaRPr lang="en-US" sz="600" kern="1200">
            <a:solidFill>
              <a:sysClr val="window" lastClr="FFFFFF"/>
            </a:solidFill>
            <a:latin typeface="EYInterstate Light"/>
            <a:ea typeface="+mn-ea"/>
            <a:cs typeface="+mn-cs"/>
          </a:endParaRPr>
        </a:p>
      </dgm:t>
    </dgm:pt>
    <dgm:pt modelId="{44C9CF60-B70E-47A9-9F84-490BE7637D0B}" type="parTrans" cxnId="{E4AA1674-9D5B-496D-9885-5055A9D3F4F7}">
      <dgm:prSet/>
      <dgm:spPr/>
      <dgm:t>
        <a:bodyPr/>
        <a:lstStyle/>
        <a:p>
          <a:endParaRPr lang="en-US"/>
        </a:p>
      </dgm:t>
    </dgm:pt>
    <dgm:pt modelId="{04B8FBB7-1D70-438E-9D79-A7748E1EF1DC}" type="sibTrans" cxnId="{E4AA1674-9D5B-496D-9885-5055A9D3F4F7}">
      <dgm:prSet/>
      <dgm:spPr/>
      <dgm:t>
        <a:bodyPr/>
        <a:lstStyle/>
        <a:p>
          <a:endParaRPr lang="en-US"/>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4">
        <dgm:presLayoutVars>
          <dgm:bulletEnabled val="1"/>
        </dgm:presLayoutVars>
      </dgm:prSet>
      <dgm:spPr>
        <a:xfrm>
          <a:off x="439" y="0"/>
          <a:ext cx="856738" cy="273345"/>
        </a:xfrm>
        <a:prstGeom prst="homePlate">
          <a:avLst/>
        </a:prstGeom>
      </dgm:spPr>
    </dgm:pt>
    <dgm:pt modelId="{A37B3827-2C1C-4E4A-95BF-31302553E8E9}" type="pres">
      <dgm:prSet presAssocID="{6D5E303A-7892-43F5-A39F-D1D8869A926B}" presName="parSpace" presStyleCnt="0"/>
      <dgm:spPr/>
    </dgm:pt>
    <dgm:pt modelId="{76212330-C1FC-401E-89CF-68665DE345E5}" type="pres">
      <dgm:prSet presAssocID="{91ECB0DE-5ADB-45DC-9C54-CC3A7FF7A015}" presName="parTxOnly" presStyleLbl="node1" presStyleIdx="1" presStyleCnt="4">
        <dgm:presLayoutVars>
          <dgm:bulletEnabled val="1"/>
        </dgm:presLayoutVars>
      </dgm:prSet>
      <dgm:spPr/>
    </dgm:pt>
    <dgm:pt modelId="{F8D3F44A-76EB-4466-945C-D10F688F3BD6}" type="pres">
      <dgm:prSet presAssocID="{04B8FBB7-1D70-438E-9D79-A7748E1EF1DC}" presName="parSpace" presStyleCnt="0"/>
      <dgm:spPr/>
    </dgm:pt>
    <dgm:pt modelId="{460B59A4-A822-4FC6-99B2-11D29D516C5E}" type="pres">
      <dgm:prSet presAssocID="{D7375FAC-73A2-4C9B-942C-7EFD1098DD92}" presName="parTxOnly" presStyleLbl="node1" presStyleIdx="2" presStyleCnt="4">
        <dgm:presLayoutVars>
          <dgm:bulletEnabled val="1"/>
        </dgm:presLayoutVars>
      </dgm:prSet>
      <dgm:spPr>
        <a:xfrm>
          <a:off x="685830" y="0"/>
          <a:ext cx="856738" cy="273345"/>
        </a:xfrm>
        <a:prstGeom prst="chevron">
          <a:avLst/>
        </a:prstGeom>
      </dgm:spPr>
    </dgm:pt>
    <dgm:pt modelId="{01EB00EB-C197-4568-AAFB-B64BDB6807D3}" type="pres">
      <dgm:prSet presAssocID="{F28C1199-DE0F-4DB5-9E63-CD38CACBFB97}" presName="parSpace" presStyleCnt="0"/>
      <dgm:spPr/>
    </dgm:pt>
    <dgm:pt modelId="{49DC1B39-843B-4442-BC2B-F1D746694542}" type="pres">
      <dgm:prSet presAssocID="{82F33808-1A30-43F3-ADA7-88F15155A521}" presName="parTxOnly" presStyleLbl="node1" presStyleIdx="3" presStyleCnt="4">
        <dgm:presLayoutVars>
          <dgm:bulletEnabled val="1"/>
        </dgm:presLayoutVars>
      </dgm:prSet>
      <dgm:spPr/>
    </dgm:pt>
  </dgm:ptLst>
  <dgm:cxnLst>
    <dgm:cxn modelId="{28EAC51B-D291-470F-83AD-0EBFEC47B789}" srcId="{6656E1C4-BE68-41DF-90AD-C4D6430C221E}" destId="{82F33808-1A30-43F3-ADA7-88F15155A521}" srcOrd="3" destOrd="0" parTransId="{EE8B952B-957A-4FF7-8CC0-766F8B4F698F}" sibTransId="{1F07D0C1-9AF6-41D5-BDA9-794CCFAD5C27}"/>
    <dgm:cxn modelId="{B8D29136-665A-4FB8-A68C-D28633E6B2ED}" type="presOf" srcId="{D7375FAC-73A2-4C9B-942C-7EFD1098DD92}" destId="{460B59A4-A822-4FC6-99B2-11D29D516C5E}" srcOrd="0" destOrd="0" presId="urn:microsoft.com/office/officeart/2005/8/layout/hChevron3"/>
    <dgm:cxn modelId="{B38FBD47-E3C1-4584-B555-8EF512280E0A}" srcId="{6656E1C4-BE68-41DF-90AD-C4D6430C221E}" destId="{800EE8D8-A9A1-4862-9F1C-0110A712C3D3}" srcOrd="0" destOrd="0" parTransId="{8E3B3157-8DBC-4FED-87D2-FCB0767BFF6D}" sibTransId="{6D5E303A-7892-43F5-A39F-D1D8869A926B}"/>
    <dgm:cxn modelId="{E4AA1674-9D5B-496D-9885-5055A9D3F4F7}" srcId="{6656E1C4-BE68-41DF-90AD-C4D6430C221E}" destId="{91ECB0DE-5ADB-45DC-9C54-CC3A7FF7A015}" srcOrd="1" destOrd="0" parTransId="{44C9CF60-B70E-47A9-9F84-490BE7637D0B}" sibTransId="{04B8FBB7-1D70-438E-9D79-A7748E1EF1DC}"/>
    <dgm:cxn modelId="{AD323487-D6B5-486B-B3A0-13E64C9DFDF1}" type="presOf" srcId="{800EE8D8-A9A1-4862-9F1C-0110A712C3D3}" destId="{9EA7ACE5-1326-4A75-A244-CAF86395FE2E}" srcOrd="0" destOrd="0" presId="urn:microsoft.com/office/officeart/2005/8/layout/hChevron3"/>
    <dgm:cxn modelId="{1C69CDCA-B132-4FA7-91BD-E7E73FD85ADF}" type="presOf" srcId="{91ECB0DE-5ADB-45DC-9C54-CC3A7FF7A015}" destId="{76212330-C1FC-401E-89CF-68665DE345E5}" srcOrd="0" destOrd="0" presId="urn:microsoft.com/office/officeart/2005/8/layout/hChevron3"/>
    <dgm:cxn modelId="{9D7CB5DE-1CDA-4525-8144-51F72EFE5CDC}" srcId="{6656E1C4-BE68-41DF-90AD-C4D6430C221E}" destId="{D7375FAC-73A2-4C9B-942C-7EFD1098DD92}" srcOrd="2" destOrd="0" parTransId="{2082F071-0F56-457E-837A-618DF771E2F0}" sibTransId="{F28C1199-DE0F-4DB5-9E63-CD38CACBFB97}"/>
    <dgm:cxn modelId="{C5972AED-2FB4-431C-8897-495A2F9D9813}" type="presOf" srcId="{6656E1C4-BE68-41DF-90AD-C4D6430C221E}" destId="{B00278D6-6D01-40ED-9662-22AEA09096D1}" srcOrd="0" destOrd="0" presId="urn:microsoft.com/office/officeart/2005/8/layout/hChevron3"/>
    <dgm:cxn modelId="{43064BFE-33F1-42FB-AB5C-443102AB7858}" type="presOf" srcId="{82F33808-1A30-43F3-ADA7-88F15155A521}" destId="{49DC1B39-843B-4442-BC2B-F1D746694542}"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FB81F8B6-9BFD-462A-B6BC-2BD5DE7C37FD}" type="presParOf" srcId="{B00278D6-6D01-40ED-9662-22AEA09096D1}" destId="{A37B3827-2C1C-4E4A-95BF-31302553E8E9}" srcOrd="1" destOrd="0" presId="urn:microsoft.com/office/officeart/2005/8/layout/hChevron3"/>
    <dgm:cxn modelId="{9405182F-7231-4BF2-9AC0-86CF07DABB9B}" type="presParOf" srcId="{B00278D6-6D01-40ED-9662-22AEA09096D1}" destId="{76212330-C1FC-401E-89CF-68665DE345E5}" srcOrd="2" destOrd="0" presId="urn:microsoft.com/office/officeart/2005/8/layout/hChevron3"/>
    <dgm:cxn modelId="{1797C5A2-7223-4F55-AF93-2F4C119BFD0C}" type="presParOf" srcId="{B00278D6-6D01-40ED-9662-22AEA09096D1}" destId="{F8D3F44A-76EB-4466-945C-D10F688F3BD6}" srcOrd="3" destOrd="0" presId="urn:microsoft.com/office/officeart/2005/8/layout/hChevron3"/>
    <dgm:cxn modelId="{AD473710-B2C1-4ECA-BC3F-ED0CA02ACD71}" type="presParOf" srcId="{B00278D6-6D01-40ED-9662-22AEA09096D1}" destId="{460B59A4-A822-4FC6-99B2-11D29D516C5E}" srcOrd="4" destOrd="0" presId="urn:microsoft.com/office/officeart/2005/8/layout/hChevron3"/>
    <dgm:cxn modelId="{A99B4340-D5C3-4FBF-8214-9CA5886C149E}" type="presParOf" srcId="{B00278D6-6D01-40ED-9662-22AEA09096D1}" destId="{01EB00EB-C197-4568-AAFB-B64BDB6807D3}" srcOrd="5" destOrd="0" presId="urn:microsoft.com/office/officeart/2005/8/layout/hChevron3"/>
    <dgm:cxn modelId="{35CC5DFC-E60F-4B68-AC0E-3B6CB3AEC912}" type="presParOf" srcId="{B00278D6-6D01-40ED-9662-22AEA09096D1}" destId="{49DC1B39-843B-4442-BC2B-F1D746694542}" srcOrd="6"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bg2"/>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1. General</a:t>
          </a:r>
        </a:p>
      </dgm:t>
    </dgm:pt>
    <dgm:pt modelId="{8E3B3157-8DBC-4FED-87D2-FCB0767BFF6D}" type="parTrans" cxnId="{B38FBD47-E3C1-4584-B555-8EF512280E0A}">
      <dgm:prSet/>
      <dgm:spPr/>
      <dgm:t>
        <a:bodyPr/>
        <a:lstStyle/>
        <a:p>
          <a:endParaRPr lang="en-US">
            <a:latin typeface="+mn-lt"/>
          </a:endParaRPr>
        </a:p>
      </dgm:t>
    </dgm:pt>
    <dgm:pt modelId="{6D5E303A-7892-43F5-A39F-D1D8869A926B}" type="sibTrans" cxnId="{B38FBD47-E3C1-4584-B555-8EF512280E0A}">
      <dgm:prSet/>
      <dgm:spPr/>
      <dgm:t>
        <a:bodyPr/>
        <a:lstStyle/>
        <a:p>
          <a:endParaRPr lang="en-US">
            <a:latin typeface="+mn-lt"/>
          </a:endParaRPr>
        </a:p>
      </dgm:t>
    </dgm:pt>
    <dgm:pt modelId="{82F33808-1A30-43F3-ADA7-88F15155A521}">
      <dgm:prSet phldrT="[Text]" custT="1"/>
      <dgm:spPr>
        <a:xfrm>
          <a:off x="5001021" y="2084652"/>
          <a:ext cx="3123406" cy="1249362"/>
        </a:xfrm>
        <a:prstGeom prst="chevron">
          <a:avLst/>
        </a:prstGeom>
        <a:solidFill>
          <a:schemeClr val="accent2"/>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600">
              <a:solidFill>
                <a:schemeClr val="tx1"/>
              </a:solidFill>
              <a:latin typeface="+mn-lt"/>
              <a:ea typeface="+mn-ea"/>
              <a:cs typeface="+mn-cs"/>
            </a:rPr>
            <a:t>Q3. Assets, Tools &amp; Accelerators</a:t>
          </a:r>
        </a:p>
      </dgm:t>
    </dgm:pt>
    <dgm:pt modelId="{EE8B952B-957A-4FF7-8CC0-766F8B4F698F}" type="parTrans" cxnId="{28EAC51B-D291-470F-83AD-0EBFEC47B789}">
      <dgm:prSet/>
      <dgm:spPr/>
      <dgm:t>
        <a:bodyPr/>
        <a:lstStyle/>
        <a:p>
          <a:endParaRPr lang="en-US">
            <a:latin typeface="+mn-lt"/>
          </a:endParaRPr>
        </a:p>
      </dgm:t>
    </dgm:pt>
    <dgm:pt modelId="{1F07D0C1-9AF6-41D5-BDA9-794CCFAD5C27}" type="sibTrans" cxnId="{28EAC51B-D291-470F-83AD-0EBFEC47B789}">
      <dgm:prSet/>
      <dgm:spPr/>
      <dgm:t>
        <a:bodyPr/>
        <a:lstStyle/>
        <a:p>
          <a:endParaRPr lang="en-US">
            <a:latin typeface="+mn-lt"/>
          </a:endParaRPr>
        </a:p>
      </dgm:t>
    </dgm:pt>
    <dgm:pt modelId="{91ECB0DE-5ADB-45DC-9C54-CC3A7FF7A015}">
      <dgm:prSet phldrT="[Text]" custT="1"/>
      <dgm:spPr>
        <a:xfrm>
          <a:off x="5001021" y="2084652"/>
          <a:ext cx="3123406" cy="1249362"/>
        </a:xfrm>
        <a:solidFill>
          <a:schemeClr val="bg1"/>
        </a:solidFill>
        <a:ln w="12700" cap="flat" cmpd="sng" algn="ctr">
          <a:solidFill>
            <a:sysClr val="window" lastClr="FFFFFF">
              <a:hueOff val="0"/>
              <a:satOff val="0"/>
              <a:lumOff val="0"/>
              <a:alphaOff val="0"/>
            </a:sysClr>
          </a:solidFill>
          <a:prstDash val="solid"/>
          <a:miter lim="800000"/>
        </a:ln>
        <a:effectLst/>
      </dgm:spPr>
      <dgm: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Q2. Team (Depth, Flexibility &amp; Skills</a:t>
          </a:r>
          <a:endParaRPr lang="en-US" sz="600" kern="1200">
            <a:solidFill>
              <a:sysClr val="window" lastClr="FFFFFF"/>
            </a:solidFill>
            <a:latin typeface="EYInterstate Light"/>
            <a:ea typeface="+mn-ea"/>
            <a:cs typeface="+mn-cs"/>
          </a:endParaRPr>
        </a:p>
      </dgm:t>
    </dgm:pt>
    <dgm:pt modelId="{44C9CF60-B70E-47A9-9F84-490BE7637D0B}" type="parTrans" cxnId="{E4AA1674-9D5B-496D-9885-5055A9D3F4F7}">
      <dgm:prSet/>
      <dgm:spPr/>
      <dgm:t>
        <a:bodyPr/>
        <a:lstStyle/>
        <a:p>
          <a:endParaRPr lang="en-US"/>
        </a:p>
      </dgm:t>
    </dgm:pt>
    <dgm:pt modelId="{04B8FBB7-1D70-438E-9D79-A7748E1EF1DC}" type="sibTrans" cxnId="{E4AA1674-9D5B-496D-9885-5055A9D3F4F7}">
      <dgm:prSet/>
      <dgm:spPr/>
      <dgm:t>
        <a:bodyPr/>
        <a:lstStyle/>
        <a:p>
          <a:endParaRPr lang="en-US"/>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3">
        <dgm:presLayoutVars>
          <dgm:bulletEnabled val="1"/>
        </dgm:presLayoutVars>
      </dgm:prSet>
      <dgm:spPr>
        <a:xfrm>
          <a:off x="439" y="0"/>
          <a:ext cx="856738" cy="273345"/>
        </a:xfrm>
        <a:prstGeom prst="homePlate">
          <a:avLst/>
        </a:prstGeom>
      </dgm:spPr>
    </dgm:pt>
    <dgm:pt modelId="{A37B3827-2C1C-4E4A-95BF-31302553E8E9}" type="pres">
      <dgm:prSet presAssocID="{6D5E303A-7892-43F5-A39F-D1D8869A926B}" presName="parSpace" presStyleCnt="0"/>
      <dgm:spPr/>
    </dgm:pt>
    <dgm:pt modelId="{76212330-C1FC-401E-89CF-68665DE345E5}" type="pres">
      <dgm:prSet presAssocID="{91ECB0DE-5ADB-45DC-9C54-CC3A7FF7A015}" presName="parTxOnly" presStyleLbl="node1" presStyleIdx="1" presStyleCnt="3">
        <dgm:presLayoutVars>
          <dgm:bulletEnabled val="1"/>
        </dgm:presLayoutVars>
      </dgm:prSet>
      <dgm:spPr/>
    </dgm:pt>
    <dgm:pt modelId="{F8D3F44A-76EB-4466-945C-D10F688F3BD6}" type="pres">
      <dgm:prSet presAssocID="{04B8FBB7-1D70-438E-9D79-A7748E1EF1DC}" presName="parSpace" presStyleCnt="0"/>
      <dgm:spPr/>
    </dgm:pt>
    <dgm:pt modelId="{49DC1B39-843B-4442-BC2B-F1D746694542}" type="pres">
      <dgm:prSet presAssocID="{82F33808-1A30-43F3-ADA7-88F15155A521}" presName="parTxOnly" presStyleLbl="node1" presStyleIdx="2" presStyleCnt="3">
        <dgm:presLayoutVars>
          <dgm:bulletEnabled val="1"/>
        </dgm:presLayoutVars>
      </dgm:prSet>
      <dgm:spPr/>
    </dgm:pt>
  </dgm:ptLst>
  <dgm:cxnLst>
    <dgm:cxn modelId="{28EAC51B-D291-470F-83AD-0EBFEC47B789}" srcId="{6656E1C4-BE68-41DF-90AD-C4D6430C221E}" destId="{82F33808-1A30-43F3-ADA7-88F15155A521}" srcOrd="2" destOrd="0" parTransId="{EE8B952B-957A-4FF7-8CC0-766F8B4F698F}" sibTransId="{1F07D0C1-9AF6-41D5-BDA9-794CCFAD5C27}"/>
    <dgm:cxn modelId="{B38FBD47-E3C1-4584-B555-8EF512280E0A}" srcId="{6656E1C4-BE68-41DF-90AD-C4D6430C221E}" destId="{800EE8D8-A9A1-4862-9F1C-0110A712C3D3}" srcOrd="0" destOrd="0" parTransId="{8E3B3157-8DBC-4FED-87D2-FCB0767BFF6D}" sibTransId="{6D5E303A-7892-43F5-A39F-D1D8869A926B}"/>
    <dgm:cxn modelId="{E4AA1674-9D5B-496D-9885-5055A9D3F4F7}" srcId="{6656E1C4-BE68-41DF-90AD-C4D6430C221E}" destId="{91ECB0DE-5ADB-45DC-9C54-CC3A7FF7A015}" srcOrd="1" destOrd="0" parTransId="{44C9CF60-B70E-47A9-9F84-490BE7637D0B}" sibTransId="{04B8FBB7-1D70-438E-9D79-A7748E1EF1DC}"/>
    <dgm:cxn modelId="{AD323487-D6B5-486B-B3A0-13E64C9DFDF1}" type="presOf" srcId="{800EE8D8-A9A1-4862-9F1C-0110A712C3D3}" destId="{9EA7ACE5-1326-4A75-A244-CAF86395FE2E}" srcOrd="0" destOrd="0" presId="urn:microsoft.com/office/officeart/2005/8/layout/hChevron3"/>
    <dgm:cxn modelId="{1C69CDCA-B132-4FA7-91BD-E7E73FD85ADF}" type="presOf" srcId="{91ECB0DE-5ADB-45DC-9C54-CC3A7FF7A015}" destId="{76212330-C1FC-401E-89CF-68665DE345E5}" srcOrd="0" destOrd="0" presId="urn:microsoft.com/office/officeart/2005/8/layout/hChevron3"/>
    <dgm:cxn modelId="{C5972AED-2FB4-431C-8897-495A2F9D9813}" type="presOf" srcId="{6656E1C4-BE68-41DF-90AD-C4D6430C221E}" destId="{B00278D6-6D01-40ED-9662-22AEA09096D1}" srcOrd="0" destOrd="0" presId="urn:microsoft.com/office/officeart/2005/8/layout/hChevron3"/>
    <dgm:cxn modelId="{43064BFE-33F1-42FB-AB5C-443102AB7858}" type="presOf" srcId="{82F33808-1A30-43F3-ADA7-88F15155A521}" destId="{49DC1B39-843B-4442-BC2B-F1D746694542}"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FB81F8B6-9BFD-462A-B6BC-2BD5DE7C37FD}" type="presParOf" srcId="{B00278D6-6D01-40ED-9662-22AEA09096D1}" destId="{A37B3827-2C1C-4E4A-95BF-31302553E8E9}" srcOrd="1" destOrd="0" presId="urn:microsoft.com/office/officeart/2005/8/layout/hChevron3"/>
    <dgm:cxn modelId="{9405182F-7231-4BF2-9AC0-86CF07DABB9B}" type="presParOf" srcId="{B00278D6-6D01-40ED-9662-22AEA09096D1}" destId="{76212330-C1FC-401E-89CF-68665DE345E5}" srcOrd="2" destOrd="0" presId="urn:microsoft.com/office/officeart/2005/8/layout/hChevron3"/>
    <dgm:cxn modelId="{1797C5A2-7223-4F55-AF93-2F4C119BFD0C}" type="presParOf" srcId="{B00278D6-6D01-40ED-9662-22AEA09096D1}" destId="{F8D3F44A-76EB-4466-945C-D10F688F3BD6}" srcOrd="3" destOrd="0" presId="urn:microsoft.com/office/officeart/2005/8/layout/hChevron3"/>
    <dgm:cxn modelId="{35CC5DFC-E60F-4B68-AC0E-3B6CB3AEC912}" type="presParOf" srcId="{B00278D6-6D01-40ED-9662-22AEA09096D1}" destId="{49DC1B39-843B-4442-BC2B-F1D746694542}" srcOrd="4" destOrd="0" presId="urn:microsoft.com/office/officeart/2005/8/layout/hChevron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accent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Quality Management</a:t>
          </a:r>
        </a:p>
      </dgm:t>
    </dgm:pt>
    <dgm:pt modelId="{8E3B3157-8DBC-4FED-87D2-FCB0767BFF6D}" type="parTrans" cxnId="{B38FBD47-E3C1-4584-B555-8EF512280E0A}">
      <dgm:prSet/>
      <dgm:spPr/>
      <dgm:t>
        <a:bodyPr/>
        <a:lstStyle/>
        <a:p>
          <a:endParaRPr lang="en-US">
            <a:latin typeface="+mn-lt"/>
          </a:endParaRPr>
        </a:p>
      </dgm:t>
    </dgm:pt>
    <dgm:pt modelId="{6D5E303A-7892-43F5-A39F-D1D8869A926B}" type="sibTrans" cxnId="{B38FBD47-E3C1-4584-B555-8EF512280E0A}">
      <dgm:prSet/>
      <dgm:spPr/>
      <dgm:t>
        <a:bodyPr/>
        <a:lstStyle/>
        <a:p>
          <a:endParaRPr lang="en-US">
            <a:latin typeface="+mn-lt"/>
          </a:endParaRPr>
        </a:p>
      </dgm:t>
    </dgm:pt>
    <dgm:pt modelId="{D7375FAC-73A2-4C9B-942C-7EFD1098DD92}">
      <dgm:prSet phldrT="[Text]" custT="1"/>
      <dgm:spPr>
        <a:solidFill>
          <a:srgbClr val="808080"/>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ysClr val="window" lastClr="FFFFFF"/>
              </a:solidFill>
              <a:latin typeface="EYInterstate Light"/>
              <a:ea typeface="+mn-ea"/>
              <a:cs typeface="+mn-cs"/>
            </a:rPr>
            <a:t>Data Protection</a:t>
          </a:r>
        </a:p>
      </dgm:t>
    </dgm:pt>
    <dgm:pt modelId="{2082F071-0F56-457E-837A-618DF771E2F0}" type="parTrans" cxnId="{9D7CB5DE-1CDA-4525-8144-51F72EFE5CDC}">
      <dgm:prSet/>
      <dgm:spPr/>
      <dgm:t>
        <a:bodyPr/>
        <a:lstStyle/>
        <a:p>
          <a:endParaRPr lang="en-US">
            <a:latin typeface="+mn-lt"/>
          </a:endParaRPr>
        </a:p>
      </dgm:t>
    </dgm:pt>
    <dgm:pt modelId="{F28C1199-DE0F-4DB5-9E63-CD38CACBFB97}" type="sibTrans" cxnId="{9D7CB5DE-1CDA-4525-8144-51F72EFE5CDC}">
      <dgm:prSet/>
      <dgm:spPr/>
      <dgm:t>
        <a:bodyPr/>
        <a:lstStyle/>
        <a:p>
          <a:endParaRPr lang="en-US">
            <a:latin typeface="+mn-lt"/>
          </a:endParaRPr>
        </a:p>
      </dgm:t>
    </dgm:pt>
    <dgm:pt modelId="{82F33808-1A30-43F3-ADA7-88F15155A521}">
      <dgm:prSet phldrT="[Text]" custT="1"/>
      <dgm:spPr>
        <a:solidFill>
          <a:srgbClr val="808080">
            <a:lumMod val="100000"/>
          </a:srgb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Risk Management Details</a:t>
          </a:r>
        </a:p>
      </dgm:t>
    </dgm:pt>
    <dgm:pt modelId="{EE8B952B-957A-4FF7-8CC0-766F8B4F698F}" type="parTrans" cxnId="{28EAC51B-D291-470F-83AD-0EBFEC47B789}">
      <dgm:prSet/>
      <dgm:spPr/>
      <dgm:t>
        <a:bodyPr/>
        <a:lstStyle/>
        <a:p>
          <a:endParaRPr lang="en-US">
            <a:latin typeface="+mn-lt"/>
          </a:endParaRPr>
        </a:p>
      </dgm:t>
    </dgm:pt>
    <dgm:pt modelId="{1F07D0C1-9AF6-41D5-BDA9-794CCFAD5C27}" type="sibTrans" cxnId="{28EAC51B-D291-470F-83AD-0EBFEC47B789}">
      <dgm:prSet/>
      <dgm:spPr/>
      <dgm:t>
        <a:bodyPr/>
        <a:lstStyle/>
        <a:p>
          <a:endParaRPr lang="en-US">
            <a:latin typeface="+mn-lt"/>
          </a:endParaRPr>
        </a:p>
      </dgm:t>
    </dgm:pt>
    <dgm:pt modelId="{91ECB0DE-5ADB-45DC-9C54-CC3A7FF7A015}">
      <dgm:prSet phldrT="[Text]" custT="1"/>
      <dgm:spPr>
        <a:xfrm>
          <a:off x="5001021" y="2084652"/>
          <a:ext cx="3123406" cy="1249362"/>
        </a:xfrm>
        <a:solidFill>
          <a:schemeClr val="bg1"/>
        </a:solidFill>
        <a:ln w="12700" cap="flat" cmpd="sng" algn="ctr">
          <a:solidFill>
            <a:sysClr val="window" lastClr="FFFFFF">
              <a:hueOff val="0"/>
              <a:satOff val="0"/>
              <a:lumOff val="0"/>
              <a:alphaOff val="0"/>
            </a:sysClr>
          </a:solidFill>
          <a:prstDash val="solid"/>
          <a:miter lim="800000"/>
        </a:ln>
        <a:effectLst/>
      </dgm:spPr>
      <dgm: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Business Continuity &amp; Disaster Recovery</a:t>
          </a:r>
          <a:endParaRPr lang="en-US" sz="600" kern="1200">
            <a:solidFill>
              <a:sysClr val="window" lastClr="FFFFFF"/>
            </a:solidFill>
            <a:latin typeface="EYInterstate Light"/>
            <a:ea typeface="+mn-ea"/>
            <a:cs typeface="+mn-cs"/>
          </a:endParaRPr>
        </a:p>
      </dgm:t>
    </dgm:pt>
    <dgm:pt modelId="{44C9CF60-B70E-47A9-9F84-490BE7637D0B}" type="parTrans" cxnId="{E4AA1674-9D5B-496D-9885-5055A9D3F4F7}">
      <dgm:prSet/>
      <dgm:spPr/>
      <dgm:t>
        <a:bodyPr/>
        <a:lstStyle/>
        <a:p>
          <a:endParaRPr lang="en-US"/>
        </a:p>
      </dgm:t>
    </dgm:pt>
    <dgm:pt modelId="{04B8FBB7-1D70-438E-9D79-A7748E1EF1DC}" type="sibTrans" cxnId="{E4AA1674-9D5B-496D-9885-5055A9D3F4F7}">
      <dgm:prSet/>
      <dgm:spPr/>
      <dgm:t>
        <a:bodyPr/>
        <a:lstStyle/>
        <a:p>
          <a:endParaRPr lang="en-US"/>
        </a:p>
      </dgm:t>
    </dgm:pt>
    <dgm:pt modelId="{52AA1C8C-1594-4DC3-939A-057C47B6BB39}">
      <dgm:prSet phldrT="[Text]" custT="1"/>
      <dgm:spPr>
        <a:solidFill>
          <a:srgbClr val="808080">
            <a:lumMod val="100000"/>
          </a:srgb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Integrity of Algorithmic Toolsets</a:t>
          </a:r>
        </a:p>
      </dgm:t>
    </dgm:pt>
    <dgm:pt modelId="{A1D34E82-967E-49C3-AE16-AB3D8FC49D78}" type="parTrans" cxnId="{908CF4AF-5EE1-4C2A-97F8-B94D19237795}">
      <dgm:prSet/>
      <dgm:spPr/>
      <dgm:t>
        <a:bodyPr/>
        <a:lstStyle/>
        <a:p>
          <a:endParaRPr lang="en-US"/>
        </a:p>
      </dgm:t>
    </dgm:pt>
    <dgm:pt modelId="{621AF981-28AC-4BD3-8F6C-4CD13A6EE071}" type="sibTrans" cxnId="{908CF4AF-5EE1-4C2A-97F8-B94D19237795}">
      <dgm:prSet/>
      <dgm:spPr/>
      <dgm:t>
        <a:bodyPr/>
        <a:lstStyle/>
        <a:p>
          <a:endParaRPr lang="en-US"/>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dgm:presLayoutVars>
          <dgm:bulletEnabled val="1"/>
        </dgm:presLayoutVars>
      </dgm:prSet>
      <dgm:spPr>
        <a:xfrm>
          <a:off x="439" y="0"/>
          <a:ext cx="856738" cy="273345"/>
        </a:xfrm>
        <a:prstGeom prst="homePlate">
          <a:avLst/>
        </a:prstGeom>
      </dgm:spPr>
    </dgm:pt>
    <dgm:pt modelId="{A37B3827-2C1C-4E4A-95BF-31302553E8E9}" type="pres">
      <dgm:prSet presAssocID="{6D5E303A-7892-43F5-A39F-D1D8869A926B}" presName="parSpace" presStyleCnt="0"/>
      <dgm:spPr/>
    </dgm:pt>
    <dgm:pt modelId="{76212330-C1FC-401E-89CF-68665DE345E5}" type="pres">
      <dgm:prSet presAssocID="{91ECB0DE-5ADB-45DC-9C54-CC3A7FF7A015}" presName="parTxOnly" presStyleLbl="node1" presStyleIdx="1" presStyleCnt="5">
        <dgm:presLayoutVars>
          <dgm:bulletEnabled val="1"/>
        </dgm:presLayoutVars>
      </dgm:prSet>
      <dgm:spPr/>
    </dgm:pt>
    <dgm:pt modelId="{F8D3F44A-76EB-4466-945C-D10F688F3BD6}" type="pres">
      <dgm:prSet presAssocID="{04B8FBB7-1D70-438E-9D79-A7748E1EF1DC}" presName="parSpace" presStyleCnt="0"/>
      <dgm:spPr/>
    </dgm:pt>
    <dgm:pt modelId="{460B59A4-A822-4FC6-99B2-11D29D516C5E}" type="pres">
      <dgm:prSet presAssocID="{D7375FAC-73A2-4C9B-942C-7EFD1098DD92}" presName="parTxOnly" presStyleLbl="node1" presStyleIdx="2" presStyleCnt="5">
        <dgm:presLayoutVars>
          <dgm:bulletEnabled val="1"/>
        </dgm:presLayoutVars>
      </dgm:prSet>
      <dgm:spPr>
        <a:xfrm>
          <a:off x="685830" y="0"/>
          <a:ext cx="856738" cy="273345"/>
        </a:xfrm>
        <a:prstGeom prst="chevron">
          <a:avLst/>
        </a:prstGeom>
      </dgm:spPr>
    </dgm:pt>
    <dgm:pt modelId="{01EB00EB-C197-4568-AAFB-B64BDB6807D3}" type="pres">
      <dgm:prSet presAssocID="{F28C1199-DE0F-4DB5-9E63-CD38CACBFB97}" presName="parSpace" presStyleCnt="0"/>
      <dgm:spPr/>
    </dgm:pt>
    <dgm:pt modelId="{49DC1B39-843B-4442-BC2B-F1D746694542}" type="pres">
      <dgm:prSet presAssocID="{82F33808-1A30-43F3-ADA7-88F15155A521}" presName="parTxOnly" presStyleLbl="node1" presStyleIdx="3" presStyleCnt="5">
        <dgm:presLayoutVars>
          <dgm:bulletEnabled val="1"/>
        </dgm:presLayoutVars>
      </dgm:prSet>
      <dgm:spPr>
        <a:xfrm>
          <a:off x="2974778" y="0"/>
          <a:ext cx="1239226" cy="273345"/>
        </a:xfrm>
        <a:prstGeom prst="chevron">
          <a:avLst/>
        </a:prstGeom>
      </dgm:spPr>
    </dgm:pt>
    <dgm:pt modelId="{8CB24730-FEB9-4460-A86B-185A8000D921}" type="pres">
      <dgm:prSet presAssocID="{1F07D0C1-9AF6-41D5-BDA9-794CCFAD5C27}" presName="parSpace" presStyleCnt="0"/>
      <dgm:spPr/>
    </dgm:pt>
    <dgm:pt modelId="{BBA53C6E-B61D-411B-A1E8-7A6A21A05C13}" type="pres">
      <dgm:prSet presAssocID="{52AA1C8C-1594-4DC3-939A-057C47B6BB39}" presName="parTxOnly" presStyleLbl="node1" presStyleIdx="4" presStyleCnt="5">
        <dgm:presLayoutVars>
          <dgm:bulletEnabled val="1"/>
        </dgm:presLayoutVars>
      </dgm:prSet>
      <dgm:spPr>
        <a:xfrm>
          <a:off x="3966160" y="0"/>
          <a:ext cx="1239226" cy="273345"/>
        </a:xfrm>
        <a:prstGeom prst="chevron">
          <a:avLst/>
        </a:prstGeom>
      </dgm:spPr>
    </dgm:pt>
  </dgm:ptLst>
  <dgm:cxnLst>
    <dgm:cxn modelId="{72F16E02-9447-43E7-8C83-41614DEA635C}" type="presOf" srcId="{52AA1C8C-1594-4DC3-939A-057C47B6BB39}" destId="{BBA53C6E-B61D-411B-A1E8-7A6A21A05C13}" srcOrd="0" destOrd="0" presId="urn:microsoft.com/office/officeart/2005/8/layout/hChevron3"/>
    <dgm:cxn modelId="{28EAC51B-D291-470F-83AD-0EBFEC47B789}" srcId="{6656E1C4-BE68-41DF-90AD-C4D6430C221E}" destId="{82F33808-1A30-43F3-ADA7-88F15155A521}" srcOrd="3" destOrd="0" parTransId="{EE8B952B-957A-4FF7-8CC0-766F8B4F698F}" sibTransId="{1F07D0C1-9AF6-41D5-BDA9-794CCFAD5C27}"/>
    <dgm:cxn modelId="{B8D29136-665A-4FB8-A68C-D28633E6B2ED}" type="presOf" srcId="{D7375FAC-73A2-4C9B-942C-7EFD1098DD92}" destId="{460B59A4-A822-4FC6-99B2-11D29D516C5E}" srcOrd="0" destOrd="0" presId="urn:microsoft.com/office/officeart/2005/8/layout/hChevron3"/>
    <dgm:cxn modelId="{B38FBD47-E3C1-4584-B555-8EF512280E0A}" srcId="{6656E1C4-BE68-41DF-90AD-C4D6430C221E}" destId="{800EE8D8-A9A1-4862-9F1C-0110A712C3D3}" srcOrd="0" destOrd="0" parTransId="{8E3B3157-8DBC-4FED-87D2-FCB0767BFF6D}" sibTransId="{6D5E303A-7892-43F5-A39F-D1D8869A926B}"/>
    <dgm:cxn modelId="{E4AA1674-9D5B-496D-9885-5055A9D3F4F7}" srcId="{6656E1C4-BE68-41DF-90AD-C4D6430C221E}" destId="{91ECB0DE-5ADB-45DC-9C54-CC3A7FF7A015}" srcOrd="1" destOrd="0" parTransId="{44C9CF60-B70E-47A9-9F84-490BE7637D0B}" sibTransId="{04B8FBB7-1D70-438E-9D79-A7748E1EF1DC}"/>
    <dgm:cxn modelId="{AD323487-D6B5-486B-B3A0-13E64C9DFDF1}" type="presOf" srcId="{800EE8D8-A9A1-4862-9F1C-0110A712C3D3}" destId="{9EA7ACE5-1326-4A75-A244-CAF86395FE2E}" srcOrd="0" destOrd="0" presId="urn:microsoft.com/office/officeart/2005/8/layout/hChevron3"/>
    <dgm:cxn modelId="{908CF4AF-5EE1-4C2A-97F8-B94D19237795}" srcId="{6656E1C4-BE68-41DF-90AD-C4D6430C221E}" destId="{52AA1C8C-1594-4DC3-939A-057C47B6BB39}" srcOrd="4" destOrd="0" parTransId="{A1D34E82-967E-49C3-AE16-AB3D8FC49D78}" sibTransId="{621AF981-28AC-4BD3-8F6C-4CD13A6EE071}"/>
    <dgm:cxn modelId="{1C69CDCA-B132-4FA7-91BD-E7E73FD85ADF}" type="presOf" srcId="{91ECB0DE-5ADB-45DC-9C54-CC3A7FF7A015}" destId="{76212330-C1FC-401E-89CF-68665DE345E5}" srcOrd="0" destOrd="0" presId="urn:microsoft.com/office/officeart/2005/8/layout/hChevron3"/>
    <dgm:cxn modelId="{9D7CB5DE-1CDA-4525-8144-51F72EFE5CDC}" srcId="{6656E1C4-BE68-41DF-90AD-C4D6430C221E}" destId="{D7375FAC-73A2-4C9B-942C-7EFD1098DD92}" srcOrd="2" destOrd="0" parTransId="{2082F071-0F56-457E-837A-618DF771E2F0}" sibTransId="{F28C1199-DE0F-4DB5-9E63-CD38CACBFB97}"/>
    <dgm:cxn modelId="{C5972AED-2FB4-431C-8897-495A2F9D9813}" type="presOf" srcId="{6656E1C4-BE68-41DF-90AD-C4D6430C221E}" destId="{B00278D6-6D01-40ED-9662-22AEA09096D1}" srcOrd="0" destOrd="0" presId="urn:microsoft.com/office/officeart/2005/8/layout/hChevron3"/>
    <dgm:cxn modelId="{43064BFE-33F1-42FB-AB5C-443102AB7858}" type="presOf" srcId="{82F33808-1A30-43F3-ADA7-88F15155A521}" destId="{49DC1B39-843B-4442-BC2B-F1D746694542}"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FB81F8B6-9BFD-462A-B6BC-2BD5DE7C37FD}" type="presParOf" srcId="{B00278D6-6D01-40ED-9662-22AEA09096D1}" destId="{A37B3827-2C1C-4E4A-95BF-31302553E8E9}" srcOrd="1" destOrd="0" presId="urn:microsoft.com/office/officeart/2005/8/layout/hChevron3"/>
    <dgm:cxn modelId="{9405182F-7231-4BF2-9AC0-86CF07DABB9B}" type="presParOf" srcId="{B00278D6-6D01-40ED-9662-22AEA09096D1}" destId="{76212330-C1FC-401E-89CF-68665DE345E5}" srcOrd="2" destOrd="0" presId="urn:microsoft.com/office/officeart/2005/8/layout/hChevron3"/>
    <dgm:cxn modelId="{1797C5A2-7223-4F55-AF93-2F4C119BFD0C}" type="presParOf" srcId="{B00278D6-6D01-40ED-9662-22AEA09096D1}" destId="{F8D3F44A-76EB-4466-945C-D10F688F3BD6}" srcOrd="3" destOrd="0" presId="urn:microsoft.com/office/officeart/2005/8/layout/hChevron3"/>
    <dgm:cxn modelId="{AD473710-B2C1-4ECA-BC3F-ED0CA02ACD71}" type="presParOf" srcId="{B00278D6-6D01-40ED-9662-22AEA09096D1}" destId="{460B59A4-A822-4FC6-99B2-11D29D516C5E}" srcOrd="4" destOrd="0" presId="urn:microsoft.com/office/officeart/2005/8/layout/hChevron3"/>
    <dgm:cxn modelId="{A99B4340-D5C3-4FBF-8214-9CA5886C149E}" type="presParOf" srcId="{B00278D6-6D01-40ED-9662-22AEA09096D1}" destId="{01EB00EB-C197-4568-AAFB-B64BDB6807D3}" srcOrd="5" destOrd="0" presId="urn:microsoft.com/office/officeart/2005/8/layout/hChevron3"/>
    <dgm:cxn modelId="{35CC5DFC-E60F-4B68-AC0E-3B6CB3AEC912}" type="presParOf" srcId="{B00278D6-6D01-40ED-9662-22AEA09096D1}" destId="{49DC1B39-843B-4442-BC2B-F1D746694542}" srcOrd="6" destOrd="0" presId="urn:microsoft.com/office/officeart/2005/8/layout/hChevron3"/>
    <dgm:cxn modelId="{611A0578-BAD6-470C-BC39-B602496494F7}" type="presParOf" srcId="{B00278D6-6D01-40ED-9662-22AEA09096D1}" destId="{8CB24730-FEB9-4460-A86B-185A8000D921}" srcOrd="7" destOrd="0" presId="urn:microsoft.com/office/officeart/2005/8/layout/hChevron3"/>
    <dgm:cxn modelId="{095D4059-F926-45A9-BB6A-2C1006ADAB3C}" type="presParOf" srcId="{B00278D6-6D01-40ED-9662-22AEA09096D1}" destId="{BBA53C6E-B61D-411B-A1E8-7A6A21A05C13}" srcOrd="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uality Management</a:t>
          </a:r>
        </a:p>
      </dgm:t>
    </dgm:pt>
    <dgm:pt modelId="{8E3B3157-8DBC-4FED-87D2-FCB0767BFF6D}" type="parTrans" cxnId="{B38FBD47-E3C1-4584-B555-8EF512280E0A}">
      <dgm:prSet/>
      <dgm:spPr/>
      <dgm:t>
        <a:bodyPr/>
        <a:lstStyle/>
        <a:p>
          <a:endParaRPr lang="en-US">
            <a:latin typeface="+mn-lt"/>
          </a:endParaRPr>
        </a:p>
      </dgm:t>
    </dgm:pt>
    <dgm:pt modelId="{6D5E303A-7892-43F5-A39F-D1D8869A926B}" type="sibTrans" cxnId="{B38FBD47-E3C1-4584-B555-8EF512280E0A}">
      <dgm:prSet/>
      <dgm:spPr/>
      <dgm:t>
        <a:bodyPr/>
        <a:lstStyle/>
        <a:p>
          <a:endParaRPr lang="en-US">
            <a:latin typeface="+mn-lt"/>
          </a:endParaRPr>
        </a:p>
      </dgm:t>
    </dgm:pt>
    <dgm:pt modelId="{D7375FAC-73A2-4C9B-942C-7EFD1098DD92}">
      <dgm:prSet phldrT="[Text]" custT="1"/>
      <dgm:spPr>
        <a:solidFill>
          <a:srgbClr val="808080"/>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ysClr val="window" lastClr="FFFFFF"/>
              </a:solidFill>
              <a:latin typeface="EYInterstate Light"/>
              <a:ea typeface="+mn-ea"/>
              <a:cs typeface="+mn-cs"/>
            </a:rPr>
            <a:t>Data Protection</a:t>
          </a:r>
        </a:p>
      </dgm:t>
    </dgm:pt>
    <dgm:pt modelId="{2082F071-0F56-457E-837A-618DF771E2F0}" type="parTrans" cxnId="{9D7CB5DE-1CDA-4525-8144-51F72EFE5CDC}">
      <dgm:prSet/>
      <dgm:spPr/>
      <dgm:t>
        <a:bodyPr/>
        <a:lstStyle/>
        <a:p>
          <a:endParaRPr lang="en-US">
            <a:latin typeface="+mn-lt"/>
          </a:endParaRPr>
        </a:p>
      </dgm:t>
    </dgm:pt>
    <dgm:pt modelId="{F28C1199-DE0F-4DB5-9E63-CD38CACBFB97}" type="sibTrans" cxnId="{9D7CB5DE-1CDA-4525-8144-51F72EFE5CDC}">
      <dgm:prSet/>
      <dgm:spPr/>
      <dgm:t>
        <a:bodyPr/>
        <a:lstStyle/>
        <a:p>
          <a:endParaRPr lang="en-US">
            <a:latin typeface="+mn-lt"/>
          </a:endParaRPr>
        </a:p>
      </dgm:t>
    </dgm:pt>
    <dgm:pt modelId="{82F33808-1A30-43F3-ADA7-88F15155A521}">
      <dgm:prSet phldrT="[Text]" custT="1"/>
      <dgm:spPr>
        <a:solidFill>
          <a:srgbClr val="808080">
            <a:lumMod val="100000"/>
          </a:srgb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Risk Management Details</a:t>
          </a:r>
        </a:p>
      </dgm:t>
    </dgm:pt>
    <dgm:pt modelId="{EE8B952B-957A-4FF7-8CC0-766F8B4F698F}" type="parTrans" cxnId="{28EAC51B-D291-470F-83AD-0EBFEC47B789}">
      <dgm:prSet/>
      <dgm:spPr/>
      <dgm:t>
        <a:bodyPr/>
        <a:lstStyle/>
        <a:p>
          <a:endParaRPr lang="en-US">
            <a:latin typeface="+mn-lt"/>
          </a:endParaRPr>
        </a:p>
      </dgm:t>
    </dgm:pt>
    <dgm:pt modelId="{1F07D0C1-9AF6-41D5-BDA9-794CCFAD5C27}" type="sibTrans" cxnId="{28EAC51B-D291-470F-83AD-0EBFEC47B789}">
      <dgm:prSet/>
      <dgm:spPr/>
      <dgm:t>
        <a:bodyPr/>
        <a:lstStyle/>
        <a:p>
          <a:endParaRPr lang="en-US">
            <a:latin typeface="+mn-lt"/>
          </a:endParaRPr>
        </a:p>
      </dgm:t>
    </dgm:pt>
    <dgm:pt modelId="{91ECB0DE-5ADB-45DC-9C54-CC3A7FF7A015}">
      <dgm:prSet phldrT="[Text]" custT="1"/>
      <dgm:spPr>
        <a:xfrm>
          <a:off x="5001021" y="2084652"/>
          <a:ext cx="3123406" cy="1249362"/>
        </a:xfrm>
        <a:solidFill>
          <a:schemeClr val="accent2"/>
        </a:solidFill>
        <a:ln w="12700" cap="flat" cmpd="sng" algn="ctr">
          <a:solidFill>
            <a:sysClr val="window" lastClr="FFFFFF">
              <a:hueOff val="0"/>
              <a:satOff val="0"/>
              <a:lumOff val="0"/>
              <a:alphaOff val="0"/>
            </a:sysClr>
          </a:solidFill>
          <a:prstDash val="solid"/>
          <a:miter lim="800000"/>
        </a:ln>
        <a:effectLst/>
      </dgm:spPr>
      <dgm:t>
        <a:bodyPr/>
        <a:lstStyle/>
        <a:p>
          <a:pPr marL="0" lvl="0" indent="0" algn="ctr" defTabSz="266700">
            <a:lnSpc>
              <a:spcPct val="90000"/>
            </a:lnSpc>
            <a:spcBef>
              <a:spcPct val="0"/>
            </a:spcBef>
            <a:spcAft>
              <a:spcPct val="35000"/>
            </a:spcAft>
            <a:buNone/>
          </a:pPr>
          <a:r>
            <a:rPr lang="en-US" sz="600" kern="1200">
              <a:solidFill>
                <a:schemeClr val="tx1"/>
              </a:solidFill>
              <a:latin typeface="+mn-lt"/>
              <a:ea typeface="+mn-ea"/>
              <a:cs typeface="+mn-cs"/>
            </a:rPr>
            <a:t>Business Continuity &amp; Disaster Recovery</a:t>
          </a:r>
          <a:endParaRPr lang="en-US" sz="600" kern="1200">
            <a:solidFill>
              <a:schemeClr val="tx1"/>
            </a:solidFill>
            <a:latin typeface="EYInterstate Light"/>
            <a:ea typeface="+mn-ea"/>
            <a:cs typeface="+mn-cs"/>
          </a:endParaRPr>
        </a:p>
      </dgm:t>
    </dgm:pt>
    <dgm:pt modelId="{44C9CF60-B70E-47A9-9F84-490BE7637D0B}" type="parTrans" cxnId="{E4AA1674-9D5B-496D-9885-5055A9D3F4F7}">
      <dgm:prSet/>
      <dgm:spPr/>
      <dgm:t>
        <a:bodyPr/>
        <a:lstStyle/>
        <a:p>
          <a:endParaRPr lang="en-US"/>
        </a:p>
      </dgm:t>
    </dgm:pt>
    <dgm:pt modelId="{04B8FBB7-1D70-438E-9D79-A7748E1EF1DC}" type="sibTrans" cxnId="{E4AA1674-9D5B-496D-9885-5055A9D3F4F7}">
      <dgm:prSet/>
      <dgm:spPr/>
      <dgm:t>
        <a:bodyPr/>
        <a:lstStyle/>
        <a:p>
          <a:endParaRPr lang="en-US"/>
        </a:p>
      </dgm:t>
    </dgm:pt>
    <dgm:pt modelId="{52AA1C8C-1594-4DC3-939A-057C47B6BB39}">
      <dgm:prSet phldrT="[Text]" custT="1"/>
      <dgm:spPr>
        <a:solidFill>
          <a:srgbClr val="808080">
            <a:lumMod val="100000"/>
          </a:srgb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Integrity of Algorithmic Toolsets</a:t>
          </a:r>
        </a:p>
      </dgm:t>
    </dgm:pt>
    <dgm:pt modelId="{A1D34E82-967E-49C3-AE16-AB3D8FC49D78}" type="parTrans" cxnId="{908CF4AF-5EE1-4C2A-97F8-B94D19237795}">
      <dgm:prSet/>
      <dgm:spPr/>
      <dgm:t>
        <a:bodyPr/>
        <a:lstStyle/>
        <a:p>
          <a:endParaRPr lang="en-US"/>
        </a:p>
      </dgm:t>
    </dgm:pt>
    <dgm:pt modelId="{621AF981-28AC-4BD3-8F6C-4CD13A6EE071}" type="sibTrans" cxnId="{908CF4AF-5EE1-4C2A-97F8-B94D19237795}">
      <dgm:prSet/>
      <dgm:spPr/>
      <dgm:t>
        <a:bodyPr/>
        <a:lstStyle/>
        <a:p>
          <a:endParaRPr lang="en-US"/>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dgm:presLayoutVars>
          <dgm:bulletEnabled val="1"/>
        </dgm:presLayoutVars>
      </dgm:prSet>
      <dgm:spPr>
        <a:xfrm>
          <a:off x="439" y="0"/>
          <a:ext cx="856738" cy="273345"/>
        </a:xfrm>
        <a:prstGeom prst="homePlate">
          <a:avLst/>
        </a:prstGeom>
      </dgm:spPr>
    </dgm:pt>
    <dgm:pt modelId="{A37B3827-2C1C-4E4A-95BF-31302553E8E9}" type="pres">
      <dgm:prSet presAssocID="{6D5E303A-7892-43F5-A39F-D1D8869A926B}" presName="parSpace" presStyleCnt="0"/>
      <dgm:spPr/>
    </dgm:pt>
    <dgm:pt modelId="{76212330-C1FC-401E-89CF-68665DE345E5}" type="pres">
      <dgm:prSet presAssocID="{91ECB0DE-5ADB-45DC-9C54-CC3A7FF7A015}" presName="parTxOnly" presStyleLbl="node1" presStyleIdx="1" presStyleCnt="5">
        <dgm:presLayoutVars>
          <dgm:bulletEnabled val="1"/>
        </dgm:presLayoutVars>
      </dgm:prSet>
      <dgm:spPr/>
    </dgm:pt>
    <dgm:pt modelId="{F8D3F44A-76EB-4466-945C-D10F688F3BD6}" type="pres">
      <dgm:prSet presAssocID="{04B8FBB7-1D70-438E-9D79-A7748E1EF1DC}" presName="parSpace" presStyleCnt="0"/>
      <dgm:spPr/>
    </dgm:pt>
    <dgm:pt modelId="{460B59A4-A822-4FC6-99B2-11D29D516C5E}" type="pres">
      <dgm:prSet presAssocID="{D7375FAC-73A2-4C9B-942C-7EFD1098DD92}" presName="parTxOnly" presStyleLbl="node1" presStyleIdx="2" presStyleCnt="5">
        <dgm:presLayoutVars>
          <dgm:bulletEnabled val="1"/>
        </dgm:presLayoutVars>
      </dgm:prSet>
      <dgm:spPr>
        <a:xfrm>
          <a:off x="685830" y="0"/>
          <a:ext cx="856738" cy="273345"/>
        </a:xfrm>
        <a:prstGeom prst="chevron">
          <a:avLst/>
        </a:prstGeom>
      </dgm:spPr>
    </dgm:pt>
    <dgm:pt modelId="{01EB00EB-C197-4568-AAFB-B64BDB6807D3}" type="pres">
      <dgm:prSet presAssocID="{F28C1199-DE0F-4DB5-9E63-CD38CACBFB97}" presName="parSpace" presStyleCnt="0"/>
      <dgm:spPr/>
    </dgm:pt>
    <dgm:pt modelId="{49DC1B39-843B-4442-BC2B-F1D746694542}" type="pres">
      <dgm:prSet presAssocID="{82F33808-1A30-43F3-ADA7-88F15155A521}" presName="parTxOnly" presStyleLbl="node1" presStyleIdx="3" presStyleCnt="5">
        <dgm:presLayoutVars>
          <dgm:bulletEnabled val="1"/>
        </dgm:presLayoutVars>
      </dgm:prSet>
      <dgm:spPr>
        <a:xfrm>
          <a:off x="2974778" y="0"/>
          <a:ext cx="1239226" cy="273345"/>
        </a:xfrm>
        <a:prstGeom prst="chevron">
          <a:avLst/>
        </a:prstGeom>
      </dgm:spPr>
    </dgm:pt>
    <dgm:pt modelId="{8CB24730-FEB9-4460-A86B-185A8000D921}" type="pres">
      <dgm:prSet presAssocID="{1F07D0C1-9AF6-41D5-BDA9-794CCFAD5C27}" presName="parSpace" presStyleCnt="0"/>
      <dgm:spPr/>
    </dgm:pt>
    <dgm:pt modelId="{BBA53C6E-B61D-411B-A1E8-7A6A21A05C13}" type="pres">
      <dgm:prSet presAssocID="{52AA1C8C-1594-4DC3-939A-057C47B6BB39}" presName="parTxOnly" presStyleLbl="node1" presStyleIdx="4" presStyleCnt="5">
        <dgm:presLayoutVars>
          <dgm:bulletEnabled val="1"/>
        </dgm:presLayoutVars>
      </dgm:prSet>
      <dgm:spPr>
        <a:xfrm>
          <a:off x="3966160" y="0"/>
          <a:ext cx="1239226" cy="273345"/>
        </a:xfrm>
        <a:prstGeom prst="chevron">
          <a:avLst/>
        </a:prstGeom>
      </dgm:spPr>
    </dgm:pt>
  </dgm:ptLst>
  <dgm:cxnLst>
    <dgm:cxn modelId="{72F16E02-9447-43E7-8C83-41614DEA635C}" type="presOf" srcId="{52AA1C8C-1594-4DC3-939A-057C47B6BB39}" destId="{BBA53C6E-B61D-411B-A1E8-7A6A21A05C13}" srcOrd="0" destOrd="0" presId="urn:microsoft.com/office/officeart/2005/8/layout/hChevron3"/>
    <dgm:cxn modelId="{28EAC51B-D291-470F-83AD-0EBFEC47B789}" srcId="{6656E1C4-BE68-41DF-90AD-C4D6430C221E}" destId="{82F33808-1A30-43F3-ADA7-88F15155A521}" srcOrd="3" destOrd="0" parTransId="{EE8B952B-957A-4FF7-8CC0-766F8B4F698F}" sibTransId="{1F07D0C1-9AF6-41D5-BDA9-794CCFAD5C27}"/>
    <dgm:cxn modelId="{B8D29136-665A-4FB8-A68C-D28633E6B2ED}" type="presOf" srcId="{D7375FAC-73A2-4C9B-942C-7EFD1098DD92}" destId="{460B59A4-A822-4FC6-99B2-11D29D516C5E}" srcOrd="0" destOrd="0" presId="urn:microsoft.com/office/officeart/2005/8/layout/hChevron3"/>
    <dgm:cxn modelId="{B38FBD47-E3C1-4584-B555-8EF512280E0A}" srcId="{6656E1C4-BE68-41DF-90AD-C4D6430C221E}" destId="{800EE8D8-A9A1-4862-9F1C-0110A712C3D3}" srcOrd="0" destOrd="0" parTransId="{8E3B3157-8DBC-4FED-87D2-FCB0767BFF6D}" sibTransId="{6D5E303A-7892-43F5-A39F-D1D8869A926B}"/>
    <dgm:cxn modelId="{E4AA1674-9D5B-496D-9885-5055A9D3F4F7}" srcId="{6656E1C4-BE68-41DF-90AD-C4D6430C221E}" destId="{91ECB0DE-5ADB-45DC-9C54-CC3A7FF7A015}" srcOrd="1" destOrd="0" parTransId="{44C9CF60-B70E-47A9-9F84-490BE7637D0B}" sibTransId="{04B8FBB7-1D70-438E-9D79-A7748E1EF1DC}"/>
    <dgm:cxn modelId="{AD323487-D6B5-486B-B3A0-13E64C9DFDF1}" type="presOf" srcId="{800EE8D8-A9A1-4862-9F1C-0110A712C3D3}" destId="{9EA7ACE5-1326-4A75-A244-CAF86395FE2E}" srcOrd="0" destOrd="0" presId="urn:microsoft.com/office/officeart/2005/8/layout/hChevron3"/>
    <dgm:cxn modelId="{908CF4AF-5EE1-4C2A-97F8-B94D19237795}" srcId="{6656E1C4-BE68-41DF-90AD-C4D6430C221E}" destId="{52AA1C8C-1594-4DC3-939A-057C47B6BB39}" srcOrd="4" destOrd="0" parTransId="{A1D34E82-967E-49C3-AE16-AB3D8FC49D78}" sibTransId="{621AF981-28AC-4BD3-8F6C-4CD13A6EE071}"/>
    <dgm:cxn modelId="{1C69CDCA-B132-4FA7-91BD-E7E73FD85ADF}" type="presOf" srcId="{91ECB0DE-5ADB-45DC-9C54-CC3A7FF7A015}" destId="{76212330-C1FC-401E-89CF-68665DE345E5}" srcOrd="0" destOrd="0" presId="urn:microsoft.com/office/officeart/2005/8/layout/hChevron3"/>
    <dgm:cxn modelId="{9D7CB5DE-1CDA-4525-8144-51F72EFE5CDC}" srcId="{6656E1C4-BE68-41DF-90AD-C4D6430C221E}" destId="{D7375FAC-73A2-4C9B-942C-7EFD1098DD92}" srcOrd="2" destOrd="0" parTransId="{2082F071-0F56-457E-837A-618DF771E2F0}" sibTransId="{F28C1199-DE0F-4DB5-9E63-CD38CACBFB97}"/>
    <dgm:cxn modelId="{C5972AED-2FB4-431C-8897-495A2F9D9813}" type="presOf" srcId="{6656E1C4-BE68-41DF-90AD-C4D6430C221E}" destId="{B00278D6-6D01-40ED-9662-22AEA09096D1}" srcOrd="0" destOrd="0" presId="urn:microsoft.com/office/officeart/2005/8/layout/hChevron3"/>
    <dgm:cxn modelId="{43064BFE-33F1-42FB-AB5C-443102AB7858}" type="presOf" srcId="{82F33808-1A30-43F3-ADA7-88F15155A521}" destId="{49DC1B39-843B-4442-BC2B-F1D746694542}"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FB81F8B6-9BFD-462A-B6BC-2BD5DE7C37FD}" type="presParOf" srcId="{B00278D6-6D01-40ED-9662-22AEA09096D1}" destId="{A37B3827-2C1C-4E4A-95BF-31302553E8E9}" srcOrd="1" destOrd="0" presId="urn:microsoft.com/office/officeart/2005/8/layout/hChevron3"/>
    <dgm:cxn modelId="{9405182F-7231-4BF2-9AC0-86CF07DABB9B}" type="presParOf" srcId="{B00278D6-6D01-40ED-9662-22AEA09096D1}" destId="{76212330-C1FC-401E-89CF-68665DE345E5}" srcOrd="2" destOrd="0" presId="urn:microsoft.com/office/officeart/2005/8/layout/hChevron3"/>
    <dgm:cxn modelId="{1797C5A2-7223-4F55-AF93-2F4C119BFD0C}" type="presParOf" srcId="{B00278D6-6D01-40ED-9662-22AEA09096D1}" destId="{F8D3F44A-76EB-4466-945C-D10F688F3BD6}" srcOrd="3" destOrd="0" presId="urn:microsoft.com/office/officeart/2005/8/layout/hChevron3"/>
    <dgm:cxn modelId="{AD473710-B2C1-4ECA-BC3F-ED0CA02ACD71}" type="presParOf" srcId="{B00278D6-6D01-40ED-9662-22AEA09096D1}" destId="{460B59A4-A822-4FC6-99B2-11D29D516C5E}" srcOrd="4" destOrd="0" presId="urn:microsoft.com/office/officeart/2005/8/layout/hChevron3"/>
    <dgm:cxn modelId="{A99B4340-D5C3-4FBF-8214-9CA5886C149E}" type="presParOf" srcId="{B00278D6-6D01-40ED-9662-22AEA09096D1}" destId="{01EB00EB-C197-4568-AAFB-B64BDB6807D3}" srcOrd="5" destOrd="0" presId="urn:microsoft.com/office/officeart/2005/8/layout/hChevron3"/>
    <dgm:cxn modelId="{35CC5DFC-E60F-4B68-AC0E-3B6CB3AEC912}" type="presParOf" srcId="{B00278D6-6D01-40ED-9662-22AEA09096D1}" destId="{49DC1B39-843B-4442-BC2B-F1D746694542}" srcOrd="6" destOrd="0" presId="urn:microsoft.com/office/officeart/2005/8/layout/hChevron3"/>
    <dgm:cxn modelId="{611A0578-BAD6-470C-BC39-B602496494F7}" type="presParOf" srcId="{B00278D6-6D01-40ED-9662-22AEA09096D1}" destId="{8CB24730-FEB9-4460-A86B-185A8000D921}" srcOrd="7" destOrd="0" presId="urn:microsoft.com/office/officeart/2005/8/layout/hChevron3"/>
    <dgm:cxn modelId="{095D4059-F926-45A9-BB6A-2C1006ADAB3C}" type="presParOf" srcId="{B00278D6-6D01-40ED-9662-22AEA09096D1}" destId="{BBA53C6E-B61D-411B-A1E8-7A6A21A05C13}" srcOrd="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uality Management</a:t>
          </a:r>
        </a:p>
      </dgm:t>
    </dgm:pt>
    <dgm:pt modelId="{8E3B3157-8DBC-4FED-87D2-FCB0767BFF6D}" type="parTrans" cxnId="{B38FBD47-E3C1-4584-B555-8EF512280E0A}">
      <dgm:prSet/>
      <dgm:spPr/>
      <dgm:t>
        <a:bodyPr/>
        <a:lstStyle/>
        <a:p>
          <a:endParaRPr lang="en-US">
            <a:latin typeface="+mn-lt"/>
          </a:endParaRPr>
        </a:p>
      </dgm:t>
    </dgm:pt>
    <dgm:pt modelId="{6D5E303A-7892-43F5-A39F-D1D8869A926B}" type="sibTrans" cxnId="{B38FBD47-E3C1-4584-B555-8EF512280E0A}">
      <dgm:prSet/>
      <dgm:spPr/>
      <dgm:t>
        <a:bodyPr/>
        <a:lstStyle/>
        <a:p>
          <a:endParaRPr lang="en-US">
            <a:latin typeface="+mn-lt"/>
          </a:endParaRPr>
        </a:p>
      </dgm:t>
    </dgm:pt>
    <dgm:pt modelId="{D7375FAC-73A2-4C9B-942C-7EFD1098DD92}">
      <dgm:prSet phldrT="[Text]" custT="1"/>
      <dgm:spPr>
        <a:solidFill>
          <a:schemeClr val="accent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Data Protection</a:t>
          </a:r>
        </a:p>
      </dgm:t>
    </dgm:pt>
    <dgm:pt modelId="{2082F071-0F56-457E-837A-618DF771E2F0}" type="parTrans" cxnId="{9D7CB5DE-1CDA-4525-8144-51F72EFE5CDC}">
      <dgm:prSet/>
      <dgm:spPr/>
      <dgm:t>
        <a:bodyPr/>
        <a:lstStyle/>
        <a:p>
          <a:endParaRPr lang="en-US">
            <a:latin typeface="+mn-lt"/>
          </a:endParaRPr>
        </a:p>
      </dgm:t>
    </dgm:pt>
    <dgm:pt modelId="{F28C1199-DE0F-4DB5-9E63-CD38CACBFB97}" type="sibTrans" cxnId="{9D7CB5DE-1CDA-4525-8144-51F72EFE5CDC}">
      <dgm:prSet/>
      <dgm:spPr/>
      <dgm:t>
        <a:bodyPr/>
        <a:lstStyle/>
        <a:p>
          <a:endParaRPr lang="en-US">
            <a:latin typeface="+mn-lt"/>
          </a:endParaRPr>
        </a:p>
      </dgm:t>
    </dgm:pt>
    <dgm:pt modelId="{82F33808-1A30-43F3-ADA7-88F15155A521}">
      <dgm:prSet phldrT="[Text]" custT="1"/>
      <dgm:spPr>
        <a:solidFill>
          <a:srgbClr val="808080">
            <a:lumMod val="100000"/>
          </a:srgb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Risk Management Details</a:t>
          </a:r>
        </a:p>
      </dgm:t>
    </dgm:pt>
    <dgm:pt modelId="{EE8B952B-957A-4FF7-8CC0-766F8B4F698F}" type="parTrans" cxnId="{28EAC51B-D291-470F-83AD-0EBFEC47B789}">
      <dgm:prSet/>
      <dgm:spPr/>
      <dgm:t>
        <a:bodyPr/>
        <a:lstStyle/>
        <a:p>
          <a:endParaRPr lang="en-US">
            <a:latin typeface="+mn-lt"/>
          </a:endParaRPr>
        </a:p>
      </dgm:t>
    </dgm:pt>
    <dgm:pt modelId="{1F07D0C1-9AF6-41D5-BDA9-794CCFAD5C27}" type="sibTrans" cxnId="{28EAC51B-D291-470F-83AD-0EBFEC47B789}">
      <dgm:prSet/>
      <dgm:spPr/>
      <dgm:t>
        <a:bodyPr/>
        <a:lstStyle/>
        <a:p>
          <a:endParaRPr lang="en-US">
            <a:latin typeface="+mn-lt"/>
          </a:endParaRPr>
        </a:p>
      </dgm:t>
    </dgm:pt>
    <dgm:pt modelId="{91ECB0DE-5ADB-45DC-9C54-CC3A7FF7A015}">
      <dgm:prSet phldrT="[Text]" custT="1"/>
      <dgm:spPr>
        <a:xfrm>
          <a:off x="5001021" y="2084652"/>
          <a:ext cx="3123406" cy="1249362"/>
        </a:xfrm>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a:lstStyle/>
        <a:p>
          <a:pPr marL="0" lvl="0" indent="0" algn="ctr" defTabSz="266700">
            <a:lnSpc>
              <a:spcPct val="90000"/>
            </a:lnSpc>
            <a:spcBef>
              <a:spcPct val="0"/>
            </a:spcBef>
            <a:spcAft>
              <a:spcPct val="35000"/>
            </a:spcAft>
            <a:buNone/>
          </a:pPr>
          <a:r>
            <a:rPr lang="en-US" sz="600" kern="1200">
              <a:solidFill>
                <a:schemeClr val="tx2"/>
              </a:solidFill>
              <a:latin typeface="+mn-lt"/>
              <a:ea typeface="+mn-ea"/>
              <a:cs typeface="+mn-cs"/>
            </a:rPr>
            <a:t>Business Continuity &amp; Disaster Recovery</a:t>
          </a:r>
          <a:endParaRPr lang="en-US" sz="600" kern="1200">
            <a:solidFill>
              <a:schemeClr val="tx2"/>
            </a:solidFill>
            <a:latin typeface="EYInterstate Light"/>
            <a:ea typeface="+mn-ea"/>
            <a:cs typeface="+mn-cs"/>
          </a:endParaRPr>
        </a:p>
      </dgm:t>
    </dgm:pt>
    <dgm:pt modelId="{44C9CF60-B70E-47A9-9F84-490BE7637D0B}" type="parTrans" cxnId="{E4AA1674-9D5B-496D-9885-5055A9D3F4F7}">
      <dgm:prSet/>
      <dgm:spPr/>
      <dgm:t>
        <a:bodyPr/>
        <a:lstStyle/>
        <a:p>
          <a:endParaRPr lang="en-US"/>
        </a:p>
      </dgm:t>
    </dgm:pt>
    <dgm:pt modelId="{04B8FBB7-1D70-438E-9D79-A7748E1EF1DC}" type="sibTrans" cxnId="{E4AA1674-9D5B-496D-9885-5055A9D3F4F7}">
      <dgm:prSet/>
      <dgm:spPr/>
      <dgm:t>
        <a:bodyPr/>
        <a:lstStyle/>
        <a:p>
          <a:endParaRPr lang="en-US"/>
        </a:p>
      </dgm:t>
    </dgm:pt>
    <dgm:pt modelId="{52AA1C8C-1594-4DC3-939A-057C47B6BB39}">
      <dgm:prSet phldrT="[Text]" custT="1"/>
      <dgm:spPr>
        <a:solidFill>
          <a:srgbClr val="808080">
            <a:lumMod val="100000"/>
          </a:srgb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Integrity of Algorithmic Toolsets</a:t>
          </a:r>
        </a:p>
      </dgm:t>
    </dgm:pt>
    <dgm:pt modelId="{A1D34E82-967E-49C3-AE16-AB3D8FC49D78}" type="parTrans" cxnId="{908CF4AF-5EE1-4C2A-97F8-B94D19237795}">
      <dgm:prSet/>
      <dgm:spPr/>
      <dgm:t>
        <a:bodyPr/>
        <a:lstStyle/>
        <a:p>
          <a:endParaRPr lang="en-US"/>
        </a:p>
      </dgm:t>
    </dgm:pt>
    <dgm:pt modelId="{621AF981-28AC-4BD3-8F6C-4CD13A6EE071}" type="sibTrans" cxnId="{908CF4AF-5EE1-4C2A-97F8-B94D19237795}">
      <dgm:prSet/>
      <dgm:spPr/>
      <dgm:t>
        <a:bodyPr/>
        <a:lstStyle/>
        <a:p>
          <a:endParaRPr lang="en-US"/>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dgm:presLayoutVars>
          <dgm:bulletEnabled val="1"/>
        </dgm:presLayoutVars>
      </dgm:prSet>
      <dgm:spPr>
        <a:xfrm>
          <a:off x="439" y="0"/>
          <a:ext cx="856738" cy="273345"/>
        </a:xfrm>
        <a:prstGeom prst="homePlate">
          <a:avLst/>
        </a:prstGeom>
      </dgm:spPr>
    </dgm:pt>
    <dgm:pt modelId="{A37B3827-2C1C-4E4A-95BF-31302553E8E9}" type="pres">
      <dgm:prSet presAssocID="{6D5E303A-7892-43F5-A39F-D1D8869A926B}" presName="parSpace" presStyleCnt="0"/>
      <dgm:spPr/>
    </dgm:pt>
    <dgm:pt modelId="{76212330-C1FC-401E-89CF-68665DE345E5}" type="pres">
      <dgm:prSet presAssocID="{91ECB0DE-5ADB-45DC-9C54-CC3A7FF7A015}" presName="parTxOnly" presStyleLbl="node1" presStyleIdx="1" presStyleCnt="5">
        <dgm:presLayoutVars>
          <dgm:bulletEnabled val="1"/>
        </dgm:presLayoutVars>
      </dgm:prSet>
      <dgm:spPr/>
    </dgm:pt>
    <dgm:pt modelId="{F8D3F44A-76EB-4466-945C-D10F688F3BD6}" type="pres">
      <dgm:prSet presAssocID="{04B8FBB7-1D70-438E-9D79-A7748E1EF1DC}" presName="parSpace" presStyleCnt="0"/>
      <dgm:spPr/>
    </dgm:pt>
    <dgm:pt modelId="{460B59A4-A822-4FC6-99B2-11D29D516C5E}" type="pres">
      <dgm:prSet presAssocID="{D7375FAC-73A2-4C9B-942C-7EFD1098DD92}" presName="parTxOnly" presStyleLbl="node1" presStyleIdx="2" presStyleCnt="5">
        <dgm:presLayoutVars>
          <dgm:bulletEnabled val="1"/>
        </dgm:presLayoutVars>
      </dgm:prSet>
      <dgm:spPr>
        <a:xfrm>
          <a:off x="685830" y="0"/>
          <a:ext cx="856738" cy="273345"/>
        </a:xfrm>
        <a:prstGeom prst="chevron">
          <a:avLst/>
        </a:prstGeom>
      </dgm:spPr>
    </dgm:pt>
    <dgm:pt modelId="{01EB00EB-C197-4568-AAFB-B64BDB6807D3}" type="pres">
      <dgm:prSet presAssocID="{F28C1199-DE0F-4DB5-9E63-CD38CACBFB97}" presName="parSpace" presStyleCnt="0"/>
      <dgm:spPr/>
    </dgm:pt>
    <dgm:pt modelId="{49DC1B39-843B-4442-BC2B-F1D746694542}" type="pres">
      <dgm:prSet presAssocID="{82F33808-1A30-43F3-ADA7-88F15155A521}" presName="parTxOnly" presStyleLbl="node1" presStyleIdx="3" presStyleCnt="5">
        <dgm:presLayoutVars>
          <dgm:bulletEnabled val="1"/>
        </dgm:presLayoutVars>
      </dgm:prSet>
      <dgm:spPr>
        <a:xfrm>
          <a:off x="2974778" y="0"/>
          <a:ext cx="1239226" cy="273345"/>
        </a:xfrm>
        <a:prstGeom prst="chevron">
          <a:avLst/>
        </a:prstGeom>
      </dgm:spPr>
    </dgm:pt>
    <dgm:pt modelId="{8CB24730-FEB9-4460-A86B-185A8000D921}" type="pres">
      <dgm:prSet presAssocID="{1F07D0C1-9AF6-41D5-BDA9-794CCFAD5C27}" presName="parSpace" presStyleCnt="0"/>
      <dgm:spPr/>
    </dgm:pt>
    <dgm:pt modelId="{BBA53C6E-B61D-411B-A1E8-7A6A21A05C13}" type="pres">
      <dgm:prSet presAssocID="{52AA1C8C-1594-4DC3-939A-057C47B6BB39}" presName="parTxOnly" presStyleLbl="node1" presStyleIdx="4" presStyleCnt="5">
        <dgm:presLayoutVars>
          <dgm:bulletEnabled val="1"/>
        </dgm:presLayoutVars>
      </dgm:prSet>
      <dgm:spPr>
        <a:xfrm>
          <a:off x="3966160" y="0"/>
          <a:ext cx="1239226" cy="273345"/>
        </a:xfrm>
        <a:prstGeom prst="chevron">
          <a:avLst/>
        </a:prstGeom>
      </dgm:spPr>
    </dgm:pt>
  </dgm:ptLst>
  <dgm:cxnLst>
    <dgm:cxn modelId="{72F16E02-9447-43E7-8C83-41614DEA635C}" type="presOf" srcId="{52AA1C8C-1594-4DC3-939A-057C47B6BB39}" destId="{BBA53C6E-B61D-411B-A1E8-7A6A21A05C13}" srcOrd="0" destOrd="0" presId="urn:microsoft.com/office/officeart/2005/8/layout/hChevron3"/>
    <dgm:cxn modelId="{28EAC51B-D291-470F-83AD-0EBFEC47B789}" srcId="{6656E1C4-BE68-41DF-90AD-C4D6430C221E}" destId="{82F33808-1A30-43F3-ADA7-88F15155A521}" srcOrd="3" destOrd="0" parTransId="{EE8B952B-957A-4FF7-8CC0-766F8B4F698F}" sibTransId="{1F07D0C1-9AF6-41D5-BDA9-794CCFAD5C27}"/>
    <dgm:cxn modelId="{B8D29136-665A-4FB8-A68C-D28633E6B2ED}" type="presOf" srcId="{D7375FAC-73A2-4C9B-942C-7EFD1098DD92}" destId="{460B59A4-A822-4FC6-99B2-11D29D516C5E}" srcOrd="0" destOrd="0" presId="urn:microsoft.com/office/officeart/2005/8/layout/hChevron3"/>
    <dgm:cxn modelId="{B38FBD47-E3C1-4584-B555-8EF512280E0A}" srcId="{6656E1C4-BE68-41DF-90AD-C4D6430C221E}" destId="{800EE8D8-A9A1-4862-9F1C-0110A712C3D3}" srcOrd="0" destOrd="0" parTransId="{8E3B3157-8DBC-4FED-87D2-FCB0767BFF6D}" sibTransId="{6D5E303A-7892-43F5-A39F-D1D8869A926B}"/>
    <dgm:cxn modelId="{E4AA1674-9D5B-496D-9885-5055A9D3F4F7}" srcId="{6656E1C4-BE68-41DF-90AD-C4D6430C221E}" destId="{91ECB0DE-5ADB-45DC-9C54-CC3A7FF7A015}" srcOrd="1" destOrd="0" parTransId="{44C9CF60-B70E-47A9-9F84-490BE7637D0B}" sibTransId="{04B8FBB7-1D70-438E-9D79-A7748E1EF1DC}"/>
    <dgm:cxn modelId="{AD323487-D6B5-486B-B3A0-13E64C9DFDF1}" type="presOf" srcId="{800EE8D8-A9A1-4862-9F1C-0110A712C3D3}" destId="{9EA7ACE5-1326-4A75-A244-CAF86395FE2E}" srcOrd="0" destOrd="0" presId="urn:microsoft.com/office/officeart/2005/8/layout/hChevron3"/>
    <dgm:cxn modelId="{908CF4AF-5EE1-4C2A-97F8-B94D19237795}" srcId="{6656E1C4-BE68-41DF-90AD-C4D6430C221E}" destId="{52AA1C8C-1594-4DC3-939A-057C47B6BB39}" srcOrd="4" destOrd="0" parTransId="{A1D34E82-967E-49C3-AE16-AB3D8FC49D78}" sibTransId="{621AF981-28AC-4BD3-8F6C-4CD13A6EE071}"/>
    <dgm:cxn modelId="{1C69CDCA-B132-4FA7-91BD-E7E73FD85ADF}" type="presOf" srcId="{91ECB0DE-5ADB-45DC-9C54-CC3A7FF7A015}" destId="{76212330-C1FC-401E-89CF-68665DE345E5}" srcOrd="0" destOrd="0" presId="urn:microsoft.com/office/officeart/2005/8/layout/hChevron3"/>
    <dgm:cxn modelId="{9D7CB5DE-1CDA-4525-8144-51F72EFE5CDC}" srcId="{6656E1C4-BE68-41DF-90AD-C4D6430C221E}" destId="{D7375FAC-73A2-4C9B-942C-7EFD1098DD92}" srcOrd="2" destOrd="0" parTransId="{2082F071-0F56-457E-837A-618DF771E2F0}" sibTransId="{F28C1199-DE0F-4DB5-9E63-CD38CACBFB97}"/>
    <dgm:cxn modelId="{C5972AED-2FB4-431C-8897-495A2F9D9813}" type="presOf" srcId="{6656E1C4-BE68-41DF-90AD-C4D6430C221E}" destId="{B00278D6-6D01-40ED-9662-22AEA09096D1}" srcOrd="0" destOrd="0" presId="urn:microsoft.com/office/officeart/2005/8/layout/hChevron3"/>
    <dgm:cxn modelId="{43064BFE-33F1-42FB-AB5C-443102AB7858}" type="presOf" srcId="{82F33808-1A30-43F3-ADA7-88F15155A521}" destId="{49DC1B39-843B-4442-BC2B-F1D746694542}"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FB81F8B6-9BFD-462A-B6BC-2BD5DE7C37FD}" type="presParOf" srcId="{B00278D6-6D01-40ED-9662-22AEA09096D1}" destId="{A37B3827-2C1C-4E4A-95BF-31302553E8E9}" srcOrd="1" destOrd="0" presId="urn:microsoft.com/office/officeart/2005/8/layout/hChevron3"/>
    <dgm:cxn modelId="{9405182F-7231-4BF2-9AC0-86CF07DABB9B}" type="presParOf" srcId="{B00278D6-6D01-40ED-9662-22AEA09096D1}" destId="{76212330-C1FC-401E-89CF-68665DE345E5}" srcOrd="2" destOrd="0" presId="urn:microsoft.com/office/officeart/2005/8/layout/hChevron3"/>
    <dgm:cxn modelId="{1797C5A2-7223-4F55-AF93-2F4C119BFD0C}" type="presParOf" srcId="{B00278D6-6D01-40ED-9662-22AEA09096D1}" destId="{F8D3F44A-76EB-4466-945C-D10F688F3BD6}" srcOrd="3" destOrd="0" presId="urn:microsoft.com/office/officeart/2005/8/layout/hChevron3"/>
    <dgm:cxn modelId="{AD473710-B2C1-4ECA-BC3F-ED0CA02ACD71}" type="presParOf" srcId="{B00278D6-6D01-40ED-9662-22AEA09096D1}" destId="{460B59A4-A822-4FC6-99B2-11D29D516C5E}" srcOrd="4" destOrd="0" presId="urn:microsoft.com/office/officeart/2005/8/layout/hChevron3"/>
    <dgm:cxn modelId="{A99B4340-D5C3-4FBF-8214-9CA5886C149E}" type="presParOf" srcId="{B00278D6-6D01-40ED-9662-22AEA09096D1}" destId="{01EB00EB-C197-4568-AAFB-B64BDB6807D3}" srcOrd="5" destOrd="0" presId="urn:microsoft.com/office/officeart/2005/8/layout/hChevron3"/>
    <dgm:cxn modelId="{35CC5DFC-E60F-4B68-AC0E-3B6CB3AEC912}" type="presParOf" srcId="{B00278D6-6D01-40ED-9662-22AEA09096D1}" destId="{49DC1B39-843B-4442-BC2B-F1D746694542}" srcOrd="6" destOrd="0" presId="urn:microsoft.com/office/officeart/2005/8/layout/hChevron3"/>
    <dgm:cxn modelId="{611A0578-BAD6-470C-BC39-B602496494F7}" type="presParOf" srcId="{B00278D6-6D01-40ED-9662-22AEA09096D1}" destId="{8CB24730-FEB9-4460-A86B-185A8000D921}" srcOrd="7" destOrd="0" presId="urn:microsoft.com/office/officeart/2005/8/layout/hChevron3"/>
    <dgm:cxn modelId="{095D4059-F926-45A9-BB6A-2C1006ADAB3C}" type="presParOf" srcId="{B00278D6-6D01-40ED-9662-22AEA09096D1}" destId="{BBA53C6E-B61D-411B-A1E8-7A6A21A05C13}" srcOrd="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uality Management</a:t>
          </a:r>
        </a:p>
      </dgm:t>
    </dgm:pt>
    <dgm:pt modelId="{8E3B3157-8DBC-4FED-87D2-FCB0767BFF6D}" type="parTrans" cxnId="{B38FBD47-E3C1-4584-B555-8EF512280E0A}">
      <dgm:prSet/>
      <dgm:spPr/>
      <dgm:t>
        <a:bodyPr/>
        <a:lstStyle/>
        <a:p>
          <a:endParaRPr lang="en-US">
            <a:latin typeface="+mn-lt"/>
          </a:endParaRPr>
        </a:p>
      </dgm:t>
    </dgm:pt>
    <dgm:pt modelId="{6D5E303A-7892-43F5-A39F-D1D8869A926B}" type="sibTrans" cxnId="{B38FBD47-E3C1-4584-B555-8EF512280E0A}">
      <dgm:prSet/>
      <dgm:spPr/>
      <dgm:t>
        <a:bodyPr/>
        <a:lstStyle/>
        <a:p>
          <a:endParaRPr lang="en-US">
            <a:latin typeface="+mn-lt"/>
          </a:endParaRPr>
        </a:p>
      </dgm:t>
    </dgm:pt>
    <dgm:pt modelId="{D7375FAC-73A2-4C9B-942C-7EFD1098DD92}">
      <dgm:prSet phldrT="[Text]" custT="1"/>
      <dgm:spPr>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Data Protection</a:t>
          </a:r>
        </a:p>
      </dgm:t>
    </dgm:pt>
    <dgm:pt modelId="{2082F071-0F56-457E-837A-618DF771E2F0}" type="parTrans" cxnId="{9D7CB5DE-1CDA-4525-8144-51F72EFE5CDC}">
      <dgm:prSet/>
      <dgm:spPr/>
      <dgm:t>
        <a:bodyPr/>
        <a:lstStyle/>
        <a:p>
          <a:endParaRPr lang="en-US">
            <a:latin typeface="+mn-lt"/>
          </a:endParaRPr>
        </a:p>
      </dgm:t>
    </dgm:pt>
    <dgm:pt modelId="{F28C1199-DE0F-4DB5-9E63-CD38CACBFB97}" type="sibTrans" cxnId="{9D7CB5DE-1CDA-4525-8144-51F72EFE5CDC}">
      <dgm:prSet/>
      <dgm:spPr/>
      <dgm:t>
        <a:bodyPr/>
        <a:lstStyle/>
        <a:p>
          <a:endParaRPr lang="en-US">
            <a:latin typeface="+mn-lt"/>
          </a:endParaRPr>
        </a:p>
      </dgm:t>
    </dgm:pt>
    <dgm:pt modelId="{82F33808-1A30-43F3-ADA7-88F15155A521}">
      <dgm:prSet phldrT="[Text]" custT="1"/>
      <dgm:spPr>
        <a:solidFill>
          <a:schemeClr val="accent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Risk Management Details</a:t>
          </a:r>
        </a:p>
      </dgm:t>
    </dgm:pt>
    <dgm:pt modelId="{EE8B952B-957A-4FF7-8CC0-766F8B4F698F}" type="parTrans" cxnId="{28EAC51B-D291-470F-83AD-0EBFEC47B789}">
      <dgm:prSet/>
      <dgm:spPr/>
      <dgm:t>
        <a:bodyPr/>
        <a:lstStyle/>
        <a:p>
          <a:endParaRPr lang="en-US">
            <a:latin typeface="+mn-lt"/>
          </a:endParaRPr>
        </a:p>
      </dgm:t>
    </dgm:pt>
    <dgm:pt modelId="{1F07D0C1-9AF6-41D5-BDA9-794CCFAD5C27}" type="sibTrans" cxnId="{28EAC51B-D291-470F-83AD-0EBFEC47B789}">
      <dgm:prSet/>
      <dgm:spPr/>
      <dgm:t>
        <a:bodyPr/>
        <a:lstStyle/>
        <a:p>
          <a:endParaRPr lang="en-US">
            <a:latin typeface="+mn-lt"/>
          </a:endParaRPr>
        </a:p>
      </dgm:t>
    </dgm:pt>
    <dgm:pt modelId="{91ECB0DE-5ADB-45DC-9C54-CC3A7FF7A015}">
      <dgm:prSet phldrT="[Text]" custT="1"/>
      <dgm:spPr>
        <a:xfrm>
          <a:off x="5001021" y="2084652"/>
          <a:ext cx="3123406" cy="1249362"/>
        </a:xfrm>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a:lstStyle/>
        <a:p>
          <a:pPr marL="0" lvl="0" indent="0" algn="ctr" defTabSz="266700">
            <a:lnSpc>
              <a:spcPct val="90000"/>
            </a:lnSpc>
            <a:spcBef>
              <a:spcPct val="0"/>
            </a:spcBef>
            <a:spcAft>
              <a:spcPct val="35000"/>
            </a:spcAft>
            <a:buNone/>
          </a:pPr>
          <a:r>
            <a:rPr lang="en-US" sz="600" kern="1200">
              <a:solidFill>
                <a:schemeClr val="tx2"/>
              </a:solidFill>
              <a:latin typeface="+mn-lt"/>
              <a:ea typeface="+mn-ea"/>
              <a:cs typeface="+mn-cs"/>
            </a:rPr>
            <a:t>Business Continuity &amp; Disaster Recovery</a:t>
          </a:r>
          <a:endParaRPr lang="en-US" sz="600" kern="1200">
            <a:solidFill>
              <a:schemeClr val="tx2"/>
            </a:solidFill>
            <a:latin typeface="EYInterstate Light"/>
            <a:ea typeface="+mn-ea"/>
            <a:cs typeface="+mn-cs"/>
          </a:endParaRPr>
        </a:p>
      </dgm:t>
    </dgm:pt>
    <dgm:pt modelId="{44C9CF60-B70E-47A9-9F84-490BE7637D0B}" type="parTrans" cxnId="{E4AA1674-9D5B-496D-9885-5055A9D3F4F7}">
      <dgm:prSet/>
      <dgm:spPr/>
      <dgm:t>
        <a:bodyPr/>
        <a:lstStyle/>
        <a:p>
          <a:endParaRPr lang="en-US"/>
        </a:p>
      </dgm:t>
    </dgm:pt>
    <dgm:pt modelId="{04B8FBB7-1D70-438E-9D79-A7748E1EF1DC}" type="sibTrans" cxnId="{E4AA1674-9D5B-496D-9885-5055A9D3F4F7}">
      <dgm:prSet/>
      <dgm:spPr/>
      <dgm:t>
        <a:bodyPr/>
        <a:lstStyle/>
        <a:p>
          <a:endParaRPr lang="en-US"/>
        </a:p>
      </dgm:t>
    </dgm:pt>
    <dgm:pt modelId="{52AA1C8C-1594-4DC3-939A-057C47B6BB39}">
      <dgm:prSet phldrT="[Text]" custT="1"/>
      <dgm:spPr>
        <a:solidFill>
          <a:srgbClr val="808080">
            <a:lumMod val="100000"/>
          </a:srgb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Integrity of Algorithmic Toolsets</a:t>
          </a:r>
        </a:p>
      </dgm:t>
    </dgm:pt>
    <dgm:pt modelId="{A1D34E82-967E-49C3-AE16-AB3D8FC49D78}" type="parTrans" cxnId="{908CF4AF-5EE1-4C2A-97F8-B94D19237795}">
      <dgm:prSet/>
      <dgm:spPr/>
      <dgm:t>
        <a:bodyPr/>
        <a:lstStyle/>
        <a:p>
          <a:endParaRPr lang="en-US"/>
        </a:p>
      </dgm:t>
    </dgm:pt>
    <dgm:pt modelId="{621AF981-28AC-4BD3-8F6C-4CD13A6EE071}" type="sibTrans" cxnId="{908CF4AF-5EE1-4C2A-97F8-B94D19237795}">
      <dgm:prSet/>
      <dgm:spPr/>
      <dgm:t>
        <a:bodyPr/>
        <a:lstStyle/>
        <a:p>
          <a:endParaRPr lang="en-US"/>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dgm:presLayoutVars>
          <dgm:bulletEnabled val="1"/>
        </dgm:presLayoutVars>
      </dgm:prSet>
      <dgm:spPr>
        <a:xfrm>
          <a:off x="439" y="0"/>
          <a:ext cx="856738" cy="273345"/>
        </a:xfrm>
        <a:prstGeom prst="homePlate">
          <a:avLst/>
        </a:prstGeom>
      </dgm:spPr>
    </dgm:pt>
    <dgm:pt modelId="{A37B3827-2C1C-4E4A-95BF-31302553E8E9}" type="pres">
      <dgm:prSet presAssocID="{6D5E303A-7892-43F5-A39F-D1D8869A926B}" presName="parSpace" presStyleCnt="0"/>
      <dgm:spPr/>
    </dgm:pt>
    <dgm:pt modelId="{76212330-C1FC-401E-89CF-68665DE345E5}" type="pres">
      <dgm:prSet presAssocID="{91ECB0DE-5ADB-45DC-9C54-CC3A7FF7A015}" presName="parTxOnly" presStyleLbl="node1" presStyleIdx="1" presStyleCnt="5">
        <dgm:presLayoutVars>
          <dgm:bulletEnabled val="1"/>
        </dgm:presLayoutVars>
      </dgm:prSet>
      <dgm:spPr/>
    </dgm:pt>
    <dgm:pt modelId="{F8D3F44A-76EB-4466-945C-D10F688F3BD6}" type="pres">
      <dgm:prSet presAssocID="{04B8FBB7-1D70-438E-9D79-A7748E1EF1DC}" presName="parSpace" presStyleCnt="0"/>
      <dgm:spPr/>
    </dgm:pt>
    <dgm:pt modelId="{460B59A4-A822-4FC6-99B2-11D29D516C5E}" type="pres">
      <dgm:prSet presAssocID="{D7375FAC-73A2-4C9B-942C-7EFD1098DD92}" presName="parTxOnly" presStyleLbl="node1" presStyleIdx="2" presStyleCnt="5">
        <dgm:presLayoutVars>
          <dgm:bulletEnabled val="1"/>
        </dgm:presLayoutVars>
      </dgm:prSet>
      <dgm:spPr>
        <a:xfrm>
          <a:off x="685830" y="0"/>
          <a:ext cx="856738" cy="273345"/>
        </a:xfrm>
        <a:prstGeom prst="chevron">
          <a:avLst/>
        </a:prstGeom>
      </dgm:spPr>
    </dgm:pt>
    <dgm:pt modelId="{01EB00EB-C197-4568-AAFB-B64BDB6807D3}" type="pres">
      <dgm:prSet presAssocID="{F28C1199-DE0F-4DB5-9E63-CD38CACBFB97}" presName="parSpace" presStyleCnt="0"/>
      <dgm:spPr/>
    </dgm:pt>
    <dgm:pt modelId="{49DC1B39-843B-4442-BC2B-F1D746694542}" type="pres">
      <dgm:prSet presAssocID="{82F33808-1A30-43F3-ADA7-88F15155A521}" presName="parTxOnly" presStyleLbl="node1" presStyleIdx="3" presStyleCnt="5">
        <dgm:presLayoutVars>
          <dgm:bulletEnabled val="1"/>
        </dgm:presLayoutVars>
      </dgm:prSet>
      <dgm:spPr>
        <a:xfrm>
          <a:off x="2974778" y="0"/>
          <a:ext cx="1239226" cy="273345"/>
        </a:xfrm>
        <a:prstGeom prst="chevron">
          <a:avLst/>
        </a:prstGeom>
      </dgm:spPr>
    </dgm:pt>
    <dgm:pt modelId="{8CB24730-FEB9-4460-A86B-185A8000D921}" type="pres">
      <dgm:prSet presAssocID="{1F07D0C1-9AF6-41D5-BDA9-794CCFAD5C27}" presName="parSpace" presStyleCnt="0"/>
      <dgm:spPr/>
    </dgm:pt>
    <dgm:pt modelId="{BBA53C6E-B61D-411B-A1E8-7A6A21A05C13}" type="pres">
      <dgm:prSet presAssocID="{52AA1C8C-1594-4DC3-939A-057C47B6BB39}" presName="parTxOnly" presStyleLbl="node1" presStyleIdx="4" presStyleCnt="5">
        <dgm:presLayoutVars>
          <dgm:bulletEnabled val="1"/>
        </dgm:presLayoutVars>
      </dgm:prSet>
      <dgm:spPr>
        <a:xfrm>
          <a:off x="3966160" y="0"/>
          <a:ext cx="1239226" cy="273345"/>
        </a:xfrm>
        <a:prstGeom prst="chevron">
          <a:avLst/>
        </a:prstGeom>
      </dgm:spPr>
    </dgm:pt>
  </dgm:ptLst>
  <dgm:cxnLst>
    <dgm:cxn modelId="{72F16E02-9447-43E7-8C83-41614DEA635C}" type="presOf" srcId="{52AA1C8C-1594-4DC3-939A-057C47B6BB39}" destId="{BBA53C6E-B61D-411B-A1E8-7A6A21A05C13}" srcOrd="0" destOrd="0" presId="urn:microsoft.com/office/officeart/2005/8/layout/hChevron3"/>
    <dgm:cxn modelId="{28EAC51B-D291-470F-83AD-0EBFEC47B789}" srcId="{6656E1C4-BE68-41DF-90AD-C4D6430C221E}" destId="{82F33808-1A30-43F3-ADA7-88F15155A521}" srcOrd="3" destOrd="0" parTransId="{EE8B952B-957A-4FF7-8CC0-766F8B4F698F}" sibTransId="{1F07D0C1-9AF6-41D5-BDA9-794CCFAD5C27}"/>
    <dgm:cxn modelId="{B8D29136-665A-4FB8-A68C-D28633E6B2ED}" type="presOf" srcId="{D7375FAC-73A2-4C9B-942C-7EFD1098DD92}" destId="{460B59A4-A822-4FC6-99B2-11D29D516C5E}" srcOrd="0" destOrd="0" presId="urn:microsoft.com/office/officeart/2005/8/layout/hChevron3"/>
    <dgm:cxn modelId="{B38FBD47-E3C1-4584-B555-8EF512280E0A}" srcId="{6656E1C4-BE68-41DF-90AD-C4D6430C221E}" destId="{800EE8D8-A9A1-4862-9F1C-0110A712C3D3}" srcOrd="0" destOrd="0" parTransId="{8E3B3157-8DBC-4FED-87D2-FCB0767BFF6D}" sibTransId="{6D5E303A-7892-43F5-A39F-D1D8869A926B}"/>
    <dgm:cxn modelId="{E4AA1674-9D5B-496D-9885-5055A9D3F4F7}" srcId="{6656E1C4-BE68-41DF-90AD-C4D6430C221E}" destId="{91ECB0DE-5ADB-45DC-9C54-CC3A7FF7A015}" srcOrd="1" destOrd="0" parTransId="{44C9CF60-B70E-47A9-9F84-490BE7637D0B}" sibTransId="{04B8FBB7-1D70-438E-9D79-A7748E1EF1DC}"/>
    <dgm:cxn modelId="{AD323487-D6B5-486B-B3A0-13E64C9DFDF1}" type="presOf" srcId="{800EE8D8-A9A1-4862-9F1C-0110A712C3D3}" destId="{9EA7ACE5-1326-4A75-A244-CAF86395FE2E}" srcOrd="0" destOrd="0" presId="urn:microsoft.com/office/officeart/2005/8/layout/hChevron3"/>
    <dgm:cxn modelId="{908CF4AF-5EE1-4C2A-97F8-B94D19237795}" srcId="{6656E1C4-BE68-41DF-90AD-C4D6430C221E}" destId="{52AA1C8C-1594-4DC3-939A-057C47B6BB39}" srcOrd="4" destOrd="0" parTransId="{A1D34E82-967E-49C3-AE16-AB3D8FC49D78}" sibTransId="{621AF981-28AC-4BD3-8F6C-4CD13A6EE071}"/>
    <dgm:cxn modelId="{1C69CDCA-B132-4FA7-91BD-E7E73FD85ADF}" type="presOf" srcId="{91ECB0DE-5ADB-45DC-9C54-CC3A7FF7A015}" destId="{76212330-C1FC-401E-89CF-68665DE345E5}" srcOrd="0" destOrd="0" presId="urn:microsoft.com/office/officeart/2005/8/layout/hChevron3"/>
    <dgm:cxn modelId="{9D7CB5DE-1CDA-4525-8144-51F72EFE5CDC}" srcId="{6656E1C4-BE68-41DF-90AD-C4D6430C221E}" destId="{D7375FAC-73A2-4C9B-942C-7EFD1098DD92}" srcOrd="2" destOrd="0" parTransId="{2082F071-0F56-457E-837A-618DF771E2F0}" sibTransId="{F28C1199-DE0F-4DB5-9E63-CD38CACBFB97}"/>
    <dgm:cxn modelId="{C5972AED-2FB4-431C-8897-495A2F9D9813}" type="presOf" srcId="{6656E1C4-BE68-41DF-90AD-C4D6430C221E}" destId="{B00278D6-6D01-40ED-9662-22AEA09096D1}" srcOrd="0" destOrd="0" presId="urn:microsoft.com/office/officeart/2005/8/layout/hChevron3"/>
    <dgm:cxn modelId="{43064BFE-33F1-42FB-AB5C-443102AB7858}" type="presOf" srcId="{82F33808-1A30-43F3-ADA7-88F15155A521}" destId="{49DC1B39-843B-4442-BC2B-F1D746694542}"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FB81F8B6-9BFD-462A-B6BC-2BD5DE7C37FD}" type="presParOf" srcId="{B00278D6-6D01-40ED-9662-22AEA09096D1}" destId="{A37B3827-2C1C-4E4A-95BF-31302553E8E9}" srcOrd="1" destOrd="0" presId="urn:microsoft.com/office/officeart/2005/8/layout/hChevron3"/>
    <dgm:cxn modelId="{9405182F-7231-4BF2-9AC0-86CF07DABB9B}" type="presParOf" srcId="{B00278D6-6D01-40ED-9662-22AEA09096D1}" destId="{76212330-C1FC-401E-89CF-68665DE345E5}" srcOrd="2" destOrd="0" presId="urn:microsoft.com/office/officeart/2005/8/layout/hChevron3"/>
    <dgm:cxn modelId="{1797C5A2-7223-4F55-AF93-2F4C119BFD0C}" type="presParOf" srcId="{B00278D6-6D01-40ED-9662-22AEA09096D1}" destId="{F8D3F44A-76EB-4466-945C-D10F688F3BD6}" srcOrd="3" destOrd="0" presId="urn:microsoft.com/office/officeart/2005/8/layout/hChevron3"/>
    <dgm:cxn modelId="{AD473710-B2C1-4ECA-BC3F-ED0CA02ACD71}" type="presParOf" srcId="{B00278D6-6D01-40ED-9662-22AEA09096D1}" destId="{460B59A4-A822-4FC6-99B2-11D29D516C5E}" srcOrd="4" destOrd="0" presId="urn:microsoft.com/office/officeart/2005/8/layout/hChevron3"/>
    <dgm:cxn modelId="{A99B4340-D5C3-4FBF-8214-9CA5886C149E}" type="presParOf" srcId="{B00278D6-6D01-40ED-9662-22AEA09096D1}" destId="{01EB00EB-C197-4568-AAFB-B64BDB6807D3}" srcOrd="5" destOrd="0" presId="urn:microsoft.com/office/officeart/2005/8/layout/hChevron3"/>
    <dgm:cxn modelId="{35CC5DFC-E60F-4B68-AC0E-3B6CB3AEC912}" type="presParOf" srcId="{B00278D6-6D01-40ED-9662-22AEA09096D1}" destId="{49DC1B39-843B-4442-BC2B-F1D746694542}" srcOrd="6" destOrd="0" presId="urn:microsoft.com/office/officeart/2005/8/layout/hChevron3"/>
    <dgm:cxn modelId="{611A0578-BAD6-470C-BC39-B602496494F7}" type="presParOf" srcId="{B00278D6-6D01-40ED-9662-22AEA09096D1}" destId="{8CB24730-FEB9-4460-A86B-185A8000D921}" srcOrd="7" destOrd="0" presId="urn:microsoft.com/office/officeart/2005/8/layout/hChevron3"/>
    <dgm:cxn modelId="{095D4059-F926-45A9-BB6A-2C1006ADAB3C}" type="presParOf" srcId="{B00278D6-6D01-40ED-9662-22AEA09096D1}" destId="{BBA53C6E-B61D-411B-A1E8-7A6A21A05C13}" srcOrd="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656E1C4-BE68-41DF-90AD-C4D6430C221E}" type="doc">
      <dgm:prSet loTypeId="urn:microsoft.com/office/officeart/2005/8/layout/hChevron3" loCatId="process" qsTypeId="urn:microsoft.com/office/officeart/2005/8/quickstyle/simple1" qsCatId="simple" csTypeId="urn:microsoft.com/office/officeart/2005/8/colors/accent1_2" csCatId="accent1" phldr="1"/>
      <dgm:spPr/>
    </dgm:pt>
    <dgm:pt modelId="{800EE8D8-A9A1-4862-9F1C-0110A712C3D3}">
      <dgm:prSet phldrT="[Text]" custT="1"/>
      <dgm:spPr>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uality Management</a:t>
          </a:r>
        </a:p>
      </dgm:t>
    </dgm:pt>
    <dgm:pt modelId="{8E3B3157-8DBC-4FED-87D2-FCB0767BFF6D}" type="parTrans" cxnId="{B38FBD47-E3C1-4584-B555-8EF512280E0A}">
      <dgm:prSet/>
      <dgm:spPr/>
      <dgm:t>
        <a:bodyPr/>
        <a:lstStyle/>
        <a:p>
          <a:endParaRPr lang="en-US">
            <a:latin typeface="+mn-lt"/>
          </a:endParaRPr>
        </a:p>
      </dgm:t>
    </dgm:pt>
    <dgm:pt modelId="{6D5E303A-7892-43F5-A39F-D1D8869A926B}" type="sibTrans" cxnId="{B38FBD47-E3C1-4584-B555-8EF512280E0A}">
      <dgm:prSet/>
      <dgm:spPr/>
      <dgm:t>
        <a:bodyPr/>
        <a:lstStyle/>
        <a:p>
          <a:endParaRPr lang="en-US">
            <a:latin typeface="+mn-lt"/>
          </a:endParaRPr>
        </a:p>
      </dgm:t>
    </dgm:pt>
    <dgm:pt modelId="{D7375FAC-73A2-4C9B-942C-7EFD1098DD92}">
      <dgm:prSet phldrT="[Text]" custT="1"/>
      <dgm:spPr>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Data Protection</a:t>
          </a:r>
        </a:p>
      </dgm:t>
    </dgm:pt>
    <dgm:pt modelId="{2082F071-0F56-457E-837A-618DF771E2F0}" type="parTrans" cxnId="{9D7CB5DE-1CDA-4525-8144-51F72EFE5CDC}">
      <dgm:prSet/>
      <dgm:spPr/>
      <dgm:t>
        <a:bodyPr/>
        <a:lstStyle/>
        <a:p>
          <a:endParaRPr lang="en-US">
            <a:latin typeface="+mn-lt"/>
          </a:endParaRPr>
        </a:p>
      </dgm:t>
    </dgm:pt>
    <dgm:pt modelId="{F28C1199-DE0F-4DB5-9E63-CD38CACBFB97}" type="sibTrans" cxnId="{9D7CB5DE-1CDA-4525-8144-51F72EFE5CDC}">
      <dgm:prSet/>
      <dgm:spPr/>
      <dgm:t>
        <a:bodyPr/>
        <a:lstStyle/>
        <a:p>
          <a:endParaRPr lang="en-US">
            <a:latin typeface="+mn-lt"/>
          </a:endParaRPr>
        </a:p>
      </dgm:t>
    </dgm:pt>
    <dgm:pt modelId="{82F33808-1A30-43F3-ADA7-88F15155A521}">
      <dgm:prSet phldrT="[Text]" custT="1"/>
      <dgm:spPr>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Risk Management Details</a:t>
          </a:r>
        </a:p>
      </dgm:t>
    </dgm:pt>
    <dgm:pt modelId="{EE8B952B-957A-4FF7-8CC0-766F8B4F698F}" type="parTrans" cxnId="{28EAC51B-D291-470F-83AD-0EBFEC47B789}">
      <dgm:prSet/>
      <dgm:spPr/>
      <dgm:t>
        <a:bodyPr/>
        <a:lstStyle/>
        <a:p>
          <a:endParaRPr lang="en-US">
            <a:latin typeface="+mn-lt"/>
          </a:endParaRPr>
        </a:p>
      </dgm:t>
    </dgm:pt>
    <dgm:pt modelId="{1F07D0C1-9AF6-41D5-BDA9-794CCFAD5C27}" type="sibTrans" cxnId="{28EAC51B-D291-470F-83AD-0EBFEC47B789}">
      <dgm:prSet/>
      <dgm:spPr/>
      <dgm:t>
        <a:bodyPr/>
        <a:lstStyle/>
        <a:p>
          <a:endParaRPr lang="en-US">
            <a:latin typeface="+mn-lt"/>
          </a:endParaRPr>
        </a:p>
      </dgm:t>
    </dgm:pt>
    <dgm:pt modelId="{91ECB0DE-5ADB-45DC-9C54-CC3A7FF7A015}">
      <dgm:prSet phldrT="[Text]" custT="1"/>
      <dgm:spPr>
        <a:xfrm>
          <a:off x="5001021" y="2084652"/>
          <a:ext cx="3123406" cy="1249362"/>
        </a:xfrm>
        <a:solidFill>
          <a:schemeClr val="bg2">
            <a:lumMod val="100000"/>
          </a:schemeClr>
        </a:solidFill>
        <a:ln w="12700" cap="flat" cmpd="sng" algn="ctr">
          <a:solidFill>
            <a:sysClr val="window" lastClr="FFFFFF">
              <a:hueOff val="0"/>
              <a:satOff val="0"/>
              <a:lumOff val="0"/>
              <a:alphaOff val="0"/>
            </a:sysClr>
          </a:solidFill>
          <a:prstDash val="solid"/>
          <a:miter lim="800000"/>
        </a:ln>
        <a:effectLst/>
      </dgm:spPr>
      <dgm:t>
        <a:bodyPr/>
        <a:lstStyle/>
        <a:p>
          <a:pPr marL="0" lvl="0" indent="0" algn="ctr" defTabSz="266700">
            <a:lnSpc>
              <a:spcPct val="90000"/>
            </a:lnSpc>
            <a:spcBef>
              <a:spcPct val="0"/>
            </a:spcBef>
            <a:spcAft>
              <a:spcPct val="35000"/>
            </a:spcAft>
            <a:buNone/>
          </a:pPr>
          <a:r>
            <a:rPr lang="en-US" sz="600" kern="1200">
              <a:solidFill>
                <a:schemeClr val="tx2"/>
              </a:solidFill>
              <a:latin typeface="+mn-lt"/>
              <a:ea typeface="+mn-ea"/>
              <a:cs typeface="+mn-cs"/>
            </a:rPr>
            <a:t>Business Continuity &amp; Disaster Recovery</a:t>
          </a:r>
          <a:endParaRPr lang="en-US" sz="600" kern="1200">
            <a:solidFill>
              <a:schemeClr val="tx2"/>
            </a:solidFill>
            <a:latin typeface="EYInterstate Light"/>
            <a:ea typeface="+mn-ea"/>
            <a:cs typeface="+mn-cs"/>
          </a:endParaRPr>
        </a:p>
      </dgm:t>
    </dgm:pt>
    <dgm:pt modelId="{44C9CF60-B70E-47A9-9F84-490BE7637D0B}" type="parTrans" cxnId="{E4AA1674-9D5B-496D-9885-5055A9D3F4F7}">
      <dgm:prSet/>
      <dgm:spPr/>
      <dgm:t>
        <a:bodyPr/>
        <a:lstStyle/>
        <a:p>
          <a:endParaRPr lang="en-US"/>
        </a:p>
      </dgm:t>
    </dgm:pt>
    <dgm:pt modelId="{04B8FBB7-1D70-438E-9D79-A7748E1EF1DC}" type="sibTrans" cxnId="{E4AA1674-9D5B-496D-9885-5055A9D3F4F7}">
      <dgm:prSet/>
      <dgm:spPr/>
      <dgm:t>
        <a:bodyPr/>
        <a:lstStyle/>
        <a:p>
          <a:endParaRPr lang="en-US"/>
        </a:p>
      </dgm:t>
    </dgm:pt>
    <dgm:pt modelId="{52AA1C8C-1594-4DC3-939A-057C47B6BB39}">
      <dgm:prSet phldrT="[Text]" custT="1"/>
      <dgm:spPr>
        <a:solidFill>
          <a:schemeClr val="accent2">
            <a:lumMod val="100000"/>
          </a:schemeClr>
        </a:solidFill>
        <a:ln w="12700" cap="flat" cmpd="sng" algn="ctr">
          <a:solidFill>
            <a:sysClr val="window" lastClr="FFFFFF">
              <a:hueOff val="0"/>
              <a:satOff val="0"/>
              <a:lumOff val="0"/>
              <a:alphaOff val="0"/>
            </a:sysClr>
          </a:solidFill>
          <a:prstDash val="solid"/>
          <a:miter lim="800000"/>
        </a:ln>
        <a:effectLst/>
      </dgm:spPr>
      <dgm:t>
        <a:bodyPr spcFirstLastPara="0" vert="horz" wrap="square" lIns="24003" tIns="16002" rIns="8001" bIns="16002" numCol="1" spcCol="1270" anchor="ctr" anchorCtr="0"/>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Integrity of Algorithmic Toolsets</a:t>
          </a:r>
        </a:p>
      </dgm:t>
    </dgm:pt>
    <dgm:pt modelId="{A1D34E82-967E-49C3-AE16-AB3D8FC49D78}" type="parTrans" cxnId="{908CF4AF-5EE1-4C2A-97F8-B94D19237795}">
      <dgm:prSet/>
      <dgm:spPr/>
      <dgm:t>
        <a:bodyPr/>
        <a:lstStyle/>
        <a:p>
          <a:endParaRPr lang="en-US"/>
        </a:p>
      </dgm:t>
    </dgm:pt>
    <dgm:pt modelId="{621AF981-28AC-4BD3-8F6C-4CD13A6EE071}" type="sibTrans" cxnId="{908CF4AF-5EE1-4C2A-97F8-B94D19237795}">
      <dgm:prSet/>
      <dgm:spPr/>
      <dgm:t>
        <a:bodyPr/>
        <a:lstStyle/>
        <a:p>
          <a:endParaRPr lang="en-US"/>
        </a:p>
      </dgm:t>
    </dgm:pt>
    <dgm:pt modelId="{B00278D6-6D01-40ED-9662-22AEA09096D1}" type="pres">
      <dgm:prSet presAssocID="{6656E1C4-BE68-41DF-90AD-C4D6430C221E}" presName="Name0" presStyleCnt="0">
        <dgm:presLayoutVars>
          <dgm:dir/>
          <dgm:resizeHandles val="exact"/>
        </dgm:presLayoutVars>
      </dgm:prSet>
      <dgm:spPr/>
    </dgm:pt>
    <dgm:pt modelId="{9EA7ACE5-1326-4A75-A244-CAF86395FE2E}" type="pres">
      <dgm:prSet presAssocID="{800EE8D8-A9A1-4862-9F1C-0110A712C3D3}" presName="parTxOnly" presStyleLbl="node1" presStyleIdx="0" presStyleCnt="5">
        <dgm:presLayoutVars>
          <dgm:bulletEnabled val="1"/>
        </dgm:presLayoutVars>
      </dgm:prSet>
      <dgm:spPr>
        <a:xfrm>
          <a:off x="439" y="0"/>
          <a:ext cx="856738" cy="273345"/>
        </a:xfrm>
        <a:prstGeom prst="homePlate">
          <a:avLst/>
        </a:prstGeom>
      </dgm:spPr>
    </dgm:pt>
    <dgm:pt modelId="{A37B3827-2C1C-4E4A-95BF-31302553E8E9}" type="pres">
      <dgm:prSet presAssocID="{6D5E303A-7892-43F5-A39F-D1D8869A926B}" presName="parSpace" presStyleCnt="0"/>
      <dgm:spPr/>
    </dgm:pt>
    <dgm:pt modelId="{76212330-C1FC-401E-89CF-68665DE345E5}" type="pres">
      <dgm:prSet presAssocID="{91ECB0DE-5ADB-45DC-9C54-CC3A7FF7A015}" presName="parTxOnly" presStyleLbl="node1" presStyleIdx="1" presStyleCnt="5">
        <dgm:presLayoutVars>
          <dgm:bulletEnabled val="1"/>
        </dgm:presLayoutVars>
      </dgm:prSet>
      <dgm:spPr/>
    </dgm:pt>
    <dgm:pt modelId="{F8D3F44A-76EB-4466-945C-D10F688F3BD6}" type="pres">
      <dgm:prSet presAssocID="{04B8FBB7-1D70-438E-9D79-A7748E1EF1DC}" presName="parSpace" presStyleCnt="0"/>
      <dgm:spPr/>
    </dgm:pt>
    <dgm:pt modelId="{460B59A4-A822-4FC6-99B2-11D29D516C5E}" type="pres">
      <dgm:prSet presAssocID="{D7375FAC-73A2-4C9B-942C-7EFD1098DD92}" presName="parTxOnly" presStyleLbl="node1" presStyleIdx="2" presStyleCnt="5">
        <dgm:presLayoutVars>
          <dgm:bulletEnabled val="1"/>
        </dgm:presLayoutVars>
      </dgm:prSet>
      <dgm:spPr>
        <a:xfrm>
          <a:off x="685830" y="0"/>
          <a:ext cx="856738" cy="273345"/>
        </a:xfrm>
        <a:prstGeom prst="chevron">
          <a:avLst/>
        </a:prstGeom>
      </dgm:spPr>
    </dgm:pt>
    <dgm:pt modelId="{01EB00EB-C197-4568-AAFB-B64BDB6807D3}" type="pres">
      <dgm:prSet presAssocID="{F28C1199-DE0F-4DB5-9E63-CD38CACBFB97}" presName="parSpace" presStyleCnt="0"/>
      <dgm:spPr/>
    </dgm:pt>
    <dgm:pt modelId="{49DC1B39-843B-4442-BC2B-F1D746694542}" type="pres">
      <dgm:prSet presAssocID="{82F33808-1A30-43F3-ADA7-88F15155A521}" presName="parTxOnly" presStyleLbl="node1" presStyleIdx="3" presStyleCnt="5">
        <dgm:presLayoutVars>
          <dgm:bulletEnabled val="1"/>
        </dgm:presLayoutVars>
      </dgm:prSet>
      <dgm:spPr>
        <a:xfrm>
          <a:off x="2974778" y="0"/>
          <a:ext cx="1239226" cy="273345"/>
        </a:xfrm>
        <a:prstGeom prst="chevron">
          <a:avLst/>
        </a:prstGeom>
      </dgm:spPr>
    </dgm:pt>
    <dgm:pt modelId="{8CB24730-FEB9-4460-A86B-185A8000D921}" type="pres">
      <dgm:prSet presAssocID="{1F07D0C1-9AF6-41D5-BDA9-794CCFAD5C27}" presName="parSpace" presStyleCnt="0"/>
      <dgm:spPr/>
    </dgm:pt>
    <dgm:pt modelId="{BBA53C6E-B61D-411B-A1E8-7A6A21A05C13}" type="pres">
      <dgm:prSet presAssocID="{52AA1C8C-1594-4DC3-939A-057C47B6BB39}" presName="parTxOnly" presStyleLbl="node1" presStyleIdx="4" presStyleCnt="5">
        <dgm:presLayoutVars>
          <dgm:bulletEnabled val="1"/>
        </dgm:presLayoutVars>
      </dgm:prSet>
      <dgm:spPr>
        <a:xfrm>
          <a:off x="3966160" y="0"/>
          <a:ext cx="1239226" cy="273345"/>
        </a:xfrm>
        <a:prstGeom prst="chevron">
          <a:avLst/>
        </a:prstGeom>
      </dgm:spPr>
    </dgm:pt>
  </dgm:ptLst>
  <dgm:cxnLst>
    <dgm:cxn modelId="{72F16E02-9447-43E7-8C83-41614DEA635C}" type="presOf" srcId="{52AA1C8C-1594-4DC3-939A-057C47B6BB39}" destId="{BBA53C6E-B61D-411B-A1E8-7A6A21A05C13}" srcOrd="0" destOrd="0" presId="urn:microsoft.com/office/officeart/2005/8/layout/hChevron3"/>
    <dgm:cxn modelId="{28EAC51B-D291-470F-83AD-0EBFEC47B789}" srcId="{6656E1C4-BE68-41DF-90AD-C4D6430C221E}" destId="{82F33808-1A30-43F3-ADA7-88F15155A521}" srcOrd="3" destOrd="0" parTransId="{EE8B952B-957A-4FF7-8CC0-766F8B4F698F}" sibTransId="{1F07D0C1-9AF6-41D5-BDA9-794CCFAD5C27}"/>
    <dgm:cxn modelId="{B8D29136-665A-4FB8-A68C-D28633E6B2ED}" type="presOf" srcId="{D7375FAC-73A2-4C9B-942C-7EFD1098DD92}" destId="{460B59A4-A822-4FC6-99B2-11D29D516C5E}" srcOrd="0" destOrd="0" presId="urn:microsoft.com/office/officeart/2005/8/layout/hChevron3"/>
    <dgm:cxn modelId="{B38FBD47-E3C1-4584-B555-8EF512280E0A}" srcId="{6656E1C4-BE68-41DF-90AD-C4D6430C221E}" destId="{800EE8D8-A9A1-4862-9F1C-0110A712C3D3}" srcOrd="0" destOrd="0" parTransId="{8E3B3157-8DBC-4FED-87D2-FCB0767BFF6D}" sibTransId="{6D5E303A-7892-43F5-A39F-D1D8869A926B}"/>
    <dgm:cxn modelId="{E4AA1674-9D5B-496D-9885-5055A9D3F4F7}" srcId="{6656E1C4-BE68-41DF-90AD-C4D6430C221E}" destId="{91ECB0DE-5ADB-45DC-9C54-CC3A7FF7A015}" srcOrd="1" destOrd="0" parTransId="{44C9CF60-B70E-47A9-9F84-490BE7637D0B}" sibTransId="{04B8FBB7-1D70-438E-9D79-A7748E1EF1DC}"/>
    <dgm:cxn modelId="{AD323487-D6B5-486B-B3A0-13E64C9DFDF1}" type="presOf" srcId="{800EE8D8-A9A1-4862-9F1C-0110A712C3D3}" destId="{9EA7ACE5-1326-4A75-A244-CAF86395FE2E}" srcOrd="0" destOrd="0" presId="urn:microsoft.com/office/officeart/2005/8/layout/hChevron3"/>
    <dgm:cxn modelId="{908CF4AF-5EE1-4C2A-97F8-B94D19237795}" srcId="{6656E1C4-BE68-41DF-90AD-C4D6430C221E}" destId="{52AA1C8C-1594-4DC3-939A-057C47B6BB39}" srcOrd="4" destOrd="0" parTransId="{A1D34E82-967E-49C3-AE16-AB3D8FC49D78}" sibTransId="{621AF981-28AC-4BD3-8F6C-4CD13A6EE071}"/>
    <dgm:cxn modelId="{1C69CDCA-B132-4FA7-91BD-E7E73FD85ADF}" type="presOf" srcId="{91ECB0DE-5ADB-45DC-9C54-CC3A7FF7A015}" destId="{76212330-C1FC-401E-89CF-68665DE345E5}" srcOrd="0" destOrd="0" presId="urn:microsoft.com/office/officeart/2005/8/layout/hChevron3"/>
    <dgm:cxn modelId="{9D7CB5DE-1CDA-4525-8144-51F72EFE5CDC}" srcId="{6656E1C4-BE68-41DF-90AD-C4D6430C221E}" destId="{D7375FAC-73A2-4C9B-942C-7EFD1098DD92}" srcOrd="2" destOrd="0" parTransId="{2082F071-0F56-457E-837A-618DF771E2F0}" sibTransId="{F28C1199-DE0F-4DB5-9E63-CD38CACBFB97}"/>
    <dgm:cxn modelId="{C5972AED-2FB4-431C-8897-495A2F9D9813}" type="presOf" srcId="{6656E1C4-BE68-41DF-90AD-C4D6430C221E}" destId="{B00278D6-6D01-40ED-9662-22AEA09096D1}" srcOrd="0" destOrd="0" presId="urn:microsoft.com/office/officeart/2005/8/layout/hChevron3"/>
    <dgm:cxn modelId="{43064BFE-33F1-42FB-AB5C-443102AB7858}" type="presOf" srcId="{82F33808-1A30-43F3-ADA7-88F15155A521}" destId="{49DC1B39-843B-4442-BC2B-F1D746694542}" srcOrd="0" destOrd="0" presId="urn:microsoft.com/office/officeart/2005/8/layout/hChevron3"/>
    <dgm:cxn modelId="{A571BC4D-A32F-4969-BAC8-CFE69D982D00}" type="presParOf" srcId="{B00278D6-6D01-40ED-9662-22AEA09096D1}" destId="{9EA7ACE5-1326-4A75-A244-CAF86395FE2E}" srcOrd="0" destOrd="0" presId="urn:microsoft.com/office/officeart/2005/8/layout/hChevron3"/>
    <dgm:cxn modelId="{FB81F8B6-9BFD-462A-B6BC-2BD5DE7C37FD}" type="presParOf" srcId="{B00278D6-6D01-40ED-9662-22AEA09096D1}" destId="{A37B3827-2C1C-4E4A-95BF-31302553E8E9}" srcOrd="1" destOrd="0" presId="urn:microsoft.com/office/officeart/2005/8/layout/hChevron3"/>
    <dgm:cxn modelId="{9405182F-7231-4BF2-9AC0-86CF07DABB9B}" type="presParOf" srcId="{B00278D6-6D01-40ED-9662-22AEA09096D1}" destId="{76212330-C1FC-401E-89CF-68665DE345E5}" srcOrd="2" destOrd="0" presId="urn:microsoft.com/office/officeart/2005/8/layout/hChevron3"/>
    <dgm:cxn modelId="{1797C5A2-7223-4F55-AF93-2F4C119BFD0C}" type="presParOf" srcId="{B00278D6-6D01-40ED-9662-22AEA09096D1}" destId="{F8D3F44A-76EB-4466-945C-D10F688F3BD6}" srcOrd="3" destOrd="0" presId="urn:microsoft.com/office/officeart/2005/8/layout/hChevron3"/>
    <dgm:cxn modelId="{AD473710-B2C1-4ECA-BC3F-ED0CA02ACD71}" type="presParOf" srcId="{B00278D6-6D01-40ED-9662-22AEA09096D1}" destId="{460B59A4-A822-4FC6-99B2-11D29D516C5E}" srcOrd="4" destOrd="0" presId="urn:microsoft.com/office/officeart/2005/8/layout/hChevron3"/>
    <dgm:cxn modelId="{A99B4340-D5C3-4FBF-8214-9CA5886C149E}" type="presParOf" srcId="{B00278D6-6D01-40ED-9662-22AEA09096D1}" destId="{01EB00EB-C197-4568-AAFB-B64BDB6807D3}" srcOrd="5" destOrd="0" presId="urn:microsoft.com/office/officeart/2005/8/layout/hChevron3"/>
    <dgm:cxn modelId="{35CC5DFC-E60F-4B68-AC0E-3B6CB3AEC912}" type="presParOf" srcId="{B00278D6-6D01-40ED-9662-22AEA09096D1}" destId="{49DC1B39-843B-4442-BC2B-F1D746694542}" srcOrd="6" destOrd="0" presId="urn:microsoft.com/office/officeart/2005/8/layout/hChevron3"/>
    <dgm:cxn modelId="{611A0578-BAD6-470C-BC39-B602496494F7}" type="presParOf" srcId="{B00278D6-6D01-40ED-9662-22AEA09096D1}" destId="{8CB24730-FEB9-4460-A86B-185A8000D921}" srcOrd="7" destOrd="0" presId="urn:microsoft.com/office/officeart/2005/8/layout/hChevron3"/>
    <dgm:cxn modelId="{095D4059-F926-45A9-BB6A-2C1006ADAB3C}" type="presParOf" srcId="{B00278D6-6D01-40ED-9662-22AEA09096D1}" destId="{BBA53C6E-B61D-411B-A1E8-7A6A21A05C13}" srcOrd="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1859" y="0"/>
          <a:ext cx="1626247" cy="257453"/>
        </a:xfrm>
        <a:prstGeom prst="homePlate">
          <a:avLst/>
        </a:prstGeom>
        <a:solidFill>
          <a:schemeClr val="accent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1"/>
              </a:solidFill>
              <a:latin typeface="EYInterstate Light"/>
              <a:ea typeface="+mn-ea"/>
              <a:cs typeface="+mn-cs"/>
            </a:rPr>
            <a:t>Q1. General</a:t>
          </a:r>
        </a:p>
      </dsp:txBody>
      <dsp:txXfrm>
        <a:off x="1859" y="0"/>
        <a:ext cx="1561884" cy="257453"/>
      </dsp:txXfrm>
    </dsp:sp>
    <dsp:sp modelId="{76212330-C1FC-401E-89CF-68665DE345E5}">
      <dsp:nvSpPr>
        <dsp:cNvPr id="0" name=""/>
        <dsp:cNvSpPr/>
      </dsp:nvSpPr>
      <dsp:spPr>
        <a:xfrm>
          <a:off x="1302858" y="0"/>
          <a:ext cx="1626247" cy="257453"/>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Q2. Team (Depth, Flexibility &amp; Skills</a:t>
          </a:r>
          <a:endParaRPr lang="en-US" sz="600" kern="1200">
            <a:solidFill>
              <a:sysClr val="window" lastClr="FFFFFF"/>
            </a:solidFill>
            <a:latin typeface="EYInterstate Light"/>
            <a:ea typeface="+mn-ea"/>
            <a:cs typeface="+mn-cs"/>
          </a:endParaRPr>
        </a:p>
      </dsp:txBody>
      <dsp:txXfrm>
        <a:off x="1431585" y="0"/>
        <a:ext cx="1368794" cy="257453"/>
      </dsp:txXfrm>
    </dsp:sp>
    <dsp:sp modelId="{49DC1B39-843B-4442-BC2B-F1D746694542}">
      <dsp:nvSpPr>
        <dsp:cNvPr id="0" name=""/>
        <dsp:cNvSpPr/>
      </dsp:nvSpPr>
      <dsp:spPr>
        <a:xfrm>
          <a:off x="2603856" y="0"/>
          <a:ext cx="1626247" cy="257453"/>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Q3. Assets, Tools &amp; Accelerators</a:t>
          </a:r>
        </a:p>
      </dsp:txBody>
      <dsp:txXfrm>
        <a:off x="2732583" y="0"/>
        <a:ext cx="1368794" cy="25745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AC0573-3B16-4903-AC95-11AAA3CF39AF}">
      <dsp:nvSpPr>
        <dsp:cNvPr id="0" name=""/>
        <dsp:cNvSpPr/>
      </dsp:nvSpPr>
      <dsp:spPr>
        <a:xfrm>
          <a:off x="2982313" y="1241"/>
          <a:ext cx="1039705" cy="675808"/>
        </a:xfrm>
        <a:prstGeom prst="roundRect">
          <a:avLst/>
        </a:prstGeom>
        <a:solidFill>
          <a:schemeClr val="tx2"/>
        </a:solidFill>
        <a:ln w="12700" cap="flat" cmpd="sng" algn="ctr">
          <a:solidFill>
            <a:schemeClr val="accent2"/>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chemeClr val="tx1"/>
              </a:solidFill>
              <a:latin typeface="+mj-lt"/>
            </a:rPr>
            <a:t>1. Engage Business Stakeholders early on the journey</a:t>
          </a:r>
        </a:p>
      </dsp:txBody>
      <dsp:txXfrm>
        <a:off x="3015303" y="34231"/>
        <a:ext cx="973725" cy="609828"/>
      </dsp:txXfrm>
    </dsp:sp>
    <dsp:sp modelId="{3CB00855-AA4F-46B8-92FA-546E58A2E864}">
      <dsp:nvSpPr>
        <dsp:cNvPr id="0" name=""/>
        <dsp:cNvSpPr/>
      </dsp:nvSpPr>
      <dsp:spPr>
        <a:xfrm>
          <a:off x="903579" y="339145"/>
          <a:ext cx="5197173" cy="5197173"/>
        </a:xfrm>
        <a:custGeom>
          <a:avLst/>
          <a:gdLst/>
          <a:ahLst/>
          <a:cxnLst/>
          <a:rect l="0" t="0" r="0" b="0"/>
          <a:pathLst>
            <a:path>
              <a:moveTo>
                <a:pt x="3125002" y="53878"/>
              </a:moveTo>
              <a:arcTo wR="2598586" hR="2598586" stAng="16901263" swAng="871038"/>
            </a:path>
          </a:pathLst>
        </a:custGeom>
        <a:noFill/>
        <a:ln w="57150" cap="flat" cmpd="sng" algn="ctr">
          <a:solidFill>
            <a:schemeClr val="accent6"/>
          </a:solidFill>
          <a:prstDash val="solid"/>
          <a:miter lim="800000"/>
        </a:ln>
        <a:effectLst/>
      </dsp:spPr>
      <dsp:style>
        <a:lnRef idx="2">
          <a:schemeClr val="accent6"/>
        </a:lnRef>
        <a:fillRef idx="0">
          <a:schemeClr val="accent6"/>
        </a:fillRef>
        <a:effectRef idx="1">
          <a:schemeClr val="accent6"/>
        </a:effectRef>
        <a:fontRef idx="minor">
          <a:schemeClr val="tx1"/>
        </a:fontRef>
      </dsp:style>
    </dsp:sp>
    <dsp:sp modelId="{5BC7387E-1305-4DAC-9802-76B8EE8EB43A}">
      <dsp:nvSpPr>
        <dsp:cNvPr id="0" name=""/>
        <dsp:cNvSpPr/>
      </dsp:nvSpPr>
      <dsp:spPr>
        <a:xfrm>
          <a:off x="4652652" y="609195"/>
          <a:ext cx="1039705" cy="675808"/>
        </a:xfrm>
        <a:prstGeom prst="roundRect">
          <a:avLst/>
        </a:prstGeom>
        <a:solidFill>
          <a:schemeClr val="tx2"/>
        </a:solidFill>
        <a:ln w="12700" cap="flat" cmpd="sng" algn="ctr">
          <a:solidFill>
            <a:schemeClr val="accent2"/>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chemeClr val="tx1"/>
              </a:solidFill>
              <a:latin typeface="+mj-lt"/>
            </a:rPr>
            <a:t>2. Engage Design Authority Stakeholders early</a:t>
          </a:r>
        </a:p>
      </dsp:txBody>
      <dsp:txXfrm>
        <a:off x="4685642" y="642185"/>
        <a:ext cx="973725" cy="609828"/>
      </dsp:txXfrm>
    </dsp:sp>
    <dsp:sp modelId="{27B2E1E4-C0EE-483C-BC20-D15D0EBF033A}">
      <dsp:nvSpPr>
        <dsp:cNvPr id="0" name=""/>
        <dsp:cNvSpPr/>
      </dsp:nvSpPr>
      <dsp:spPr>
        <a:xfrm>
          <a:off x="903579" y="339145"/>
          <a:ext cx="5197173" cy="5197173"/>
        </a:xfrm>
        <a:custGeom>
          <a:avLst/>
          <a:gdLst/>
          <a:ahLst/>
          <a:cxnLst/>
          <a:rect l="0" t="0" r="0" b="0"/>
          <a:pathLst>
            <a:path>
              <a:moveTo>
                <a:pt x="4610106" y="953459"/>
              </a:moveTo>
              <a:arcTo wR="2598586" hR="2598586" stAng="19243312" swAng="1282944"/>
            </a:path>
          </a:pathLst>
        </a:custGeom>
        <a:noFill/>
        <a:ln w="57150" cap="flat" cmpd="sng" algn="ctr">
          <a:solidFill>
            <a:schemeClr val="accent6"/>
          </a:solidFill>
          <a:prstDash val="solid"/>
          <a:miter lim="800000"/>
        </a:ln>
        <a:effectLst/>
      </dsp:spPr>
      <dsp:style>
        <a:lnRef idx="2">
          <a:schemeClr val="accent6"/>
        </a:lnRef>
        <a:fillRef idx="0">
          <a:schemeClr val="accent6"/>
        </a:fillRef>
        <a:effectRef idx="1">
          <a:schemeClr val="accent6"/>
        </a:effectRef>
        <a:fontRef idx="minor">
          <a:schemeClr val="tx1"/>
        </a:fontRef>
      </dsp:style>
    </dsp:sp>
    <dsp:sp modelId="{096DB13C-C3BA-4BEE-813F-53400749BDEC}">
      <dsp:nvSpPr>
        <dsp:cNvPr id="0" name=""/>
        <dsp:cNvSpPr/>
      </dsp:nvSpPr>
      <dsp:spPr>
        <a:xfrm>
          <a:off x="5541421" y="2148588"/>
          <a:ext cx="1039705" cy="675808"/>
        </a:xfrm>
        <a:prstGeom prst="roundRect">
          <a:avLst/>
        </a:prstGeom>
        <a:solidFill>
          <a:schemeClr val="tx2"/>
        </a:solidFill>
        <a:ln w="12700" cap="flat" cmpd="sng" algn="ctr">
          <a:solidFill>
            <a:schemeClr val="accent2"/>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chemeClr val="tx1"/>
              </a:solidFill>
              <a:latin typeface="+mj-lt"/>
            </a:rPr>
            <a:t>3. Only use approved AIA Group Approved Azure Services</a:t>
          </a:r>
        </a:p>
      </dsp:txBody>
      <dsp:txXfrm>
        <a:off x="5574411" y="2181578"/>
        <a:ext cx="973725" cy="609828"/>
      </dsp:txXfrm>
    </dsp:sp>
    <dsp:sp modelId="{D1FCBF35-9F25-4CF7-A149-535B61AC231E}">
      <dsp:nvSpPr>
        <dsp:cNvPr id="0" name=""/>
        <dsp:cNvSpPr/>
      </dsp:nvSpPr>
      <dsp:spPr>
        <a:xfrm>
          <a:off x="903579" y="339145"/>
          <a:ext cx="5197173" cy="5197173"/>
        </a:xfrm>
        <a:custGeom>
          <a:avLst/>
          <a:gdLst/>
          <a:ahLst/>
          <a:cxnLst/>
          <a:rect l="0" t="0" r="0" b="0"/>
          <a:pathLst>
            <a:path>
              <a:moveTo>
                <a:pt x="5195153" y="2496142"/>
              </a:moveTo>
              <a:arcTo wR="2598586" hR="2598586" stAng="21464438" swAng="1423954"/>
            </a:path>
          </a:pathLst>
        </a:custGeom>
        <a:noFill/>
        <a:ln w="57150" cap="flat" cmpd="sng" algn="ctr">
          <a:solidFill>
            <a:schemeClr val="accent6"/>
          </a:solidFill>
          <a:prstDash val="solid"/>
          <a:miter lim="800000"/>
        </a:ln>
        <a:effectLst/>
      </dsp:spPr>
      <dsp:style>
        <a:lnRef idx="2">
          <a:schemeClr val="accent6"/>
        </a:lnRef>
        <a:fillRef idx="0">
          <a:schemeClr val="accent6"/>
        </a:fillRef>
        <a:effectRef idx="1">
          <a:schemeClr val="accent6"/>
        </a:effectRef>
        <a:fontRef idx="minor">
          <a:schemeClr val="tx1"/>
        </a:fontRef>
      </dsp:style>
    </dsp:sp>
    <dsp:sp modelId="{F684140D-54AC-485D-91B5-6C17ADDB2DBF}">
      <dsp:nvSpPr>
        <dsp:cNvPr id="0" name=""/>
        <dsp:cNvSpPr/>
      </dsp:nvSpPr>
      <dsp:spPr>
        <a:xfrm>
          <a:off x="5232755" y="3899121"/>
          <a:ext cx="1039705" cy="675808"/>
        </a:xfrm>
        <a:prstGeom prst="roundRect">
          <a:avLst/>
        </a:prstGeom>
        <a:solidFill>
          <a:schemeClr val="tx2"/>
        </a:solidFill>
        <a:ln w="12700" cap="flat" cmpd="sng" algn="ctr">
          <a:solidFill>
            <a:schemeClr val="accent2"/>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chemeClr val="tx1"/>
              </a:solidFill>
              <a:latin typeface="+mj-lt"/>
            </a:rPr>
            <a:t>4. Limit UAT Cycles</a:t>
          </a:r>
        </a:p>
      </dsp:txBody>
      <dsp:txXfrm>
        <a:off x="5265745" y="3932111"/>
        <a:ext cx="973725" cy="609828"/>
      </dsp:txXfrm>
    </dsp:sp>
    <dsp:sp modelId="{E13437C3-13DE-44FD-A1E9-541D1444392D}">
      <dsp:nvSpPr>
        <dsp:cNvPr id="0" name=""/>
        <dsp:cNvSpPr/>
      </dsp:nvSpPr>
      <dsp:spPr>
        <a:xfrm>
          <a:off x="903579" y="339145"/>
          <a:ext cx="5197173" cy="5197173"/>
        </a:xfrm>
        <a:custGeom>
          <a:avLst/>
          <a:gdLst/>
          <a:ahLst/>
          <a:cxnLst/>
          <a:rect l="0" t="0" r="0" b="0"/>
          <a:pathLst>
            <a:path>
              <a:moveTo>
                <a:pt x="4611398" y="4242132"/>
              </a:moveTo>
              <a:arcTo wR="2598586" hR="2598586" stAng="2353986" swAng="1065697"/>
            </a:path>
          </a:pathLst>
        </a:custGeom>
        <a:noFill/>
        <a:ln w="57150" cap="flat" cmpd="sng" algn="ctr">
          <a:solidFill>
            <a:schemeClr val="accent6"/>
          </a:solidFill>
          <a:prstDash val="solid"/>
          <a:miter lim="800000"/>
        </a:ln>
        <a:effectLst/>
      </dsp:spPr>
      <dsp:style>
        <a:lnRef idx="2">
          <a:schemeClr val="accent6"/>
        </a:lnRef>
        <a:fillRef idx="0">
          <a:schemeClr val="accent6"/>
        </a:fillRef>
        <a:effectRef idx="1">
          <a:schemeClr val="accent6"/>
        </a:effectRef>
        <a:fontRef idx="minor">
          <a:schemeClr val="tx1"/>
        </a:fontRef>
      </dsp:style>
    </dsp:sp>
    <dsp:sp modelId="{57CB2FA8-9CF1-4A55-B81E-A637A3B947F3}">
      <dsp:nvSpPr>
        <dsp:cNvPr id="0" name=""/>
        <dsp:cNvSpPr/>
      </dsp:nvSpPr>
      <dsp:spPr>
        <a:xfrm>
          <a:off x="3871082" y="5041701"/>
          <a:ext cx="1039705" cy="675808"/>
        </a:xfrm>
        <a:prstGeom prst="roundRect">
          <a:avLst/>
        </a:prstGeom>
        <a:solidFill>
          <a:schemeClr val="tx2"/>
        </a:solidFill>
        <a:ln w="12700" cap="flat" cmpd="sng" algn="ctr">
          <a:solidFill>
            <a:schemeClr val="accent2"/>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chemeClr val="tx1"/>
              </a:solidFill>
              <a:latin typeface="+mj-lt"/>
            </a:rPr>
            <a:t>5. Define Business Benefit for Each Use Case</a:t>
          </a:r>
        </a:p>
      </dsp:txBody>
      <dsp:txXfrm>
        <a:off x="3904072" y="5074691"/>
        <a:ext cx="973725" cy="609828"/>
      </dsp:txXfrm>
    </dsp:sp>
    <dsp:sp modelId="{BE38CBE6-4761-4B82-B8F4-803F15617AC6}">
      <dsp:nvSpPr>
        <dsp:cNvPr id="0" name=""/>
        <dsp:cNvSpPr/>
      </dsp:nvSpPr>
      <dsp:spPr>
        <a:xfrm>
          <a:off x="903579" y="339145"/>
          <a:ext cx="5197173" cy="5197173"/>
        </a:xfrm>
        <a:custGeom>
          <a:avLst/>
          <a:gdLst/>
          <a:ahLst/>
          <a:cxnLst/>
          <a:rect l="0" t="0" r="0" b="0"/>
          <a:pathLst>
            <a:path>
              <a:moveTo>
                <a:pt x="2960198" y="5171890"/>
              </a:moveTo>
              <a:arcTo wR="2598586" hR="2598586" stAng="4920056" swAng="959887"/>
            </a:path>
          </a:pathLst>
        </a:custGeom>
        <a:noFill/>
        <a:ln w="57150" cap="flat" cmpd="sng" algn="ctr">
          <a:solidFill>
            <a:schemeClr val="accent6"/>
          </a:solidFill>
          <a:prstDash val="solid"/>
          <a:miter lim="800000"/>
        </a:ln>
        <a:effectLst/>
      </dsp:spPr>
      <dsp:style>
        <a:lnRef idx="2">
          <a:schemeClr val="accent6"/>
        </a:lnRef>
        <a:fillRef idx="0">
          <a:schemeClr val="accent6"/>
        </a:fillRef>
        <a:effectRef idx="1">
          <a:schemeClr val="accent6"/>
        </a:effectRef>
        <a:fontRef idx="minor">
          <a:schemeClr val="tx1"/>
        </a:fontRef>
      </dsp:style>
    </dsp:sp>
    <dsp:sp modelId="{E8E85099-CDD4-4322-AFF1-CB7EBED428B7}">
      <dsp:nvSpPr>
        <dsp:cNvPr id="0" name=""/>
        <dsp:cNvSpPr/>
      </dsp:nvSpPr>
      <dsp:spPr>
        <a:xfrm>
          <a:off x="2093544" y="5041701"/>
          <a:ext cx="1039705" cy="675808"/>
        </a:xfrm>
        <a:prstGeom prst="roundRect">
          <a:avLst/>
        </a:prstGeom>
        <a:solidFill>
          <a:schemeClr val="tx2"/>
        </a:solidFill>
        <a:ln w="12700" cap="flat" cmpd="sng" algn="ctr">
          <a:solidFill>
            <a:schemeClr val="accent2"/>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chemeClr val="tx1"/>
              </a:solidFill>
              <a:latin typeface="+mj-lt"/>
            </a:rPr>
            <a:t>6. Engage Change Activity Board early</a:t>
          </a:r>
        </a:p>
      </dsp:txBody>
      <dsp:txXfrm>
        <a:off x="2126534" y="5074691"/>
        <a:ext cx="973725" cy="609828"/>
      </dsp:txXfrm>
    </dsp:sp>
    <dsp:sp modelId="{00E9754D-FDC8-4EA2-BFC8-4D9445A6BD8B}">
      <dsp:nvSpPr>
        <dsp:cNvPr id="0" name=""/>
        <dsp:cNvSpPr/>
      </dsp:nvSpPr>
      <dsp:spPr>
        <a:xfrm>
          <a:off x="903579" y="339145"/>
          <a:ext cx="5197173" cy="5197173"/>
        </a:xfrm>
        <a:custGeom>
          <a:avLst/>
          <a:gdLst/>
          <a:ahLst/>
          <a:cxnLst/>
          <a:rect l="0" t="0" r="0" b="0"/>
          <a:pathLst>
            <a:path>
              <a:moveTo>
                <a:pt x="1183093" y="4777814"/>
              </a:moveTo>
              <a:arcTo wR="2598586" hR="2598586" stAng="7380317" swAng="1065697"/>
            </a:path>
          </a:pathLst>
        </a:custGeom>
        <a:noFill/>
        <a:ln w="57150" cap="flat" cmpd="sng" algn="ctr">
          <a:solidFill>
            <a:schemeClr val="accent6"/>
          </a:solidFill>
          <a:prstDash val="solid"/>
          <a:miter lim="800000"/>
        </a:ln>
        <a:effectLst/>
      </dsp:spPr>
      <dsp:style>
        <a:lnRef idx="2">
          <a:schemeClr val="accent6"/>
        </a:lnRef>
        <a:fillRef idx="0">
          <a:schemeClr val="accent6"/>
        </a:fillRef>
        <a:effectRef idx="1">
          <a:schemeClr val="accent6"/>
        </a:effectRef>
        <a:fontRef idx="minor">
          <a:schemeClr val="tx1"/>
        </a:fontRef>
      </dsp:style>
    </dsp:sp>
    <dsp:sp modelId="{AD7297CB-7736-468F-9B11-C9E11A948254}">
      <dsp:nvSpPr>
        <dsp:cNvPr id="0" name=""/>
        <dsp:cNvSpPr/>
      </dsp:nvSpPr>
      <dsp:spPr>
        <a:xfrm>
          <a:off x="731870" y="3899121"/>
          <a:ext cx="1039705" cy="675808"/>
        </a:xfrm>
        <a:prstGeom prst="roundRect">
          <a:avLst/>
        </a:prstGeom>
        <a:solidFill>
          <a:schemeClr val="tx2"/>
        </a:solidFill>
        <a:ln w="12700" cap="flat" cmpd="sng" algn="ctr">
          <a:solidFill>
            <a:schemeClr val="accent2"/>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chemeClr val="tx1"/>
              </a:solidFill>
              <a:latin typeface="+mj-lt"/>
            </a:rPr>
            <a:t>7. Automation</a:t>
          </a:r>
        </a:p>
      </dsp:txBody>
      <dsp:txXfrm>
        <a:off x="764860" y="3932111"/>
        <a:ext cx="973725" cy="609828"/>
      </dsp:txXfrm>
    </dsp:sp>
    <dsp:sp modelId="{015F9BE6-FC94-46F4-B7DD-BA8A851E4385}">
      <dsp:nvSpPr>
        <dsp:cNvPr id="0" name=""/>
        <dsp:cNvSpPr/>
      </dsp:nvSpPr>
      <dsp:spPr>
        <a:xfrm>
          <a:off x="903579" y="339145"/>
          <a:ext cx="5197173" cy="5197173"/>
        </a:xfrm>
        <a:custGeom>
          <a:avLst/>
          <a:gdLst/>
          <a:ahLst/>
          <a:cxnLst/>
          <a:rect l="0" t="0" r="0" b="0"/>
          <a:pathLst>
            <a:path>
              <a:moveTo>
                <a:pt x="180370" y="3549841"/>
              </a:moveTo>
              <a:arcTo wR="2598586" hR="2598586" stAng="9511608" swAng="1423954"/>
            </a:path>
          </a:pathLst>
        </a:custGeom>
        <a:noFill/>
        <a:ln w="57150" cap="flat" cmpd="sng" algn="ctr">
          <a:solidFill>
            <a:schemeClr val="accent6"/>
          </a:solidFill>
          <a:prstDash val="solid"/>
          <a:miter lim="800000"/>
        </a:ln>
        <a:effectLst/>
      </dsp:spPr>
      <dsp:style>
        <a:lnRef idx="2">
          <a:schemeClr val="accent6"/>
        </a:lnRef>
        <a:fillRef idx="0">
          <a:schemeClr val="accent6"/>
        </a:fillRef>
        <a:effectRef idx="1">
          <a:schemeClr val="accent6"/>
        </a:effectRef>
        <a:fontRef idx="minor">
          <a:schemeClr val="tx1"/>
        </a:fontRef>
      </dsp:style>
    </dsp:sp>
    <dsp:sp modelId="{3D1D03FB-5D96-4EB4-A769-ADB5E344A3CD}">
      <dsp:nvSpPr>
        <dsp:cNvPr id="0" name=""/>
        <dsp:cNvSpPr/>
      </dsp:nvSpPr>
      <dsp:spPr>
        <a:xfrm>
          <a:off x="423204" y="2148588"/>
          <a:ext cx="1039705" cy="675808"/>
        </a:xfrm>
        <a:prstGeom prst="roundRect">
          <a:avLst/>
        </a:prstGeom>
        <a:solidFill>
          <a:schemeClr val="tx2"/>
        </a:solidFill>
        <a:ln w="12700" cap="flat" cmpd="sng" algn="ctr">
          <a:solidFill>
            <a:schemeClr val="accent2"/>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chemeClr val="tx1"/>
              </a:solidFill>
              <a:latin typeface="+mj-lt"/>
            </a:rPr>
            <a:t>8. Limit UAT Cycles </a:t>
          </a:r>
        </a:p>
      </dsp:txBody>
      <dsp:txXfrm>
        <a:off x="456194" y="2181578"/>
        <a:ext cx="973725" cy="609828"/>
      </dsp:txXfrm>
    </dsp:sp>
    <dsp:sp modelId="{2EF4558D-9767-4286-B711-0E5C6BF742AB}">
      <dsp:nvSpPr>
        <dsp:cNvPr id="0" name=""/>
        <dsp:cNvSpPr/>
      </dsp:nvSpPr>
      <dsp:spPr>
        <a:xfrm>
          <a:off x="903579" y="339145"/>
          <a:ext cx="5197173" cy="5197173"/>
        </a:xfrm>
        <a:custGeom>
          <a:avLst/>
          <a:gdLst/>
          <a:ahLst/>
          <a:cxnLst/>
          <a:rect l="0" t="0" r="0" b="0"/>
          <a:pathLst>
            <a:path>
              <a:moveTo>
                <a:pt x="125726" y="1800078"/>
              </a:moveTo>
              <a:arcTo wR="2598586" hR="2598586" stAng="11873744" swAng="1282944"/>
            </a:path>
          </a:pathLst>
        </a:custGeom>
        <a:noFill/>
        <a:ln w="57150" cap="flat" cmpd="sng" algn="ctr">
          <a:solidFill>
            <a:schemeClr val="accent6"/>
          </a:solidFill>
          <a:prstDash val="solid"/>
          <a:miter lim="800000"/>
        </a:ln>
        <a:effectLst/>
      </dsp:spPr>
      <dsp:style>
        <a:lnRef idx="2">
          <a:schemeClr val="accent6"/>
        </a:lnRef>
        <a:fillRef idx="0">
          <a:schemeClr val="accent6"/>
        </a:fillRef>
        <a:effectRef idx="1">
          <a:schemeClr val="accent6"/>
        </a:effectRef>
        <a:fontRef idx="minor">
          <a:schemeClr val="tx1"/>
        </a:fontRef>
      </dsp:style>
    </dsp:sp>
    <dsp:sp modelId="{5DC171DB-B060-4E8D-90A5-C0866BBE072B}">
      <dsp:nvSpPr>
        <dsp:cNvPr id="0" name=""/>
        <dsp:cNvSpPr/>
      </dsp:nvSpPr>
      <dsp:spPr>
        <a:xfrm>
          <a:off x="1311973" y="609195"/>
          <a:ext cx="1039705" cy="675808"/>
        </a:xfrm>
        <a:prstGeom prst="roundRect">
          <a:avLst/>
        </a:prstGeom>
        <a:solidFill>
          <a:schemeClr val="tx2"/>
        </a:solidFill>
        <a:ln w="12700" cap="flat" cmpd="sng" algn="ctr">
          <a:solidFill>
            <a:schemeClr val="accent2"/>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b="0" kern="1200" dirty="0">
              <a:solidFill>
                <a:schemeClr val="tx1"/>
              </a:solidFill>
              <a:latin typeface="+mj-lt"/>
            </a:rPr>
            <a:t>9. Perform Multiple Small releases into Production</a:t>
          </a:r>
        </a:p>
      </dsp:txBody>
      <dsp:txXfrm>
        <a:off x="1344963" y="642185"/>
        <a:ext cx="973725" cy="609828"/>
      </dsp:txXfrm>
    </dsp:sp>
    <dsp:sp modelId="{28F33B58-28D1-4A9B-B3C6-912F7C4236A9}">
      <dsp:nvSpPr>
        <dsp:cNvPr id="0" name=""/>
        <dsp:cNvSpPr/>
      </dsp:nvSpPr>
      <dsp:spPr>
        <a:xfrm>
          <a:off x="903579" y="339145"/>
          <a:ext cx="5197173" cy="5197173"/>
        </a:xfrm>
        <a:custGeom>
          <a:avLst/>
          <a:gdLst/>
          <a:ahLst/>
          <a:cxnLst/>
          <a:rect l="0" t="0" r="0" b="0"/>
          <a:pathLst>
            <a:path>
              <a:moveTo>
                <a:pt x="1451091" y="267083"/>
              </a:moveTo>
              <a:arcTo wR="2598586" hR="2598586" stAng="14627699" swAng="871038"/>
            </a:path>
          </a:pathLst>
        </a:custGeom>
        <a:noFill/>
        <a:ln w="57150" cap="flat" cmpd="sng" algn="ctr">
          <a:solidFill>
            <a:schemeClr val="accent6"/>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33177" y="114604"/>
          <a:ext cx="1932858" cy="773143"/>
        </a:xfrm>
        <a:prstGeom prst="homePlate">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7556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Data Platform Capability</a:t>
          </a:r>
        </a:p>
      </dsp:txBody>
      <dsp:txXfrm>
        <a:off x="33177" y="114604"/>
        <a:ext cx="1739572" cy="773143"/>
      </dsp:txXfrm>
    </dsp:sp>
    <dsp:sp modelId="{6BB51E7D-5D16-406B-81AA-25146C1CF430}">
      <dsp:nvSpPr>
        <dsp:cNvPr id="0" name=""/>
        <dsp:cNvSpPr/>
      </dsp:nvSpPr>
      <dsp:spPr>
        <a:xfrm>
          <a:off x="1580453"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Use Case Identification &amp; Prioritization</a:t>
          </a:r>
        </a:p>
      </dsp:txBody>
      <dsp:txXfrm>
        <a:off x="1967025" y="114604"/>
        <a:ext cx="1159715" cy="773143"/>
      </dsp:txXfrm>
    </dsp:sp>
    <dsp:sp modelId="{0D2B3D1C-7288-49AF-9B70-755B70F42238}">
      <dsp:nvSpPr>
        <dsp:cNvPr id="0" name=""/>
        <dsp:cNvSpPr/>
      </dsp:nvSpPr>
      <dsp:spPr>
        <a:xfrm>
          <a:off x="3126739"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Data Platform Architecture</a:t>
          </a:r>
        </a:p>
      </dsp:txBody>
      <dsp:txXfrm>
        <a:off x="3513311" y="114604"/>
        <a:ext cx="1159715" cy="773143"/>
      </dsp:txXfrm>
    </dsp:sp>
    <dsp:sp modelId="{C0648608-EBCA-4737-A26D-0194CA04C8F4}">
      <dsp:nvSpPr>
        <dsp:cNvPr id="0" name=""/>
        <dsp:cNvSpPr/>
      </dsp:nvSpPr>
      <dsp:spPr>
        <a:xfrm>
          <a:off x="4673026"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Target Operating Model</a:t>
          </a:r>
        </a:p>
      </dsp:txBody>
      <dsp:txXfrm>
        <a:off x="5059598" y="114604"/>
        <a:ext cx="1159715" cy="773143"/>
      </dsp:txXfrm>
    </dsp:sp>
    <dsp:sp modelId="{606D5D85-4023-4CEF-84A0-143611DDB027}">
      <dsp:nvSpPr>
        <dsp:cNvPr id="0" name=""/>
        <dsp:cNvSpPr/>
      </dsp:nvSpPr>
      <dsp:spPr>
        <a:xfrm>
          <a:off x="6187128"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IT Strategic Roadmap</a:t>
          </a:r>
        </a:p>
      </dsp:txBody>
      <dsp:txXfrm>
        <a:off x="6573700" y="114604"/>
        <a:ext cx="1159715" cy="77314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33177" y="114604"/>
          <a:ext cx="1932858" cy="773143"/>
        </a:xfrm>
        <a:prstGeom prst="homePlate">
          <a:avLst/>
        </a:prstGeom>
        <a:solidFill>
          <a:schemeClr val="bg2"/>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755650">
            <a:lnSpc>
              <a:spcPct val="90000"/>
            </a:lnSpc>
            <a:spcBef>
              <a:spcPct val="0"/>
            </a:spcBef>
            <a:spcAft>
              <a:spcPct val="35000"/>
            </a:spcAft>
            <a:buNone/>
          </a:pPr>
          <a:r>
            <a:rPr lang="en-US" sz="1300" b="1" kern="1200" dirty="0">
              <a:solidFill>
                <a:schemeClr val="tx2"/>
              </a:solidFill>
              <a:latin typeface="EYInterstate Light" panose="02000506000000020004" pitchFamily="2" charset="0"/>
              <a:ea typeface="+mn-ea"/>
              <a:cs typeface="+mn-cs"/>
            </a:rPr>
            <a:t>Data Platform Capability</a:t>
          </a:r>
        </a:p>
      </dsp:txBody>
      <dsp:txXfrm>
        <a:off x="33177" y="114604"/>
        <a:ext cx="1739572" cy="773143"/>
      </dsp:txXfrm>
    </dsp:sp>
    <dsp:sp modelId="{6BB51E7D-5D16-406B-81AA-25146C1CF430}">
      <dsp:nvSpPr>
        <dsp:cNvPr id="0" name=""/>
        <dsp:cNvSpPr/>
      </dsp:nvSpPr>
      <dsp:spPr>
        <a:xfrm>
          <a:off x="1580453"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Use Case Identification &amp; Prioritization</a:t>
          </a:r>
        </a:p>
      </dsp:txBody>
      <dsp:txXfrm>
        <a:off x="1967025" y="114604"/>
        <a:ext cx="1159715" cy="773143"/>
      </dsp:txXfrm>
    </dsp:sp>
    <dsp:sp modelId="{0D2B3D1C-7288-49AF-9B70-755B70F42238}">
      <dsp:nvSpPr>
        <dsp:cNvPr id="0" name=""/>
        <dsp:cNvSpPr/>
      </dsp:nvSpPr>
      <dsp:spPr>
        <a:xfrm>
          <a:off x="3126739"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Data Platform Architecture</a:t>
          </a:r>
        </a:p>
      </dsp:txBody>
      <dsp:txXfrm>
        <a:off x="3513311" y="114604"/>
        <a:ext cx="1159715" cy="773143"/>
      </dsp:txXfrm>
    </dsp:sp>
    <dsp:sp modelId="{C0648608-EBCA-4737-A26D-0194CA04C8F4}">
      <dsp:nvSpPr>
        <dsp:cNvPr id="0" name=""/>
        <dsp:cNvSpPr/>
      </dsp:nvSpPr>
      <dsp:spPr>
        <a:xfrm>
          <a:off x="4673026"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Target Operating Model</a:t>
          </a:r>
        </a:p>
      </dsp:txBody>
      <dsp:txXfrm>
        <a:off x="5059598" y="114604"/>
        <a:ext cx="1159715" cy="773143"/>
      </dsp:txXfrm>
    </dsp:sp>
    <dsp:sp modelId="{606D5D85-4023-4CEF-84A0-143611DDB027}">
      <dsp:nvSpPr>
        <dsp:cNvPr id="0" name=""/>
        <dsp:cNvSpPr/>
      </dsp:nvSpPr>
      <dsp:spPr>
        <a:xfrm>
          <a:off x="6187128"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latin typeface="EYInterstate Light" panose="02000506000000020004" pitchFamily="2" charset="0"/>
              <a:ea typeface="+mn-ea"/>
              <a:cs typeface="+mn-cs"/>
            </a:rPr>
            <a:t>IT Strategic Roadmap</a:t>
          </a:r>
        </a:p>
      </dsp:txBody>
      <dsp:txXfrm>
        <a:off x="6573700" y="114604"/>
        <a:ext cx="1159715" cy="77314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33177" y="114604"/>
          <a:ext cx="1932858" cy="773143"/>
        </a:xfrm>
        <a:prstGeom prst="homePlate">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7556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Capability</a:t>
          </a:r>
        </a:p>
      </dsp:txBody>
      <dsp:txXfrm>
        <a:off x="33177" y="114604"/>
        <a:ext cx="1739572" cy="773143"/>
      </dsp:txXfrm>
    </dsp:sp>
    <dsp:sp modelId="{6BB51E7D-5D16-406B-81AA-25146C1CF430}">
      <dsp:nvSpPr>
        <dsp:cNvPr id="0" name=""/>
        <dsp:cNvSpPr/>
      </dsp:nvSpPr>
      <dsp:spPr>
        <a:xfrm>
          <a:off x="1580453" y="114604"/>
          <a:ext cx="1932858" cy="773143"/>
        </a:xfrm>
        <a:prstGeom prst="chevron">
          <a:avLst/>
        </a:prstGeom>
        <a:solidFill>
          <a:schemeClr val="bg2"/>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tx2"/>
              </a:solidFill>
              <a:latin typeface="EYInterstate Light" panose="02000506000000020004" pitchFamily="2" charset="0"/>
              <a:ea typeface="+mn-ea"/>
              <a:cs typeface="+mn-cs"/>
            </a:rPr>
            <a:t>Use Case Identification &amp; Prioritization</a:t>
          </a:r>
        </a:p>
      </dsp:txBody>
      <dsp:txXfrm>
        <a:off x="1967025" y="114604"/>
        <a:ext cx="1159715" cy="773143"/>
      </dsp:txXfrm>
    </dsp:sp>
    <dsp:sp modelId="{0D2B3D1C-7288-49AF-9B70-755B70F42238}">
      <dsp:nvSpPr>
        <dsp:cNvPr id="0" name=""/>
        <dsp:cNvSpPr/>
      </dsp:nvSpPr>
      <dsp:spPr>
        <a:xfrm>
          <a:off x="3126739"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Architecture</a:t>
          </a:r>
        </a:p>
      </dsp:txBody>
      <dsp:txXfrm>
        <a:off x="3513311" y="114604"/>
        <a:ext cx="1159715" cy="773143"/>
      </dsp:txXfrm>
    </dsp:sp>
    <dsp:sp modelId="{C0648608-EBCA-4737-A26D-0194CA04C8F4}">
      <dsp:nvSpPr>
        <dsp:cNvPr id="0" name=""/>
        <dsp:cNvSpPr/>
      </dsp:nvSpPr>
      <dsp:spPr>
        <a:xfrm>
          <a:off x="4673026"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Target Operating Model</a:t>
          </a:r>
        </a:p>
      </dsp:txBody>
      <dsp:txXfrm>
        <a:off x="5059598" y="114604"/>
        <a:ext cx="1159715" cy="773143"/>
      </dsp:txXfrm>
    </dsp:sp>
    <dsp:sp modelId="{606D5D85-4023-4CEF-84A0-143611DDB027}">
      <dsp:nvSpPr>
        <dsp:cNvPr id="0" name=""/>
        <dsp:cNvSpPr/>
      </dsp:nvSpPr>
      <dsp:spPr>
        <a:xfrm>
          <a:off x="6187128"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IT Strategic Roadmap</a:t>
          </a:r>
        </a:p>
      </dsp:txBody>
      <dsp:txXfrm>
        <a:off x="6573700" y="114604"/>
        <a:ext cx="1159715" cy="77314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33177" y="114604"/>
          <a:ext cx="1932858" cy="773143"/>
        </a:xfrm>
        <a:prstGeom prst="homePlate">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7556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Capability</a:t>
          </a:r>
        </a:p>
      </dsp:txBody>
      <dsp:txXfrm>
        <a:off x="33177" y="114604"/>
        <a:ext cx="1739572" cy="773143"/>
      </dsp:txXfrm>
    </dsp:sp>
    <dsp:sp modelId="{6BB51E7D-5D16-406B-81AA-25146C1CF430}">
      <dsp:nvSpPr>
        <dsp:cNvPr id="0" name=""/>
        <dsp:cNvSpPr/>
      </dsp:nvSpPr>
      <dsp:spPr>
        <a:xfrm>
          <a:off x="1580453"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Use Case Identification &amp; Prioritization</a:t>
          </a:r>
        </a:p>
      </dsp:txBody>
      <dsp:txXfrm>
        <a:off x="1967025" y="114604"/>
        <a:ext cx="1159715" cy="773143"/>
      </dsp:txXfrm>
    </dsp:sp>
    <dsp:sp modelId="{0D2B3D1C-7288-49AF-9B70-755B70F42238}">
      <dsp:nvSpPr>
        <dsp:cNvPr id="0" name=""/>
        <dsp:cNvSpPr/>
      </dsp:nvSpPr>
      <dsp:spPr>
        <a:xfrm>
          <a:off x="3126739" y="114604"/>
          <a:ext cx="1932858" cy="773143"/>
        </a:xfrm>
        <a:prstGeom prst="chevron">
          <a:avLst/>
        </a:prstGeom>
        <a:solidFill>
          <a:schemeClr val="bg2"/>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tx2"/>
              </a:solidFill>
              <a:latin typeface="EYInterstate Light" panose="02000506000000020004" pitchFamily="2" charset="0"/>
              <a:ea typeface="+mn-ea"/>
              <a:cs typeface="+mn-cs"/>
            </a:rPr>
            <a:t>Data Platform Architecture</a:t>
          </a:r>
        </a:p>
      </dsp:txBody>
      <dsp:txXfrm>
        <a:off x="3513311" y="114604"/>
        <a:ext cx="1159715" cy="773143"/>
      </dsp:txXfrm>
    </dsp:sp>
    <dsp:sp modelId="{C0648608-EBCA-4737-A26D-0194CA04C8F4}">
      <dsp:nvSpPr>
        <dsp:cNvPr id="0" name=""/>
        <dsp:cNvSpPr/>
      </dsp:nvSpPr>
      <dsp:spPr>
        <a:xfrm>
          <a:off x="4673026"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Target Operating Model</a:t>
          </a:r>
        </a:p>
      </dsp:txBody>
      <dsp:txXfrm>
        <a:off x="5059598" y="114604"/>
        <a:ext cx="1159715" cy="773143"/>
      </dsp:txXfrm>
    </dsp:sp>
    <dsp:sp modelId="{606D5D85-4023-4CEF-84A0-143611DDB027}">
      <dsp:nvSpPr>
        <dsp:cNvPr id="0" name=""/>
        <dsp:cNvSpPr/>
      </dsp:nvSpPr>
      <dsp:spPr>
        <a:xfrm>
          <a:off x="6187128"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IT Strategic Roadmap</a:t>
          </a:r>
        </a:p>
      </dsp:txBody>
      <dsp:txXfrm>
        <a:off x="6573700" y="114604"/>
        <a:ext cx="1159715" cy="773143"/>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33177" y="114604"/>
          <a:ext cx="1932858" cy="773143"/>
        </a:xfrm>
        <a:prstGeom prst="homePlate">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7556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Capability</a:t>
          </a:r>
        </a:p>
      </dsp:txBody>
      <dsp:txXfrm>
        <a:off x="33177" y="114604"/>
        <a:ext cx="1739572" cy="773143"/>
      </dsp:txXfrm>
    </dsp:sp>
    <dsp:sp modelId="{6BB51E7D-5D16-406B-81AA-25146C1CF430}">
      <dsp:nvSpPr>
        <dsp:cNvPr id="0" name=""/>
        <dsp:cNvSpPr/>
      </dsp:nvSpPr>
      <dsp:spPr>
        <a:xfrm>
          <a:off x="1580453"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Use Case Identification &amp; Prioritization</a:t>
          </a:r>
        </a:p>
      </dsp:txBody>
      <dsp:txXfrm>
        <a:off x="1967025" y="114604"/>
        <a:ext cx="1159715" cy="773143"/>
      </dsp:txXfrm>
    </dsp:sp>
    <dsp:sp modelId="{0D2B3D1C-7288-49AF-9B70-755B70F42238}">
      <dsp:nvSpPr>
        <dsp:cNvPr id="0" name=""/>
        <dsp:cNvSpPr/>
      </dsp:nvSpPr>
      <dsp:spPr>
        <a:xfrm>
          <a:off x="3126739"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Architecture</a:t>
          </a:r>
        </a:p>
      </dsp:txBody>
      <dsp:txXfrm>
        <a:off x="3513311" y="114604"/>
        <a:ext cx="1159715" cy="773143"/>
      </dsp:txXfrm>
    </dsp:sp>
    <dsp:sp modelId="{C0648608-EBCA-4737-A26D-0194CA04C8F4}">
      <dsp:nvSpPr>
        <dsp:cNvPr id="0" name=""/>
        <dsp:cNvSpPr/>
      </dsp:nvSpPr>
      <dsp:spPr>
        <a:xfrm>
          <a:off x="4673026" y="114604"/>
          <a:ext cx="1932858" cy="773143"/>
        </a:xfrm>
        <a:prstGeom prst="chevron">
          <a:avLst/>
        </a:prstGeom>
        <a:solidFill>
          <a:schemeClr val="accent2"/>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tx2"/>
              </a:solidFill>
              <a:latin typeface="EYInterstate Light" panose="02000506000000020004" pitchFamily="2" charset="0"/>
              <a:ea typeface="+mn-ea"/>
              <a:cs typeface="+mn-cs"/>
            </a:rPr>
            <a:t>Target Operating Model</a:t>
          </a:r>
        </a:p>
      </dsp:txBody>
      <dsp:txXfrm>
        <a:off x="5059598" y="114604"/>
        <a:ext cx="1159715" cy="773143"/>
      </dsp:txXfrm>
    </dsp:sp>
    <dsp:sp modelId="{606D5D85-4023-4CEF-84A0-143611DDB027}">
      <dsp:nvSpPr>
        <dsp:cNvPr id="0" name=""/>
        <dsp:cNvSpPr/>
      </dsp:nvSpPr>
      <dsp:spPr>
        <a:xfrm>
          <a:off x="6187128"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IT Strategic Roadmap</a:t>
          </a:r>
        </a:p>
      </dsp:txBody>
      <dsp:txXfrm>
        <a:off x="6573700" y="114604"/>
        <a:ext cx="1159715" cy="773143"/>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33177" y="114604"/>
          <a:ext cx="1932858" cy="773143"/>
        </a:xfrm>
        <a:prstGeom prst="homePlate">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7556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Capability</a:t>
          </a:r>
        </a:p>
      </dsp:txBody>
      <dsp:txXfrm>
        <a:off x="33177" y="114604"/>
        <a:ext cx="1739572" cy="773143"/>
      </dsp:txXfrm>
    </dsp:sp>
    <dsp:sp modelId="{6BB51E7D-5D16-406B-81AA-25146C1CF430}">
      <dsp:nvSpPr>
        <dsp:cNvPr id="0" name=""/>
        <dsp:cNvSpPr/>
      </dsp:nvSpPr>
      <dsp:spPr>
        <a:xfrm>
          <a:off x="1580453"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Use Case Identification &amp; Prioritization</a:t>
          </a:r>
        </a:p>
      </dsp:txBody>
      <dsp:txXfrm>
        <a:off x="1967025" y="114604"/>
        <a:ext cx="1159715" cy="773143"/>
      </dsp:txXfrm>
    </dsp:sp>
    <dsp:sp modelId="{0D2B3D1C-7288-49AF-9B70-755B70F42238}">
      <dsp:nvSpPr>
        <dsp:cNvPr id="0" name=""/>
        <dsp:cNvSpPr/>
      </dsp:nvSpPr>
      <dsp:spPr>
        <a:xfrm>
          <a:off x="3126739"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Data Platform Architecture</a:t>
          </a:r>
        </a:p>
      </dsp:txBody>
      <dsp:txXfrm>
        <a:off x="3513311" y="114604"/>
        <a:ext cx="1159715" cy="773143"/>
      </dsp:txXfrm>
    </dsp:sp>
    <dsp:sp modelId="{C0648608-EBCA-4737-A26D-0194CA04C8F4}">
      <dsp:nvSpPr>
        <dsp:cNvPr id="0" name=""/>
        <dsp:cNvSpPr/>
      </dsp:nvSpPr>
      <dsp:spPr>
        <a:xfrm>
          <a:off x="4673026" y="114604"/>
          <a:ext cx="1932858" cy="773143"/>
        </a:xfrm>
        <a:prstGeom prst="chevron">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bg1"/>
              </a:solidFill>
              <a:latin typeface="EYInterstate Light" panose="02000506000000020004" pitchFamily="2" charset="0"/>
              <a:ea typeface="+mn-ea"/>
              <a:cs typeface="+mn-cs"/>
            </a:rPr>
            <a:t>Target Operating Model</a:t>
          </a:r>
        </a:p>
      </dsp:txBody>
      <dsp:txXfrm>
        <a:off x="5059598" y="114604"/>
        <a:ext cx="1159715" cy="773143"/>
      </dsp:txXfrm>
    </dsp:sp>
    <dsp:sp modelId="{606D5D85-4023-4CEF-84A0-143611DDB027}">
      <dsp:nvSpPr>
        <dsp:cNvPr id="0" name=""/>
        <dsp:cNvSpPr/>
      </dsp:nvSpPr>
      <dsp:spPr>
        <a:xfrm>
          <a:off x="6187128" y="114604"/>
          <a:ext cx="1932858" cy="773143"/>
        </a:xfrm>
        <a:prstGeom prst="chevron">
          <a:avLst/>
        </a:prstGeom>
        <a:solidFill>
          <a:schemeClr val="accent2"/>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tx2"/>
              </a:solidFill>
              <a:latin typeface="EYInterstate Light" panose="02000506000000020004" pitchFamily="2" charset="0"/>
              <a:ea typeface="+mn-ea"/>
              <a:cs typeface="+mn-cs"/>
            </a:rPr>
            <a:t>IT Strategic Roadmap</a:t>
          </a:r>
        </a:p>
      </dsp:txBody>
      <dsp:txXfrm>
        <a:off x="6573700" y="114604"/>
        <a:ext cx="1159715" cy="7731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1863" y="0"/>
          <a:ext cx="1629830" cy="257453"/>
        </a:xfrm>
        <a:prstGeom prst="homePlate">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Q1. General</a:t>
          </a:r>
        </a:p>
      </dsp:txBody>
      <dsp:txXfrm>
        <a:off x="1863" y="0"/>
        <a:ext cx="1565467" cy="257453"/>
      </dsp:txXfrm>
    </dsp:sp>
    <dsp:sp modelId="{76212330-C1FC-401E-89CF-68665DE345E5}">
      <dsp:nvSpPr>
        <dsp:cNvPr id="0" name=""/>
        <dsp:cNvSpPr/>
      </dsp:nvSpPr>
      <dsp:spPr>
        <a:xfrm>
          <a:off x="1305728" y="0"/>
          <a:ext cx="1629830" cy="257453"/>
        </a:xfrm>
        <a:prstGeom prst="chevron">
          <a:avLst/>
        </a:prstGeom>
        <a:solidFill>
          <a:schemeClr val="accent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mn-lt"/>
              <a:ea typeface="+mn-ea"/>
              <a:cs typeface="+mn-cs"/>
            </a:rPr>
            <a:t>Q2. Team (Depth, Flexibility &amp; Skills</a:t>
          </a:r>
          <a:endParaRPr lang="en-US" sz="600" kern="1200">
            <a:solidFill>
              <a:schemeClr val="tx1">
                <a:lumMod val="100000"/>
              </a:schemeClr>
            </a:solidFill>
            <a:latin typeface="EYInterstate Light"/>
            <a:ea typeface="+mn-ea"/>
            <a:cs typeface="+mn-cs"/>
          </a:endParaRPr>
        </a:p>
      </dsp:txBody>
      <dsp:txXfrm>
        <a:off x="1434455" y="0"/>
        <a:ext cx="1372377" cy="257453"/>
      </dsp:txXfrm>
    </dsp:sp>
    <dsp:sp modelId="{49DC1B39-843B-4442-BC2B-F1D746694542}">
      <dsp:nvSpPr>
        <dsp:cNvPr id="0" name=""/>
        <dsp:cNvSpPr/>
      </dsp:nvSpPr>
      <dsp:spPr>
        <a:xfrm>
          <a:off x="2609592" y="0"/>
          <a:ext cx="1629830" cy="257453"/>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Q4. Assets, Tools &amp; Accelerators</a:t>
          </a:r>
        </a:p>
      </dsp:txBody>
      <dsp:txXfrm>
        <a:off x="2738319" y="0"/>
        <a:ext cx="1372377" cy="2574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956" y="0"/>
          <a:ext cx="960011" cy="247922"/>
        </a:xfrm>
        <a:prstGeom prst="homePlate">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General Section</a:t>
          </a:r>
        </a:p>
      </dsp:txBody>
      <dsp:txXfrm>
        <a:off x="956" y="0"/>
        <a:ext cx="898031" cy="247922"/>
      </dsp:txXfrm>
    </dsp:sp>
    <dsp:sp modelId="{76212330-C1FC-401E-89CF-68665DE345E5}">
      <dsp:nvSpPr>
        <dsp:cNvPr id="0" name=""/>
        <dsp:cNvSpPr/>
      </dsp:nvSpPr>
      <dsp:spPr>
        <a:xfrm>
          <a:off x="768966" y="0"/>
          <a:ext cx="960011" cy="247922"/>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Team (Depth, Flexibility &amp; Skills</a:t>
          </a:r>
          <a:endParaRPr lang="en-US" sz="600" kern="1200">
            <a:solidFill>
              <a:sysClr val="window" lastClr="FFFFFF"/>
            </a:solidFill>
            <a:latin typeface="EYInterstate Light"/>
            <a:ea typeface="+mn-ea"/>
            <a:cs typeface="+mn-cs"/>
          </a:endParaRPr>
        </a:p>
      </dsp:txBody>
      <dsp:txXfrm>
        <a:off x="892927" y="0"/>
        <a:ext cx="712089" cy="247922"/>
      </dsp:txXfrm>
    </dsp:sp>
    <dsp:sp modelId="{460B59A4-A822-4FC6-99B2-11D29D516C5E}">
      <dsp:nvSpPr>
        <dsp:cNvPr id="0" name=""/>
        <dsp:cNvSpPr/>
      </dsp:nvSpPr>
      <dsp:spPr>
        <a:xfrm>
          <a:off x="1536975" y="0"/>
          <a:ext cx="960011" cy="247922"/>
        </a:xfrm>
        <a:prstGeom prst="chevron">
          <a:avLst/>
        </a:prstGeom>
        <a:solidFill>
          <a:schemeClr val="accent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Experience &amp; Credentials</a:t>
          </a:r>
        </a:p>
      </dsp:txBody>
      <dsp:txXfrm>
        <a:off x="1660936" y="0"/>
        <a:ext cx="712089" cy="247922"/>
      </dsp:txXfrm>
    </dsp:sp>
    <dsp:sp modelId="{49DC1B39-843B-4442-BC2B-F1D746694542}">
      <dsp:nvSpPr>
        <dsp:cNvPr id="0" name=""/>
        <dsp:cNvSpPr/>
      </dsp:nvSpPr>
      <dsp:spPr>
        <a:xfrm>
          <a:off x="2304985" y="0"/>
          <a:ext cx="960011" cy="247922"/>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Assets, Tools &amp; Accelerators</a:t>
          </a:r>
        </a:p>
      </dsp:txBody>
      <dsp:txXfrm>
        <a:off x="2428946" y="0"/>
        <a:ext cx="712089" cy="2479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1859" y="0"/>
          <a:ext cx="1626247" cy="257453"/>
        </a:xfrm>
        <a:prstGeom prst="homePlate">
          <a:avLst/>
        </a:prstGeom>
        <a:solidFill>
          <a:schemeClr val="bg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1. General</a:t>
          </a:r>
        </a:p>
      </dsp:txBody>
      <dsp:txXfrm>
        <a:off x="1859" y="0"/>
        <a:ext cx="1561884" cy="257453"/>
      </dsp:txXfrm>
    </dsp:sp>
    <dsp:sp modelId="{76212330-C1FC-401E-89CF-68665DE345E5}">
      <dsp:nvSpPr>
        <dsp:cNvPr id="0" name=""/>
        <dsp:cNvSpPr/>
      </dsp:nvSpPr>
      <dsp:spPr>
        <a:xfrm>
          <a:off x="1302858" y="0"/>
          <a:ext cx="1626247" cy="257453"/>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Q2. Team (Depth, Flexibility &amp; Skills</a:t>
          </a:r>
          <a:endParaRPr lang="en-US" sz="600" kern="1200">
            <a:solidFill>
              <a:sysClr val="window" lastClr="FFFFFF"/>
            </a:solidFill>
            <a:latin typeface="EYInterstate Light"/>
            <a:ea typeface="+mn-ea"/>
            <a:cs typeface="+mn-cs"/>
          </a:endParaRPr>
        </a:p>
      </dsp:txBody>
      <dsp:txXfrm>
        <a:off x="1431585" y="0"/>
        <a:ext cx="1368794" cy="257453"/>
      </dsp:txXfrm>
    </dsp:sp>
    <dsp:sp modelId="{49DC1B39-843B-4442-BC2B-F1D746694542}">
      <dsp:nvSpPr>
        <dsp:cNvPr id="0" name=""/>
        <dsp:cNvSpPr/>
      </dsp:nvSpPr>
      <dsp:spPr>
        <a:xfrm>
          <a:off x="2603856" y="0"/>
          <a:ext cx="1626247" cy="257453"/>
        </a:xfrm>
        <a:prstGeom prst="chevron">
          <a:avLst/>
        </a:prstGeom>
        <a:solidFill>
          <a:schemeClr val="accent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1"/>
              </a:solidFill>
              <a:latin typeface="+mn-lt"/>
              <a:ea typeface="+mn-ea"/>
              <a:cs typeface="+mn-cs"/>
            </a:rPr>
            <a:t>Q3. Assets, Tools &amp; Accelerators</a:t>
          </a:r>
        </a:p>
      </dsp:txBody>
      <dsp:txXfrm>
        <a:off x="2732583" y="0"/>
        <a:ext cx="1368794" cy="25745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576" y="0"/>
          <a:ext cx="1124493" cy="247922"/>
        </a:xfrm>
        <a:prstGeom prst="homePlate">
          <a:avLst/>
        </a:prstGeom>
        <a:solidFill>
          <a:schemeClr val="accent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Quality Management</a:t>
          </a:r>
        </a:p>
      </dsp:txBody>
      <dsp:txXfrm>
        <a:off x="576" y="0"/>
        <a:ext cx="1062513" cy="247922"/>
      </dsp:txXfrm>
    </dsp:sp>
    <dsp:sp modelId="{76212330-C1FC-401E-89CF-68665DE345E5}">
      <dsp:nvSpPr>
        <dsp:cNvPr id="0" name=""/>
        <dsp:cNvSpPr/>
      </dsp:nvSpPr>
      <dsp:spPr>
        <a:xfrm>
          <a:off x="900171" y="0"/>
          <a:ext cx="1124493" cy="247922"/>
        </a:xfrm>
        <a:prstGeom prst="chevron">
          <a:avLst/>
        </a:prstGeom>
        <a:solidFill>
          <a:schemeClr val="bg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ysClr val="window" lastClr="FFFFFF"/>
              </a:solidFill>
              <a:latin typeface="+mn-lt"/>
              <a:ea typeface="+mn-ea"/>
              <a:cs typeface="+mn-cs"/>
            </a:rPr>
            <a:t>Business Continuity &amp; Disaster Recovery</a:t>
          </a:r>
          <a:endParaRPr lang="en-US" sz="600" kern="1200">
            <a:solidFill>
              <a:sysClr val="window" lastClr="FFFFFF"/>
            </a:solidFill>
            <a:latin typeface="EYInterstate Light"/>
            <a:ea typeface="+mn-ea"/>
            <a:cs typeface="+mn-cs"/>
          </a:endParaRPr>
        </a:p>
      </dsp:txBody>
      <dsp:txXfrm>
        <a:off x="1024132" y="0"/>
        <a:ext cx="876571" cy="247922"/>
      </dsp:txXfrm>
    </dsp:sp>
    <dsp:sp modelId="{460B59A4-A822-4FC6-99B2-11D29D516C5E}">
      <dsp:nvSpPr>
        <dsp:cNvPr id="0" name=""/>
        <dsp:cNvSpPr/>
      </dsp:nvSpPr>
      <dsp:spPr>
        <a:xfrm>
          <a:off x="1799767" y="0"/>
          <a:ext cx="1124493" cy="247922"/>
        </a:xfrm>
        <a:prstGeom prst="chevron">
          <a:avLst/>
        </a:prstGeom>
        <a:solidFill>
          <a:srgbClr val="80808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ysClr val="window" lastClr="FFFFFF"/>
              </a:solidFill>
              <a:latin typeface="EYInterstate Light"/>
              <a:ea typeface="+mn-ea"/>
              <a:cs typeface="+mn-cs"/>
            </a:rPr>
            <a:t>Data Protection</a:t>
          </a:r>
        </a:p>
      </dsp:txBody>
      <dsp:txXfrm>
        <a:off x="1923728" y="0"/>
        <a:ext cx="876571" cy="247922"/>
      </dsp:txXfrm>
    </dsp:sp>
    <dsp:sp modelId="{49DC1B39-843B-4442-BC2B-F1D746694542}">
      <dsp:nvSpPr>
        <dsp:cNvPr id="0" name=""/>
        <dsp:cNvSpPr/>
      </dsp:nvSpPr>
      <dsp:spPr>
        <a:xfrm>
          <a:off x="2699362" y="0"/>
          <a:ext cx="1124493" cy="247922"/>
        </a:xfrm>
        <a:prstGeom prst="chevron">
          <a:avLst/>
        </a:prstGeom>
        <a:solidFill>
          <a:srgbClr val="808080">
            <a:lumMod val="10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Risk Management Details</a:t>
          </a:r>
        </a:p>
      </dsp:txBody>
      <dsp:txXfrm>
        <a:off x="2823323" y="0"/>
        <a:ext cx="876571" cy="247922"/>
      </dsp:txXfrm>
    </dsp:sp>
    <dsp:sp modelId="{BBA53C6E-B61D-411B-A1E8-7A6A21A05C13}">
      <dsp:nvSpPr>
        <dsp:cNvPr id="0" name=""/>
        <dsp:cNvSpPr/>
      </dsp:nvSpPr>
      <dsp:spPr>
        <a:xfrm>
          <a:off x="3598957" y="0"/>
          <a:ext cx="1124493" cy="247922"/>
        </a:xfrm>
        <a:prstGeom prst="chevron">
          <a:avLst/>
        </a:prstGeom>
        <a:solidFill>
          <a:srgbClr val="808080">
            <a:lumMod val="10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Integrity of Algorithmic Toolsets</a:t>
          </a:r>
        </a:p>
      </dsp:txBody>
      <dsp:txXfrm>
        <a:off x="3722918" y="0"/>
        <a:ext cx="876571" cy="24792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576" y="0"/>
          <a:ext cx="1124493" cy="247922"/>
        </a:xfrm>
        <a:prstGeom prst="homePlate">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uality Management</a:t>
          </a:r>
        </a:p>
      </dsp:txBody>
      <dsp:txXfrm>
        <a:off x="576" y="0"/>
        <a:ext cx="1062513" cy="247922"/>
      </dsp:txXfrm>
    </dsp:sp>
    <dsp:sp modelId="{76212330-C1FC-401E-89CF-68665DE345E5}">
      <dsp:nvSpPr>
        <dsp:cNvPr id="0" name=""/>
        <dsp:cNvSpPr/>
      </dsp:nvSpPr>
      <dsp:spPr>
        <a:xfrm>
          <a:off x="900171" y="0"/>
          <a:ext cx="1124493" cy="247922"/>
        </a:xfrm>
        <a:prstGeom prst="chevron">
          <a:avLst/>
        </a:prstGeom>
        <a:solidFill>
          <a:schemeClr val="accent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1"/>
              </a:solidFill>
              <a:latin typeface="+mn-lt"/>
              <a:ea typeface="+mn-ea"/>
              <a:cs typeface="+mn-cs"/>
            </a:rPr>
            <a:t>Business Continuity &amp; Disaster Recovery</a:t>
          </a:r>
          <a:endParaRPr lang="en-US" sz="600" kern="1200">
            <a:solidFill>
              <a:schemeClr val="tx1"/>
            </a:solidFill>
            <a:latin typeface="EYInterstate Light"/>
            <a:ea typeface="+mn-ea"/>
            <a:cs typeface="+mn-cs"/>
          </a:endParaRPr>
        </a:p>
      </dsp:txBody>
      <dsp:txXfrm>
        <a:off x="1024132" y="0"/>
        <a:ext cx="876571" cy="247922"/>
      </dsp:txXfrm>
    </dsp:sp>
    <dsp:sp modelId="{460B59A4-A822-4FC6-99B2-11D29D516C5E}">
      <dsp:nvSpPr>
        <dsp:cNvPr id="0" name=""/>
        <dsp:cNvSpPr/>
      </dsp:nvSpPr>
      <dsp:spPr>
        <a:xfrm>
          <a:off x="1799767" y="0"/>
          <a:ext cx="1124493" cy="247922"/>
        </a:xfrm>
        <a:prstGeom prst="chevron">
          <a:avLst/>
        </a:prstGeom>
        <a:solidFill>
          <a:srgbClr val="80808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ysClr val="window" lastClr="FFFFFF"/>
              </a:solidFill>
              <a:latin typeface="EYInterstate Light"/>
              <a:ea typeface="+mn-ea"/>
              <a:cs typeface="+mn-cs"/>
            </a:rPr>
            <a:t>Data Protection</a:t>
          </a:r>
        </a:p>
      </dsp:txBody>
      <dsp:txXfrm>
        <a:off x="1923728" y="0"/>
        <a:ext cx="876571" cy="247922"/>
      </dsp:txXfrm>
    </dsp:sp>
    <dsp:sp modelId="{49DC1B39-843B-4442-BC2B-F1D746694542}">
      <dsp:nvSpPr>
        <dsp:cNvPr id="0" name=""/>
        <dsp:cNvSpPr/>
      </dsp:nvSpPr>
      <dsp:spPr>
        <a:xfrm>
          <a:off x="2699362" y="0"/>
          <a:ext cx="1124493" cy="247922"/>
        </a:xfrm>
        <a:prstGeom prst="chevron">
          <a:avLst/>
        </a:prstGeom>
        <a:solidFill>
          <a:srgbClr val="808080">
            <a:lumMod val="10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Risk Management Details</a:t>
          </a:r>
        </a:p>
      </dsp:txBody>
      <dsp:txXfrm>
        <a:off x="2823323" y="0"/>
        <a:ext cx="876571" cy="247922"/>
      </dsp:txXfrm>
    </dsp:sp>
    <dsp:sp modelId="{BBA53C6E-B61D-411B-A1E8-7A6A21A05C13}">
      <dsp:nvSpPr>
        <dsp:cNvPr id="0" name=""/>
        <dsp:cNvSpPr/>
      </dsp:nvSpPr>
      <dsp:spPr>
        <a:xfrm>
          <a:off x="3598957" y="0"/>
          <a:ext cx="1124493" cy="247922"/>
        </a:xfrm>
        <a:prstGeom prst="chevron">
          <a:avLst/>
        </a:prstGeom>
        <a:solidFill>
          <a:srgbClr val="808080">
            <a:lumMod val="10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Integrity of Algorithmic Toolsets</a:t>
          </a:r>
        </a:p>
      </dsp:txBody>
      <dsp:txXfrm>
        <a:off x="3722918" y="0"/>
        <a:ext cx="876571" cy="2479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576" y="0"/>
          <a:ext cx="1124493" cy="247922"/>
        </a:xfrm>
        <a:prstGeom prst="homePlate">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uality Management</a:t>
          </a:r>
        </a:p>
      </dsp:txBody>
      <dsp:txXfrm>
        <a:off x="576" y="0"/>
        <a:ext cx="1062513" cy="247922"/>
      </dsp:txXfrm>
    </dsp:sp>
    <dsp:sp modelId="{76212330-C1FC-401E-89CF-68665DE345E5}">
      <dsp:nvSpPr>
        <dsp:cNvPr id="0" name=""/>
        <dsp:cNvSpPr/>
      </dsp:nvSpPr>
      <dsp:spPr>
        <a:xfrm>
          <a:off x="900171" y="0"/>
          <a:ext cx="1124493" cy="247922"/>
        </a:xfrm>
        <a:prstGeom prst="chevron">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solidFill>
              <a:latin typeface="+mn-lt"/>
              <a:ea typeface="+mn-ea"/>
              <a:cs typeface="+mn-cs"/>
            </a:rPr>
            <a:t>Business Continuity &amp; Disaster Recovery</a:t>
          </a:r>
          <a:endParaRPr lang="en-US" sz="600" kern="1200">
            <a:solidFill>
              <a:schemeClr val="tx2"/>
            </a:solidFill>
            <a:latin typeface="EYInterstate Light"/>
            <a:ea typeface="+mn-ea"/>
            <a:cs typeface="+mn-cs"/>
          </a:endParaRPr>
        </a:p>
      </dsp:txBody>
      <dsp:txXfrm>
        <a:off x="1024132" y="0"/>
        <a:ext cx="876571" cy="247922"/>
      </dsp:txXfrm>
    </dsp:sp>
    <dsp:sp modelId="{460B59A4-A822-4FC6-99B2-11D29D516C5E}">
      <dsp:nvSpPr>
        <dsp:cNvPr id="0" name=""/>
        <dsp:cNvSpPr/>
      </dsp:nvSpPr>
      <dsp:spPr>
        <a:xfrm>
          <a:off x="1799767" y="0"/>
          <a:ext cx="1124493" cy="247922"/>
        </a:xfrm>
        <a:prstGeom prst="chevron">
          <a:avLst/>
        </a:prstGeom>
        <a:solidFill>
          <a:schemeClr val="accent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Data Protection</a:t>
          </a:r>
        </a:p>
      </dsp:txBody>
      <dsp:txXfrm>
        <a:off x="1923728" y="0"/>
        <a:ext cx="876571" cy="247922"/>
      </dsp:txXfrm>
    </dsp:sp>
    <dsp:sp modelId="{49DC1B39-843B-4442-BC2B-F1D746694542}">
      <dsp:nvSpPr>
        <dsp:cNvPr id="0" name=""/>
        <dsp:cNvSpPr/>
      </dsp:nvSpPr>
      <dsp:spPr>
        <a:xfrm>
          <a:off x="2699362" y="0"/>
          <a:ext cx="1124493" cy="247922"/>
        </a:xfrm>
        <a:prstGeom prst="chevron">
          <a:avLst/>
        </a:prstGeom>
        <a:solidFill>
          <a:srgbClr val="808080">
            <a:lumMod val="10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Risk Management Details</a:t>
          </a:r>
        </a:p>
      </dsp:txBody>
      <dsp:txXfrm>
        <a:off x="2823323" y="0"/>
        <a:ext cx="876571" cy="247922"/>
      </dsp:txXfrm>
    </dsp:sp>
    <dsp:sp modelId="{BBA53C6E-B61D-411B-A1E8-7A6A21A05C13}">
      <dsp:nvSpPr>
        <dsp:cNvPr id="0" name=""/>
        <dsp:cNvSpPr/>
      </dsp:nvSpPr>
      <dsp:spPr>
        <a:xfrm>
          <a:off x="3598957" y="0"/>
          <a:ext cx="1124493" cy="247922"/>
        </a:xfrm>
        <a:prstGeom prst="chevron">
          <a:avLst/>
        </a:prstGeom>
        <a:solidFill>
          <a:srgbClr val="808080">
            <a:lumMod val="10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Integrity of Algorithmic Toolsets</a:t>
          </a:r>
        </a:p>
      </dsp:txBody>
      <dsp:txXfrm>
        <a:off x="3722918" y="0"/>
        <a:ext cx="876571" cy="24792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576" y="0"/>
          <a:ext cx="1124493" cy="247922"/>
        </a:xfrm>
        <a:prstGeom prst="homePlate">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uality Management</a:t>
          </a:r>
        </a:p>
      </dsp:txBody>
      <dsp:txXfrm>
        <a:off x="576" y="0"/>
        <a:ext cx="1062513" cy="247922"/>
      </dsp:txXfrm>
    </dsp:sp>
    <dsp:sp modelId="{76212330-C1FC-401E-89CF-68665DE345E5}">
      <dsp:nvSpPr>
        <dsp:cNvPr id="0" name=""/>
        <dsp:cNvSpPr/>
      </dsp:nvSpPr>
      <dsp:spPr>
        <a:xfrm>
          <a:off x="900171" y="0"/>
          <a:ext cx="1124493" cy="247922"/>
        </a:xfrm>
        <a:prstGeom prst="chevron">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solidFill>
              <a:latin typeface="+mn-lt"/>
              <a:ea typeface="+mn-ea"/>
              <a:cs typeface="+mn-cs"/>
            </a:rPr>
            <a:t>Business Continuity &amp; Disaster Recovery</a:t>
          </a:r>
          <a:endParaRPr lang="en-US" sz="600" kern="1200">
            <a:solidFill>
              <a:schemeClr val="tx2"/>
            </a:solidFill>
            <a:latin typeface="EYInterstate Light"/>
            <a:ea typeface="+mn-ea"/>
            <a:cs typeface="+mn-cs"/>
          </a:endParaRPr>
        </a:p>
      </dsp:txBody>
      <dsp:txXfrm>
        <a:off x="1024132" y="0"/>
        <a:ext cx="876571" cy="247922"/>
      </dsp:txXfrm>
    </dsp:sp>
    <dsp:sp modelId="{460B59A4-A822-4FC6-99B2-11D29D516C5E}">
      <dsp:nvSpPr>
        <dsp:cNvPr id="0" name=""/>
        <dsp:cNvSpPr/>
      </dsp:nvSpPr>
      <dsp:spPr>
        <a:xfrm>
          <a:off x="1799767" y="0"/>
          <a:ext cx="1124493" cy="247922"/>
        </a:xfrm>
        <a:prstGeom prst="chevron">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Data Protection</a:t>
          </a:r>
        </a:p>
      </dsp:txBody>
      <dsp:txXfrm>
        <a:off x="1923728" y="0"/>
        <a:ext cx="876571" cy="247922"/>
      </dsp:txXfrm>
    </dsp:sp>
    <dsp:sp modelId="{49DC1B39-843B-4442-BC2B-F1D746694542}">
      <dsp:nvSpPr>
        <dsp:cNvPr id="0" name=""/>
        <dsp:cNvSpPr/>
      </dsp:nvSpPr>
      <dsp:spPr>
        <a:xfrm>
          <a:off x="2699362" y="0"/>
          <a:ext cx="1124493" cy="247922"/>
        </a:xfrm>
        <a:prstGeom prst="chevron">
          <a:avLst/>
        </a:prstGeom>
        <a:solidFill>
          <a:schemeClr val="accent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Risk Management Details</a:t>
          </a:r>
        </a:p>
      </dsp:txBody>
      <dsp:txXfrm>
        <a:off x="2823323" y="0"/>
        <a:ext cx="876571" cy="247922"/>
      </dsp:txXfrm>
    </dsp:sp>
    <dsp:sp modelId="{BBA53C6E-B61D-411B-A1E8-7A6A21A05C13}">
      <dsp:nvSpPr>
        <dsp:cNvPr id="0" name=""/>
        <dsp:cNvSpPr/>
      </dsp:nvSpPr>
      <dsp:spPr>
        <a:xfrm>
          <a:off x="3598957" y="0"/>
          <a:ext cx="1124493" cy="247922"/>
        </a:xfrm>
        <a:prstGeom prst="chevron">
          <a:avLst/>
        </a:prstGeom>
        <a:solidFill>
          <a:srgbClr val="808080">
            <a:lumMod val="10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rgbClr val="FFFFFF">
                  <a:lumMod val="100000"/>
                </a:srgbClr>
              </a:solidFill>
              <a:latin typeface="EYInterstate Light"/>
              <a:ea typeface="+mn-ea"/>
              <a:cs typeface="+mn-cs"/>
            </a:rPr>
            <a:t>Integrity of Algorithmic Toolsets</a:t>
          </a:r>
        </a:p>
      </dsp:txBody>
      <dsp:txXfrm>
        <a:off x="3722918" y="0"/>
        <a:ext cx="876571" cy="24792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ACE5-1326-4A75-A244-CAF86395FE2E}">
      <dsp:nvSpPr>
        <dsp:cNvPr id="0" name=""/>
        <dsp:cNvSpPr/>
      </dsp:nvSpPr>
      <dsp:spPr>
        <a:xfrm>
          <a:off x="576" y="0"/>
          <a:ext cx="1124493" cy="247922"/>
        </a:xfrm>
        <a:prstGeom prst="homePlate">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solidFill>
              <a:latin typeface="EYInterstate Light"/>
              <a:ea typeface="+mn-ea"/>
              <a:cs typeface="+mn-cs"/>
            </a:rPr>
            <a:t>Quality Management</a:t>
          </a:r>
        </a:p>
      </dsp:txBody>
      <dsp:txXfrm>
        <a:off x="576" y="0"/>
        <a:ext cx="1062513" cy="247922"/>
      </dsp:txXfrm>
    </dsp:sp>
    <dsp:sp modelId="{76212330-C1FC-401E-89CF-68665DE345E5}">
      <dsp:nvSpPr>
        <dsp:cNvPr id="0" name=""/>
        <dsp:cNvSpPr/>
      </dsp:nvSpPr>
      <dsp:spPr>
        <a:xfrm>
          <a:off x="900171" y="0"/>
          <a:ext cx="1124493" cy="247922"/>
        </a:xfrm>
        <a:prstGeom prst="chevron">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solidFill>
              <a:latin typeface="+mn-lt"/>
              <a:ea typeface="+mn-ea"/>
              <a:cs typeface="+mn-cs"/>
            </a:rPr>
            <a:t>Business Continuity &amp; Disaster Recovery</a:t>
          </a:r>
          <a:endParaRPr lang="en-US" sz="600" kern="1200">
            <a:solidFill>
              <a:schemeClr val="tx2"/>
            </a:solidFill>
            <a:latin typeface="EYInterstate Light"/>
            <a:ea typeface="+mn-ea"/>
            <a:cs typeface="+mn-cs"/>
          </a:endParaRPr>
        </a:p>
      </dsp:txBody>
      <dsp:txXfrm>
        <a:off x="1024132" y="0"/>
        <a:ext cx="876571" cy="247922"/>
      </dsp:txXfrm>
    </dsp:sp>
    <dsp:sp modelId="{460B59A4-A822-4FC6-99B2-11D29D516C5E}">
      <dsp:nvSpPr>
        <dsp:cNvPr id="0" name=""/>
        <dsp:cNvSpPr/>
      </dsp:nvSpPr>
      <dsp:spPr>
        <a:xfrm>
          <a:off x="1799767" y="0"/>
          <a:ext cx="1124493" cy="247922"/>
        </a:xfrm>
        <a:prstGeom prst="chevron">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Data Protection</a:t>
          </a:r>
        </a:p>
      </dsp:txBody>
      <dsp:txXfrm>
        <a:off x="1923728" y="0"/>
        <a:ext cx="876571" cy="247922"/>
      </dsp:txXfrm>
    </dsp:sp>
    <dsp:sp modelId="{49DC1B39-843B-4442-BC2B-F1D746694542}">
      <dsp:nvSpPr>
        <dsp:cNvPr id="0" name=""/>
        <dsp:cNvSpPr/>
      </dsp:nvSpPr>
      <dsp:spPr>
        <a:xfrm>
          <a:off x="2699362" y="0"/>
          <a:ext cx="1124493" cy="247922"/>
        </a:xfrm>
        <a:prstGeom prst="chevron">
          <a:avLst/>
        </a:prstGeom>
        <a:solidFill>
          <a:schemeClr val="bg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2">
                  <a:lumMod val="100000"/>
                </a:schemeClr>
              </a:solidFill>
              <a:latin typeface="EYInterstate Light"/>
              <a:ea typeface="+mn-ea"/>
              <a:cs typeface="+mn-cs"/>
            </a:rPr>
            <a:t>Risk Management Details</a:t>
          </a:r>
        </a:p>
      </dsp:txBody>
      <dsp:txXfrm>
        <a:off x="2823323" y="0"/>
        <a:ext cx="876571" cy="247922"/>
      </dsp:txXfrm>
    </dsp:sp>
    <dsp:sp modelId="{BBA53C6E-B61D-411B-A1E8-7A6A21A05C13}">
      <dsp:nvSpPr>
        <dsp:cNvPr id="0" name=""/>
        <dsp:cNvSpPr/>
      </dsp:nvSpPr>
      <dsp:spPr>
        <a:xfrm>
          <a:off x="3598957" y="0"/>
          <a:ext cx="1124493" cy="247922"/>
        </a:xfrm>
        <a:prstGeom prst="chevron">
          <a:avLst/>
        </a:prstGeom>
        <a:solidFill>
          <a:schemeClr val="accent2">
            <a:lumMod val="10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16002" rIns="8001" bIns="16002" numCol="1" spcCol="1270" anchor="ctr" anchorCtr="0">
          <a:noAutofit/>
        </a:bodyPr>
        <a:lstStyle/>
        <a:p>
          <a:pPr marL="0" lvl="0" indent="0" algn="ctr" defTabSz="266700">
            <a:lnSpc>
              <a:spcPct val="90000"/>
            </a:lnSpc>
            <a:spcBef>
              <a:spcPct val="0"/>
            </a:spcBef>
            <a:spcAft>
              <a:spcPct val="35000"/>
            </a:spcAft>
            <a:buNone/>
          </a:pPr>
          <a:r>
            <a:rPr lang="en-US" sz="600" kern="1200">
              <a:solidFill>
                <a:schemeClr val="tx1">
                  <a:lumMod val="100000"/>
                </a:schemeClr>
              </a:solidFill>
              <a:latin typeface="EYInterstate Light"/>
              <a:ea typeface="+mn-ea"/>
              <a:cs typeface="+mn-cs"/>
            </a:rPr>
            <a:t>Integrity of Algorithmic Toolsets</a:t>
          </a:r>
        </a:p>
      </dsp:txBody>
      <dsp:txXfrm>
        <a:off x="3722918" y="0"/>
        <a:ext cx="876571" cy="247922"/>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265.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1.emf"/></Relationships>
</file>

<file path=ppt/drawings/drawing1.xml><?xml version="1.0" encoding="utf-8"?>
<c:userShapes xmlns:c="http://schemas.openxmlformats.org/drawingml/2006/chart">
  <cdr:relSizeAnchor xmlns:cdr="http://schemas.openxmlformats.org/drawingml/2006/chartDrawing">
    <cdr:from>
      <cdr:x>0.40641</cdr:x>
      <cdr:y>0.43312</cdr:y>
    </cdr:from>
    <cdr:to>
      <cdr:x>0.54428</cdr:x>
      <cdr:y>0.56936</cdr:y>
    </cdr:to>
    <cdr:pic>
      <cdr:nvPicPr>
        <cdr:cNvPr id="2" name="Picture 1" descr="Image result for singapore flag">
          <a:extLst xmlns:a="http://schemas.openxmlformats.org/drawingml/2006/main">
            <a:ext uri="{FF2B5EF4-FFF2-40B4-BE49-F238E27FC236}">
              <a16:creationId xmlns:a16="http://schemas.microsoft.com/office/drawing/2014/main" id="{77500458-A48A-46A0-A7D0-2C42754D129A}"/>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1886857" y="1347577"/>
          <a:ext cx="640080" cy="423892"/>
        </a:xfrm>
        <a:prstGeom xmlns:a="http://schemas.openxmlformats.org/drawingml/2006/main" prst="rect">
          <a:avLst/>
        </a:prstGeom>
        <a:noFill xmlns:a="http://schemas.openxmlformats.org/drawingml/2006/main"/>
        <a:ln xmlns:a="http://schemas.openxmlformats.org/drawingml/2006/main">
          <a:solidFill>
            <a:srgbClr val="000000"/>
          </a:solidFill>
        </a:l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charset="0"/>
              </a:defRPr>
            </a:lvl1pPr>
          </a:lstStyle>
          <a:p>
            <a:endParaRPr lang="en-GB" altLang="x-none"/>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charset="0"/>
              </a:defRPr>
            </a:lvl1pPr>
          </a:lstStyle>
          <a:p>
            <a:fld id="{7CED138F-8B56-444E-A71A-8B8ECCFF4D44}" type="datetimeFigureOut">
              <a:rPr lang="en-GB" altLang="x-none"/>
              <a:pPr/>
              <a:t>20/01/2021</a:t>
            </a:fld>
            <a:endParaRPr lang="en-GB" altLang="x-none"/>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charset="0"/>
              </a:defRPr>
            </a:lvl1pPr>
          </a:lstStyle>
          <a:p>
            <a:endParaRPr lang="en-GB" altLang="x-none"/>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charset="0"/>
              </a:defRPr>
            </a:lvl1pPr>
          </a:lstStyle>
          <a:p>
            <a:fld id="{B4996B4E-C603-714D-ADE5-C1DD30BED93B}" type="slidenum">
              <a:rPr lang="en-GB" altLang="en-US"/>
              <a:pPr/>
              <a:t>‹#›</a:t>
            </a:fld>
            <a:endParaRPr lang="en-GB" altLang="en-US"/>
          </a:p>
        </p:txBody>
      </p:sp>
    </p:spTree>
    <p:extLst>
      <p:ext uri="{BB962C8B-B14F-4D97-AF65-F5344CB8AC3E}">
        <p14:creationId xmlns:p14="http://schemas.microsoft.com/office/powerpoint/2010/main" val="15900316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charset="0"/>
              </a:defRPr>
            </a:lvl1pPr>
          </a:lstStyle>
          <a:p>
            <a:endParaRPr lang="en-GB" altLang="x-none"/>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charset="0"/>
              </a:defRPr>
            </a:lvl1pPr>
          </a:lstStyle>
          <a:p>
            <a:fld id="{E88B00AE-AF77-3140-9489-8A34EC62E1CF}" type="datetimeFigureOut">
              <a:rPr lang="en-GB" altLang="x-none"/>
              <a:pPr/>
              <a:t>20/01/2021</a:t>
            </a:fld>
            <a:endParaRPr lang="en-GB" altLang="x-none"/>
          </a:p>
        </p:txBody>
      </p:sp>
      <p:sp>
        <p:nvSpPr>
          <p:cNvPr id="4" name="Slide Image Placehold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charset="0"/>
              </a:defRPr>
            </a:lvl1pPr>
          </a:lstStyle>
          <a:p>
            <a:endParaRPr lang="en-GB" altLang="x-non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charset="0"/>
              </a:defRPr>
            </a:lvl1pPr>
          </a:lstStyle>
          <a:p>
            <a:fld id="{8234A75C-BE55-7142-9C3F-D7585B40CFCC}" type="slidenum">
              <a:rPr lang="en-GB" altLang="en-US"/>
              <a:pPr/>
              <a:t>‹#›</a:t>
            </a:fld>
            <a:endParaRPr lang="en-GB" altLang="en-US"/>
          </a:p>
        </p:txBody>
      </p:sp>
    </p:spTree>
    <p:extLst>
      <p:ext uri="{BB962C8B-B14F-4D97-AF65-F5344CB8AC3E}">
        <p14:creationId xmlns:p14="http://schemas.microsoft.com/office/powerpoint/2010/main" val="26430881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1</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0330080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17717622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Rectangle 6"/>
          <p:cNvSpPr>
            <a:spLocks noGrp="1" noChangeArrowheads="1"/>
          </p:cNvSpPr>
          <p:nvPr>
            <p:ph type="ftr" sz="quarter" idx="4"/>
          </p:nvPr>
        </p:nvSpPr>
        <p:spPr>
          <a:noFill/>
        </p:spPr>
        <p:txBody>
          <a:bodyPr/>
          <a:lstStyle/>
          <a:p>
            <a:pPr marL="0" marR="0" lvl="0" indent="0" algn="l"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Arial" charset="0"/>
            </a:endParaRPr>
          </a:p>
        </p:txBody>
      </p:sp>
      <p:sp>
        <p:nvSpPr>
          <p:cNvPr id="359427" name="Rectangle 7"/>
          <p:cNvSpPr>
            <a:spLocks noGrp="1" noChangeArrowheads="1"/>
          </p:cNvSpPr>
          <p:nvPr>
            <p:ph type="sldNum" sz="quarter" idx="5"/>
          </p:nvPr>
        </p:nvSpPr>
        <p:spPr>
          <a:noFill/>
        </p:spPr>
        <p:txBody>
          <a:bodyPr/>
          <a:lstStyle/>
          <a:p>
            <a:pPr marL="0" marR="0" lvl="0" indent="0" algn="r"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Arial" charset="0"/>
            </a:endParaRPr>
          </a:p>
        </p:txBody>
      </p:sp>
      <p:sp>
        <p:nvSpPr>
          <p:cNvPr id="359428" name="Rectangle 2"/>
          <p:cNvSpPr>
            <a:spLocks noGrp="1" noRot="1" noChangeAspect="1" noChangeArrowheads="1" noTextEdit="1"/>
          </p:cNvSpPr>
          <p:nvPr>
            <p:ph type="sldImg"/>
          </p:nvPr>
        </p:nvSpPr>
        <p:spPr>
          <a:xfrm>
            <a:off x="485775" y="733425"/>
            <a:ext cx="6415088" cy="3606800"/>
          </a:xfrm>
          <a:ln/>
        </p:spPr>
      </p:sp>
      <p:sp>
        <p:nvSpPr>
          <p:cNvPr id="359429" name="Rectangle 3"/>
          <p:cNvSpPr>
            <a:spLocks noGrp="1" noChangeArrowheads="1"/>
          </p:cNvSpPr>
          <p:nvPr>
            <p:ph type="body" idx="1"/>
          </p:nvPr>
        </p:nvSpPr>
        <p:spPr>
          <a:xfrm>
            <a:off x="845217" y="4287488"/>
            <a:ext cx="5692005" cy="4689106"/>
          </a:xfrm>
          <a:noFill/>
          <a:ln/>
        </p:spPr>
        <p:txBody>
          <a:bodyPr/>
          <a:lstStyle/>
          <a:p>
            <a:pPr eaLnBrk="1" hangingPunct="1"/>
            <a:endParaRPr lang="en-US"/>
          </a:p>
        </p:txBody>
      </p:sp>
    </p:spTree>
    <p:extLst>
      <p:ext uri="{BB962C8B-B14F-4D97-AF65-F5344CB8AC3E}">
        <p14:creationId xmlns:p14="http://schemas.microsoft.com/office/powerpoint/2010/main" val="3143600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1079500"/>
            <a:ext cx="9569450" cy="5380038"/>
          </a:xfrm>
        </p:spPr>
      </p:sp>
      <p:sp>
        <p:nvSpPr>
          <p:cNvPr id="3" name="Notes Placeholder 2"/>
          <p:cNvSpPr>
            <a:spLocks noGrp="1"/>
          </p:cNvSpPr>
          <p:nvPr>
            <p:ph type="body" idx="1"/>
          </p:nvPr>
        </p:nvSpPr>
        <p:spPr/>
        <p:txBody>
          <a:bodyPr>
            <a:normAutofit/>
          </a:bodyPr>
          <a:lstStyle/>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3027FC-03C7-4F5F-B21A-B9259E80C5E9}"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NZ"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9326706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4</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3863765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5</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25448929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Rectangle 6"/>
          <p:cNvSpPr>
            <a:spLocks noGrp="1" noChangeArrowheads="1"/>
          </p:cNvSpPr>
          <p:nvPr>
            <p:ph type="ftr" sz="quarter" idx="4"/>
          </p:nvPr>
        </p:nvSpPr>
        <p:spPr>
          <a:noFill/>
        </p:spPr>
        <p:txBody>
          <a:bodyPr/>
          <a:lstStyle/>
          <a:p>
            <a:pPr marL="0" marR="0" lvl="0" indent="0" algn="l"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Arial" charset="0"/>
            </a:endParaRPr>
          </a:p>
        </p:txBody>
      </p:sp>
      <p:sp>
        <p:nvSpPr>
          <p:cNvPr id="359427" name="Rectangle 7"/>
          <p:cNvSpPr>
            <a:spLocks noGrp="1" noChangeArrowheads="1"/>
          </p:cNvSpPr>
          <p:nvPr>
            <p:ph type="sldNum" sz="quarter" idx="5"/>
          </p:nvPr>
        </p:nvSpPr>
        <p:spPr>
          <a:noFill/>
        </p:spPr>
        <p:txBody>
          <a:bodyPr/>
          <a:lstStyle/>
          <a:p>
            <a:pPr marL="0" marR="0" lvl="0" indent="0" algn="r"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Arial" charset="0"/>
            </a:endParaRPr>
          </a:p>
        </p:txBody>
      </p:sp>
      <p:sp>
        <p:nvSpPr>
          <p:cNvPr id="359428" name="Rectangle 2"/>
          <p:cNvSpPr>
            <a:spLocks noGrp="1" noRot="1" noChangeAspect="1" noChangeArrowheads="1" noTextEdit="1"/>
          </p:cNvSpPr>
          <p:nvPr>
            <p:ph type="sldImg"/>
          </p:nvPr>
        </p:nvSpPr>
        <p:spPr>
          <a:xfrm>
            <a:off x="485775" y="733425"/>
            <a:ext cx="6415088" cy="3606800"/>
          </a:xfrm>
          <a:ln/>
        </p:spPr>
      </p:sp>
      <p:sp>
        <p:nvSpPr>
          <p:cNvPr id="359429" name="Rectangle 3"/>
          <p:cNvSpPr>
            <a:spLocks noGrp="1" noChangeArrowheads="1"/>
          </p:cNvSpPr>
          <p:nvPr>
            <p:ph type="body" idx="1"/>
          </p:nvPr>
        </p:nvSpPr>
        <p:spPr>
          <a:xfrm>
            <a:off x="845217" y="4287488"/>
            <a:ext cx="5692005" cy="4689106"/>
          </a:xfrm>
          <a:noFill/>
          <a:ln/>
        </p:spPr>
        <p:txBody>
          <a:bodyPr/>
          <a:lstStyle/>
          <a:p>
            <a:pPr eaLnBrk="1" hangingPunct="1"/>
            <a:endParaRPr lang="en-US"/>
          </a:p>
        </p:txBody>
      </p:sp>
    </p:spTree>
    <p:extLst>
      <p:ext uri="{BB962C8B-B14F-4D97-AF65-F5344CB8AC3E}">
        <p14:creationId xmlns:p14="http://schemas.microsoft.com/office/powerpoint/2010/main" val="20479020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9</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2012476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Rectangle 6"/>
          <p:cNvSpPr>
            <a:spLocks noGrp="1" noChangeArrowheads="1"/>
          </p:cNvSpPr>
          <p:nvPr>
            <p:ph type="ftr" sz="quarter" idx="4"/>
          </p:nvPr>
        </p:nvSpPr>
        <p:spPr>
          <a:noFill/>
        </p:spPr>
        <p:txBody>
          <a:bodyPr/>
          <a:lstStyle/>
          <a:p>
            <a:pPr marL="0" marR="0" lvl="0" indent="0" algn="l"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359427" name="Rectangle 7"/>
          <p:cNvSpPr>
            <a:spLocks noGrp="1" noChangeArrowheads="1"/>
          </p:cNvSpPr>
          <p:nvPr>
            <p:ph type="sldNum" sz="quarter" idx="5"/>
          </p:nvPr>
        </p:nvSpPr>
        <p:spPr>
          <a:noFill/>
        </p:spPr>
        <p:txBody>
          <a:bodyPr/>
          <a:lstStyle/>
          <a:p>
            <a:pPr marL="0" marR="0" lvl="0" indent="0" algn="r"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359428" name="Rectangle 2"/>
          <p:cNvSpPr>
            <a:spLocks noGrp="1" noRot="1" noChangeAspect="1" noChangeArrowheads="1" noTextEdit="1"/>
          </p:cNvSpPr>
          <p:nvPr>
            <p:ph type="sldImg"/>
          </p:nvPr>
        </p:nvSpPr>
        <p:spPr>
          <a:xfrm>
            <a:off x="485775" y="733425"/>
            <a:ext cx="6415088" cy="3606800"/>
          </a:xfrm>
          <a:ln/>
        </p:spPr>
      </p:sp>
      <p:sp>
        <p:nvSpPr>
          <p:cNvPr id="359429" name="Rectangle 3"/>
          <p:cNvSpPr>
            <a:spLocks noGrp="1" noChangeArrowheads="1"/>
          </p:cNvSpPr>
          <p:nvPr>
            <p:ph type="body" idx="1"/>
          </p:nvPr>
        </p:nvSpPr>
        <p:spPr>
          <a:xfrm>
            <a:off x="845217" y="4287488"/>
            <a:ext cx="5692005" cy="4689106"/>
          </a:xfrm>
          <a:noFill/>
          <a:ln/>
        </p:spPr>
        <p:txBody>
          <a:bodyPr/>
          <a:lstStyle/>
          <a:p>
            <a:pPr eaLnBrk="1" hangingPunct="1"/>
            <a:endParaRPr lang="en-US"/>
          </a:p>
        </p:txBody>
      </p:sp>
    </p:spTree>
    <p:extLst>
      <p:ext uri="{BB962C8B-B14F-4D97-AF65-F5344CB8AC3E}">
        <p14:creationId xmlns:p14="http://schemas.microsoft.com/office/powerpoint/2010/main" val="7926258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3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992969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32</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2541208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3</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0655606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Rectangle 6"/>
          <p:cNvSpPr>
            <a:spLocks noGrp="1" noChangeArrowheads="1"/>
          </p:cNvSpPr>
          <p:nvPr>
            <p:ph type="ftr" sz="quarter" idx="4"/>
          </p:nvPr>
        </p:nvSpPr>
        <p:spPr>
          <a:noFill/>
        </p:spPr>
        <p:txBody>
          <a:bodyPr/>
          <a:lstStyle/>
          <a:p>
            <a:pPr marL="0" marR="0" lvl="0" indent="0" algn="l"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359427" name="Rectangle 7"/>
          <p:cNvSpPr>
            <a:spLocks noGrp="1" noChangeArrowheads="1"/>
          </p:cNvSpPr>
          <p:nvPr>
            <p:ph type="sldNum" sz="quarter" idx="5"/>
          </p:nvPr>
        </p:nvSpPr>
        <p:spPr>
          <a:noFill/>
        </p:spPr>
        <p:txBody>
          <a:bodyPr/>
          <a:lstStyle/>
          <a:p>
            <a:pPr marL="0" marR="0" lvl="0" indent="0" algn="r"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359428" name="Rectangle 2"/>
          <p:cNvSpPr>
            <a:spLocks noGrp="1" noRot="1" noChangeAspect="1" noChangeArrowheads="1" noTextEdit="1"/>
          </p:cNvSpPr>
          <p:nvPr>
            <p:ph type="sldImg"/>
          </p:nvPr>
        </p:nvSpPr>
        <p:spPr>
          <a:xfrm>
            <a:off x="485775" y="733425"/>
            <a:ext cx="6415088" cy="3606800"/>
          </a:xfrm>
          <a:ln/>
        </p:spPr>
      </p:sp>
      <p:sp>
        <p:nvSpPr>
          <p:cNvPr id="359429" name="Rectangle 3"/>
          <p:cNvSpPr>
            <a:spLocks noGrp="1" noChangeArrowheads="1"/>
          </p:cNvSpPr>
          <p:nvPr>
            <p:ph type="body" idx="1"/>
          </p:nvPr>
        </p:nvSpPr>
        <p:spPr>
          <a:xfrm>
            <a:off x="845217" y="4287488"/>
            <a:ext cx="5692005" cy="4689106"/>
          </a:xfrm>
          <a:noFill/>
          <a:ln/>
        </p:spPr>
        <p:txBody>
          <a:bodyPr/>
          <a:lstStyle/>
          <a:p>
            <a:pPr eaLnBrk="1" hangingPunct="1"/>
            <a:endParaRPr lang="en-US"/>
          </a:p>
        </p:txBody>
      </p:sp>
    </p:spTree>
    <p:extLst>
      <p:ext uri="{BB962C8B-B14F-4D97-AF65-F5344CB8AC3E}">
        <p14:creationId xmlns:p14="http://schemas.microsoft.com/office/powerpoint/2010/main" val="2755007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35</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5154457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234A75C-BE55-7142-9C3F-D7585B40CFCC}" type="slidenum">
              <a:rPr kumimoji="0" lang="en-GB" altLang="en-US"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GB" altLang="en-US"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13513572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4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8984374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42</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16474463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44</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25393096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45</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3895333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46</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3076725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47</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8300400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48</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930755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6769127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ceived from Steve Hamill - AIA_References.pptx</a:t>
            </a:r>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26647350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ceived from Steve Hamill - AIA_References.pptx</a:t>
            </a:r>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5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30229541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ceived from Steve Hamill - AIA_References_cloud_modernization.pptx</a:t>
            </a:r>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2</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5250622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ceived from Steve Hamill - AIA_References.pptx</a:t>
            </a:r>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3</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26647350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4</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0638390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5</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0180199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6</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1134203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7</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6610699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8</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5215356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59</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159388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234A75C-BE55-7142-9C3F-D7585B40CFCC}" type="slidenum">
              <a:rPr kumimoji="0" lang="en-GB" altLang="en-US" sz="1200" b="0" i="0" u="none" strike="noStrike" kern="1200" cap="none" spc="0" normalizeH="0" baseline="0" noProof="0" smtClean="0">
                <a:ln>
                  <a:noFill/>
                </a:ln>
                <a:solidFill>
                  <a:prstClr val="black"/>
                </a:solidFill>
                <a:effectLst/>
                <a:uLnTx/>
                <a:uFillTx/>
                <a:latin typeface="Calibri"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altLang="en-US" sz="1200" b="0" i="0" u="none" strike="noStrike" kern="1200" cap="none" spc="0" normalizeH="0" baseline="0" noProof="0" dirty="0">
              <a:ln>
                <a:noFill/>
              </a:ln>
              <a:solidFill>
                <a:prstClr val="black"/>
              </a:solidFill>
              <a:effectLst/>
              <a:uLnTx/>
              <a:uFillTx/>
              <a:latin typeface="Calibri" charset="0"/>
              <a:ea typeface="+mn-ea"/>
              <a:cs typeface="Arial" charset="0"/>
            </a:endParaRPr>
          </a:p>
        </p:txBody>
      </p:sp>
    </p:spTree>
    <p:extLst>
      <p:ext uri="{BB962C8B-B14F-4D97-AF65-F5344CB8AC3E}">
        <p14:creationId xmlns:p14="http://schemas.microsoft.com/office/powerpoint/2010/main" val="3937292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60</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1335029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6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9795822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62</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4126561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mn-cs"/>
              </a:rPr>
              <a:pPr marL="0" marR="0" lvl="0" indent="0" algn="r" defTabSz="911015" rtl="0" eaLnBrk="0" fontAlgn="base" latinLnBrk="0" hangingPunct="0">
                <a:lnSpc>
                  <a:spcPct val="100000"/>
                </a:lnSpc>
                <a:spcBef>
                  <a:spcPct val="0"/>
                </a:spcBef>
                <a:spcAft>
                  <a:spcPct val="0"/>
                </a:spcAft>
                <a:buClrTx/>
                <a:buSzTx/>
                <a:buFontTx/>
                <a:buNone/>
                <a:tabLst/>
                <a:defRPr/>
              </a:pPr>
              <a:t>63</a:t>
            </a:fld>
            <a:endPar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719292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66763"/>
            <a:ext cx="6826250" cy="3838575"/>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894390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A1AA5B97-AE52-4962-9288-00DBDF2B6D94}" type="datetime3">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20 January 2021</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Arial" charset="0"/>
            </a:endParaRPr>
          </a:p>
        </p:txBody>
      </p:sp>
      <p:sp>
        <p:nvSpPr>
          <p:cNvPr id="5" name="Slide Number Placeholder 4"/>
          <p:cNvSpPr>
            <a:spLocks noGrp="1"/>
          </p:cNvSpPr>
          <p:nvPr>
            <p:ph type="sldNum" sz="quarter" idx="5"/>
          </p:nvPr>
        </p:nvSpPr>
        <p:spPr/>
        <p:txBody>
          <a:bodyPr/>
          <a:lstStyle/>
          <a:p>
            <a:pPr marL="0" marR="0" lvl="0" indent="0" algn="r" defTabSz="911015" rtl="0" eaLnBrk="0" fontAlgn="base" latinLnBrk="0" hangingPunct="0">
              <a:lnSpc>
                <a:spcPct val="100000"/>
              </a:lnSpc>
              <a:spcBef>
                <a:spcPct val="0"/>
              </a:spcBef>
              <a:spcAft>
                <a:spcPct val="0"/>
              </a:spcAft>
              <a:buClrTx/>
              <a:buSzTx/>
              <a:buFontTx/>
              <a:buNone/>
              <a:tabLst/>
              <a:defRPr/>
            </a:pPr>
            <a:fld id="{D6A34487-4F48-425E-A304-49BC9447D884}" type="slidenum">
              <a:rPr kumimoji="0" lang="en-US" sz="1000" b="0" i="1" u="none" strike="noStrike" kern="1200" cap="none" spc="0" normalizeH="0" baseline="0" noProof="0" smtClean="0">
                <a:ln>
                  <a:noFill/>
                </a:ln>
                <a:solidFill>
                  <a:srgbClr val="000000"/>
                </a:solidFill>
                <a:effectLst/>
                <a:uLnTx/>
                <a:uFillTx/>
                <a:latin typeface="EYInterstate Light" panose="02000506000000020004" pitchFamily="2" charset="0"/>
                <a:ea typeface="+mn-ea"/>
                <a:cs typeface="Arial" charset="0"/>
              </a:rPr>
              <a:pPr marL="0" marR="0" lvl="0" indent="0" algn="r" defTabSz="911015" rtl="0" eaLnBrk="0" fontAlgn="base" latinLnBrk="0" hangingPunct="0">
                <a:lnSpc>
                  <a:spcPct val="100000"/>
                </a:lnSpc>
                <a:spcBef>
                  <a:spcPct val="0"/>
                </a:spcBef>
                <a:spcAft>
                  <a:spcPct val="0"/>
                </a:spcAft>
                <a:buClrTx/>
                <a:buSzTx/>
                <a:buFontTx/>
                <a:buNone/>
                <a:tabLst/>
                <a:defRPr/>
              </a:pPr>
              <a:t>12</a:t>
            </a:fld>
            <a:endPar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Arial" charset="0"/>
            </a:endParaRPr>
          </a:p>
        </p:txBody>
      </p:sp>
    </p:spTree>
    <p:extLst>
      <p:ext uri="{BB962C8B-B14F-4D97-AF65-F5344CB8AC3E}">
        <p14:creationId xmlns:p14="http://schemas.microsoft.com/office/powerpoint/2010/main" val="3728874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Rectangle 6"/>
          <p:cNvSpPr>
            <a:spLocks noGrp="1" noChangeArrowheads="1"/>
          </p:cNvSpPr>
          <p:nvPr>
            <p:ph type="ftr" sz="quarter" idx="4"/>
          </p:nvPr>
        </p:nvSpPr>
        <p:spPr>
          <a:noFill/>
        </p:spPr>
        <p:txBody>
          <a:bodyPr/>
          <a:lstStyle/>
          <a:p>
            <a:pPr marL="0" marR="0" lvl="0" indent="0" algn="l"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endParaRPr>
          </a:p>
        </p:txBody>
      </p:sp>
      <p:sp>
        <p:nvSpPr>
          <p:cNvPr id="359427" name="Rectangle 7"/>
          <p:cNvSpPr>
            <a:spLocks noGrp="1" noChangeArrowheads="1"/>
          </p:cNvSpPr>
          <p:nvPr>
            <p:ph type="sldNum" sz="quarter" idx="5"/>
          </p:nvPr>
        </p:nvSpPr>
        <p:spPr>
          <a:noFill/>
        </p:spPr>
        <p:txBody>
          <a:bodyPr/>
          <a:lstStyle/>
          <a:p>
            <a:pPr marL="0" marR="0" lvl="0" indent="0" algn="r"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endParaRPr>
          </a:p>
        </p:txBody>
      </p:sp>
      <p:sp>
        <p:nvSpPr>
          <p:cNvPr id="359428" name="Rectangle 2"/>
          <p:cNvSpPr>
            <a:spLocks noGrp="1" noRot="1" noChangeAspect="1" noChangeArrowheads="1" noTextEdit="1"/>
          </p:cNvSpPr>
          <p:nvPr>
            <p:ph type="sldImg"/>
          </p:nvPr>
        </p:nvSpPr>
        <p:spPr>
          <a:xfrm>
            <a:off x="485775" y="733425"/>
            <a:ext cx="6415088" cy="3606800"/>
          </a:xfrm>
          <a:ln/>
        </p:spPr>
      </p:sp>
      <p:sp>
        <p:nvSpPr>
          <p:cNvPr id="359429" name="Rectangle 3"/>
          <p:cNvSpPr>
            <a:spLocks noGrp="1" noChangeArrowheads="1"/>
          </p:cNvSpPr>
          <p:nvPr>
            <p:ph type="body" idx="1"/>
          </p:nvPr>
        </p:nvSpPr>
        <p:spPr>
          <a:xfrm>
            <a:off x="845217" y="4287488"/>
            <a:ext cx="5692005" cy="4689106"/>
          </a:xfrm>
          <a:noFill/>
          <a:ln/>
        </p:spPr>
        <p:txBody>
          <a:bodyPr/>
          <a:lstStyle/>
          <a:p>
            <a:pPr eaLnBrk="1" hangingPunct="1"/>
            <a:endParaRPr lang="en-US" dirty="0"/>
          </a:p>
        </p:txBody>
      </p:sp>
    </p:spTree>
    <p:extLst>
      <p:ext uri="{BB962C8B-B14F-4D97-AF65-F5344CB8AC3E}">
        <p14:creationId xmlns:p14="http://schemas.microsoft.com/office/powerpoint/2010/main" val="412091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Rectangle 6"/>
          <p:cNvSpPr>
            <a:spLocks noGrp="1" noChangeArrowheads="1"/>
          </p:cNvSpPr>
          <p:nvPr>
            <p:ph type="ftr" sz="quarter" idx="4"/>
          </p:nvPr>
        </p:nvSpPr>
        <p:spPr>
          <a:noFill/>
        </p:spPr>
        <p:txBody>
          <a:bodyPr/>
          <a:lstStyle/>
          <a:p>
            <a:pPr marL="0" marR="0" lvl="0" indent="0" algn="l"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Arial" charset="0"/>
            </a:endParaRPr>
          </a:p>
        </p:txBody>
      </p:sp>
      <p:sp>
        <p:nvSpPr>
          <p:cNvPr id="359427" name="Rectangle 7"/>
          <p:cNvSpPr>
            <a:spLocks noGrp="1" noChangeArrowheads="1"/>
          </p:cNvSpPr>
          <p:nvPr>
            <p:ph type="sldNum" sz="quarter" idx="5"/>
          </p:nvPr>
        </p:nvSpPr>
        <p:spPr>
          <a:noFill/>
        </p:spPr>
        <p:txBody>
          <a:bodyPr/>
          <a:lstStyle/>
          <a:p>
            <a:pPr marL="0" marR="0" lvl="0" indent="0" algn="r" defTabSz="1043056" rtl="0" eaLnBrk="1" fontAlgn="auto" latinLnBrk="0" hangingPunct="1">
              <a:lnSpc>
                <a:spcPct val="100000"/>
              </a:lnSpc>
              <a:spcBef>
                <a:spcPts val="0"/>
              </a:spcBef>
              <a:spcAft>
                <a:spcPts val="0"/>
              </a:spcAft>
              <a:buClr>
                <a:srgbClr val="C0504D"/>
              </a:buClr>
              <a:buSzTx/>
              <a:buFontTx/>
              <a:buNone/>
              <a:tabLst/>
              <a:defRPr/>
            </a:pPr>
            <a:endParaRPr kumimoji="0" lang="en-US"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Arial" charset="0"/>
            </a:endParaRPr>
          </a:p>
        </p:txBody>
      </p:sp>
      <p:sp>
        <p:nvSpPr>
          <p:cNvPr id="359428" name="Rectangle 2"/>
          <p:cNvSpPr>
            <a:spLocks noGrp="1" noRot="1" noChangeAspect="1" noChangeArrowheads="1" noTextEdit="1"/>
          </p:cNvSpPr>
          <p:nvPr>
            <p:ph type="sldImg"/>
          </p:nvPr>
        </p:nvSpPr>
        <p:spPr>
          <a:xfrm>
            <a:off x="485775" y="733425"/>
            <a:ext cx="6415088" cy="3606800"/>
          </a:xfrm>
          <a:ln/>
        </p:spPr>
      </p:sp>
      <p:sp>
        <p:nvSpPr>
          <p:cNvPr id="359429" name="Rectangle 3"/>
          <p:cNvSpPr>
            <a:spLocks noGrp="1" noChangeArrowheads="1"/>
          </p:cNvSpPr>
          <p:nvPr>
            <p:ph type="body" idx="1"/>
          </p:nvPr>
        </p:nvSpPr>
        <p:spPr>
          <a:xfrm>
            <a:off x="845217" y="4287488"/>
            <a:ext cx="5692005" cy="4689106"/>
          </a:xfrm>
          <a:noFill/>
          <a:ln/>
        </p:spPr>
        <p:txBody>
          <a:bodyPr/>
          <a:lstStyle/>
          <a:p>
            <a:pPr eaLnBrk="1" hangingPunct="1"/>
            <a:endParaRPr lang="en-US" dirty="0"/>
          </a:p>
        </p:txBody>
      </p:sp>
    </p:spTree>
    <p:extLst>
      <p:ext uri="{BB962C8B-B14F-4D97-AF65-F5344CB8AC3E}">
        <p14:creationId xmlns:p14="http://schemas.microsoft.com/office/powerpoint/2010/main" val="2279671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1079500"/>
            <a:ext cx="9569450" cy="5380038"/>
          </a:xfrm>
        </p:spPr>
      </p:sp>
      <p:sp>
        <p:nvSpPr>
          <p:cNvPr id="3" name="Notes Placeholder 2"/>
          <p:cNvSpPr>
            <a:spLocks noGrp="1"/>
          </p:cNvSpPr>
          <p:nvPr>
            <p:ph type="body" idx="1"/>
          </p:nvPr>
        </p:nvSpPr>
        <p:spPr/>
        <p:txBody>
          <a:bodyPr>
            <a:normAutofit/>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3027FC-03C7-4F5F-B21A-B9259E80C5E9}"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953038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1.xml"/><Relationship Id="rId1" Type="http://schemas.openxmlformats.org/officeDocument/2006/relationships/vmlDrawing" Target="../drawings/vmlDrawing54.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4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2.xml"/><Relationship Id="rId1" Type="http://schemas.openxmlformats.org/officeDocument/2006/relationships/vmlDrawing" Target="../drawings/vmlDrawing55.vml"/><Relationship Id="rId5" Type="http://schemas.openxmlformats.org/officeDocument/2006/relationships/image" Target="../media/image11.emf"/><Relationship Id="rId4" Type="http://schemas.openxmlformats.org/officeDocument/2006/relationships/oleObject" Target="../embeddings/oleObject48.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57.vml"/><Relationship Id="rId6" Type="http://schemas.openxmlformats.org/officeDocument/2006/relationships/image" Target="../media/image26.jpeg"/><Relationship Id="rId5" Type="http://schemas.openxmlformats.org/officeDocument/2006/relationships/image" Target="../media/image16.emf"/><Relationship Id="rId4" Type="http://schemas.openxmlformats.org/officeDocument/2006/relationships/oleObject" Target="../embeddings/oleObject5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6.xml"/><Relationship Id="rId1" Type="http://schemas.openxmlformats.org/officeDocument/2006/relationships/vmlDrawing" Target="../drawings/vmlDrawing58.vml"/><Relationship Id="rId5" Type="http://schemas.openxmlformats.org/officeDocument/2006/relationships/image" Target="../media/image11.emf"/><Relationship Id="rId4" Type="http://schemas.openxmlformats.org/officeDocument/2006/relationships/oleObject" Target="../embeddings/oleObject51.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60.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5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61.vml"/><Relationship Id="rId5" Type="http://schemas.openxmlformats.org/officeDocument/2006/relationships/image" Target="../media/image11.emf"/><Relationship Id="rId4" Type="http://schemas.openxmlformats.org/officeDocument/2006/relationships/oleObject" Target="../embeddings/oleObject54.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8.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62.vml"/><Relationship Id="rId6" Type="http://schemas.openxmlformats.org/officeDocument/2006/relationships/image" Target="../media/image11.emf"/><Relationship Id="rId5" Type="http://schemas.openxmlformats.org/officeDocument/2006/relationships/oleObject" Target="../embeddings/oleObject55.bin"/><Relationship Id="rId4" Type="http://schemas.openxmlformats.org/officeDocument/2006/relationships/slideMaster" Target="../slideMasters/slideMaster18.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64.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57.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6.xml"/><Relationship Id="rId1" Type="http://schemas.openxmlformats.org/officeDocument/2006/relationships/vmlDrawing" Target="../drawings/vmlDrawing65.vml"/><Relationship Id="rId5" Type="http://schemas.openxmlformats.org/officeDocument/2006/relationships/image" Target="../media/image11.emf"/><Relationship Id="rId4" Type="http://schemas.openxmlformats.org/officeDocument/2006/relationships/oleObject" Target="../embeddings/oleObject58.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9.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66.vml"/><Relationship Id="rId6" Type="http://schemas.openxmlformats.org/officeDocument/2006/relationships/image" Target="../media/image11.emf"/><Relationship Id="rId5" Type="http://schemas.openxmlformats.org/officeDocument/2006/relationships/oleObject" Target="../embeddings/oleObject59.bin"/><Relationship Id="rId4" Type="http://schemas.openxmlformats.org/officeDocument/2006/relationships/slideMaster" Target="../slideMasters/slideMaster19.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1.xml"/><Relationship Id="rId1" Type="http://schemas.openxmlformats.org/officeDocument/2006/relationships/vmlDrawing" Target="../drawings/vmlDrawing68.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61.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2.xml"/><Relationship Id="rId1" Type="http://schemas.openxmlformats.org/officeDocument/2006/relationships/vmlDrawing" Target="../drawings/vmlDrawing69.vml"/><Relationship Id="rId5" Type="http://schemas.openxmlformats.org/officeDocument/2006/relationships/image" Target="../media/image11.emf"/><Relationship Id="rId4" Type="http://schemas.openxmlformats.org/officeDocument/2006/relationships/oleObject" Target="../embeddings/oleObject62.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71.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64.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6.xml"/><Relationship Id="rId1" Type="http://schemas.openxmlformats.org/officeDocument/2006/relationships/vmlDrawing" Target="../drawings/vmlDrawing72.vml"/><Relationship Id="rId5" Type="http://schemas.openxmlformats.org/officeDocument/2006/relationships/image" Target="../media/image11.emf"/><Relationship Id="rId4" Type="http://schemas.openxmlformats.org/officeDocument/2006/relationships/oleObject" Target="../embeddings/oleObject65.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1.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73.vml"/><Relationship Id="rId6" Type="http://schemas.openxmlformats.org/officeDocument/2006/relationships/image" Target="../media/image11.emf"/><Relationship Id="rId5" Type="http://schemas.openxmlformats.org/officeDocument/2006/relationships/oleObject" Target="../embeddings/oleObject66.bin"/><Relationship Id="rId4" Type="http://schemas.openxmlformats.org/officeDocument/2006/relationships/slideMaster" Target="../slideMasters/slideMaster21.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1.xml"/><Relationship Id="rId1" Type="http://schemas.openxmlformats.org/officeDocument/2006/relationships/vmlDrawing" Target="../drawings/vmlDrawing75.vml"/><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76.vml"/><Relationship Id="rId6" Type="http://schemas.openxmlformats.org/officeDocument/2006/relationships/image" Target="../media/image12.emf"/><Relationship Id="rId5" Type="http://schemas.openxmlformats.org/officeDocument/2006/relationships/oleObject" Target="../embeddings/oleObject69.bin"/><Relationship Id="rId4" Type="http://schemas.openxmlformats.org/officeDocument/2006/relationships/slideMaster" Target="../slideMasters/slideMaster22.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77.vml"/><Relationship Id="rId6" Type="http://schemas.openxmlformats.org/officeDocument/2006/relationships/image" Target="../media/image12.emf"/><Relationship Id="rId5" Type="http://schemas.openxmlformats.org/officeDocument/2006/relationships/oleObject" Target="../embeddings/oleObject70.bin"/><Relationship Id="rId4" Type="http://schemas.openxmlformats.org/officeDocument/2006/relationships/slideMaster" Target="../slideMasters/slideMaster22.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78.vml"/><Relationship Id="rId6" Type="http://schemas.openxmlformats.org/officeDocument/2006/relationships/image" Target="../media/image12.emf"/><Relationship Id="rId5" Type="http://schemas.openxmlformats.org/officeDocument/2006/relationships/oleObject" Target="../embeddings/oleObject71.bin"/><Relationship Id="rId4" Type="http://schemas.openxmlformats.org/officeDocument/2006/relationships/slideMaster" Target="../slideMasters/slideMaster2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119.xml"/><Relationship Id="rId7" Type="http://schemas.openxmlformats.org/officeDocument/2006/relationships/diagramData" Target="../diagrams/data1.xml"/><Relationship Id="rId2" Type="http://schemas.openxmlformats.org/officeDocument/2006/relationships/tags" Target="../tags/tag118.xml"/><Relationship Id="rId1" Type="http://schemas.openxmlformats.org/officeDocument/2006/relationships/vmlDrawing" Target="../drawings/vmlDrawing79.vml"/><Relationship Id="rId6" Type="http://schemas.openxmlformats.org/officeDocument/2006/relationships/image" Target="../media/image12.emf"/><Relationship Id="rId11" Type="http://schemas.microsoft.com/office/2007/relationships/diagramDrawing" Target="../diagrams/drawing1.xml"/><Relationship Id="rId5" Type="http://schemas.openxmlformats.org/officeDocument/2006/relationships/oleObject" Target="../embeddings/oleObject72.bin"/><Relationship Id="rId10" Type="http://schemas.openxmlformats.org/officeDocument/2006/relationships/diagramColors" Target="../diagrams/colors1.xml"/><Relationship Id="rId4" Type="http://schemas.openxmlformats.org/officeDocument/2006/relationships/slideMaster" Target="../slideMasters/slideMaster22.xml"/><Relationship Id="rId9" Type="http://schemas.openxmlformats.org/officeDocument/2006/relationships/diagramQuickStyle" Target="../diagrams/quickStyle1.xml"/></Relationships>
</file>

<file path=ppt/slideLayouts/_rels/slideLayout14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tags" Target="../tags/tag121.xml"/><Relationship Id="rId7" Type="http://schemas.openxmlformats.org/officeDocument/2006/relationships/diagramData" Target="../diagrams/data2.xml"/><Relationship Id="rId2" Type="http://schemas.openxmlformats.org/officeDocument/2006/relationships/tags" Target="../tags/tag120.xml"/><Relationship Id="rId1" Type="http://schemas.openxmlformats.org/officeDocument/2006/relationships/vmlDrawing" Target="../drawings/vmlDrawing80.vml"/><Relationship Id="rId6" Type="http://schemas.openxmlformats.org/officeDocument/2006/relationships/image" Target="../media/image12.emf"/><Relationship Id="rId11" Type="http://schemas.microsoft.com/office/2007/relationships/diagramDrawing" Target="../diagrams/drawing2.xml"/><Relationship Id="rId5" Type="http://schemas.openxmlformats.org/officeDocument/2006/relationships/oleObject" Target="../embeddings/oleObject73.bin"/><Relationship Id="rId10" Type="http://schemas.openxmlformats.org/officeDocument/2006/relationships/diagramColors" Target="../diagrams/colors2.xml"/><Relationship Id="rId4" Type="http://schemas.openxmlformats.org/officeDocument/2006/relationships/slideMaster" Target="../slideMasters/slideMaster22.xml"/><Relationship Id="rId9" Type="http://schemas.openxmlformats.org/officeDocument/2006/relationships/diagramQuickStyle" Target="../diagrams/quickStyle2.xml"/></Relationships>
</file>

<file path=ppt/slideLayouts/_rels/slideLayout142.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tags" Target="../tags/tag123.xml"/><Relationship Id="rId7" Type="http://schemas.openxmlformats.org/officeDocument/2006/relationships/diagramData" Target="../diagrams/data3.xml"/><Relationship Id="rId2" Type="http://schemas.openxmlformats.org/officeDocument/2006/relationships/tags" Target="../tags/tag122.xml"/><Relationship Id="rId1" Type="http://schemas.openxmlformats.org/officeDocument/2006/relationships/vmlDrawing" Target="../drawings/vmlDrawing81.vml"/><Relationship Id="rId6" Type="http://schemas.openxmlformats.org/officeDocument/2006/relationships/image" Target="../media/image12.emf"/><Relationship Id="rId11" Type="http://schemas.microsoft.com/office/2007/relationships/diagramDrawing" Target="../diagrams/drawing3.xml"/><Relationship Id="rId5" Type="http://schemas.openxmlformats.org/officeDocument/2006/relationships/oleObject" Target="../embeddings/oleObject74.bin"/><Relationship Id="rId10" Type="http://schemas.openxmlformats.org/officeDocument/2006/relationships/diagramColors" Target="../diagrams/colors3.xml"/><Relationship Id="rId4" Type="http://schemas.openxmlformats.org/officeDocument/2006/relationships/slideMaster" Target="../slideMasters/slideMaster22.xml"/><Relationship Id="rId9" Type="http://schemas.openxmlformats.org/officeDocument/2006/relationships/diagramQuickStyle" Target="../diagrams/quickStyle3.xml"/></Relationships>
</file>

<file path=ppt/slideLayouts/_rels/slideLayout14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tags" Target="../tags/tag125.xml"/><Relationship Id="rId7" Type="http://schemas.openxmlformats.org/officeDocument/2006/relationships/diagramData" Target="../diagrams/data4.xml"/><Relationship Id="rId2" Type="http://schemas.openxmlformats.org/officeDocument/2006/relationships/tags" Target="../tags/tag124.xml"/><Relationship Id="rId1" Type="http://schemas.openxmlformats.org/officeDocument/2006/relationships/vmlDrawing" Target="../drawings/vmlDrawing82.vml"/><Relationship Id="rId6" Type="http://schemas.openxmlformats.org/officeDocument/2006/relationships/image" Target="../media/image12.emf"/><Relationship Id="rId11" Type="http://schemas.microsoft.com/office/2007/relationships/diagramDrawing" Target="../diagrams/drawing4.xml"/><Relationship Id="rId5" Type="http://schemas.openxmlformats.org/officeDocument/2006/relationships/oleObject" Target="../embeddings/oleObject75.bin"/><Relationship Id="rId10" Type="http://schemas.openxmlformats.org/officeDocument/2006/relationships/diagramColors" Target="../diagrams/colors4.xml"/><Relationship Id="rId4" Type="http://schemas.openxmlformats.org/officeDocument/2006/relationships/slideMaster" Target="../slideMasters/slideMaster22.xml"/><Relationship Id="rId9" Type="http://schemas.openxmlformats.org/officeDocument/2006/relationships/diagramQuickStyle" Target="../diagrams/quickStyle4.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83.vml"/><Relationship Id="rId6" Type="http://schemas.openxmlformats.org/officeDocument/2006/relationships/image" Target="../media/image12.emf"/><Relationship Id="rId5" Type="http://schemas.openxmlformats.org/officeDocument/2006/relationships/oleObject" Target="../embeddings/oleObject76.bin"/><Relationship Id="rId4" Type="http://schemas.openxmlformats.org/officeDocument/2006/relationships/slideMaster" Target="../slideMasters/slideMaster22.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84.vml"/><Relationship Id="rId6" Type="http://schemas.openxmlformats.org/officeDocument/2006/relationships/image" Target="../media/image12.emf"/><Relationship Id="rId5" Type="http://schemas.openxmlformats.org/officeDocument/2006/relationships/oleObject" Target="../embeddings/oleObject77.bin"/><Relationship Id="rId4" Type="http://schemas.openxmlformats.org/officeDocument/2006/relationships/slideMaster" Target="../slideMasters/slideMaster22.xml"/></Relationships>
</file>

<file path=ppt/slideLayouts/_rels/slideLayout146.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tags" Target="../tags/tag131.xml"/><Relationship Id="rId7" Type="http://schemas.openxmlformats.org/officeDocument/2006/relationships/diagramData" Target="../diagrams/data5.xml"/><Relationship Id="rId2" Type="http://schemas.openxmlformats.org/officeDocument/2006/relationships/tags" Target="../tags/tag130.xml"/><Relationship Id="rId1" Type="http://schemas.openxmlformats.org/officeDocument/2006/relationships/vmlDrawing" Target="../drawings/vmlDrawing85.vml"/><Relationship Id="rId6" Type="http://schemas.openxmlformats.org/officeDocument/2006/relationships/image" Target="../media/image12.emf"/><Relationship Id="rId11" Type="http://schemas.microsoft.com/office/2007/relationships/diagramDrawing" Target="../diagrams/drawing5.xml"/><Relationship Id="rId5" Type="http://schemas.openxmlformats.org/officeDocument/2006/relationships/oleObject" Target="../embeddings/oleObject78.bin"/><Relationship Id="rId10" Type="http://schemas.openxmlformats.org/officeDocument/2006/relationships/diagramColors" Target="../diagrams/colors5.xml"/><Relationship Id="rId4" Type="http://schemas.openxmlformats.org/officeDocument/2006/relationships/slideMaster" Target="../slideMasters/slideMaster22.xml"/><Relationship Id="rId9" Type="http://schemas.openxmlformats.org/officeDocument/2006/relationships/diagramQuickStyle" Target="../diagrams/quickStyle5.xml"/></Relationships>
</file>

<file path=ppt/slideLayouts/_rels/slideLayout147.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tags" Target="../tags/tag133.xml"/><Relationship Id="rId7" Type="http://schemas.openxmlformats.org/officeDocument/2006/relationships/diagramData" Target="../diagrams/data6.xml"/><Relationship Id="rId2" Type="http://schemas.openxmlformats.org/officeDocument/2006/relationships/tags" Target="../tags/tag132.xml"/><Relationship Id="rId1" Type="http://schemas.openxmlformats.org/officeDocument/2006/relationships/vmlDrawing" Target="../drawings/vmlDrawing86.vml"/><Relationship Id="rId6" Type="http://schemas.openxmlformats.org/officeDocument/2006/relationships/image" Target="../media/image12.emf"/><Relationship Id="rId11" Type="http://schemas.microsoft.com/office/2007/relationships/diagramDrawing" Target="../diagrams/drawing6.xml"/><Relationship Id="rId5" Type="http://schemas.openxmlformats.org/officeDocument/2006/relationships/oleObject" Target="../embeddings/oleObject79.bin"/><Relationship Id="rId10" Type="http://schemas.openxmlformats.org/officeDocument/2006/relationships/diagramColors" Target="../diagrams/colors6.xml"/><Relationship Id="rId4" Type="http://schemas.openxmlformats.org/officeDocument/2006/relationships/slideMaster" Target="../slideMasters/slideMaster22.xml"/><Relationship Id="rId9" Type="http://schemas.openxmlformats.org/officeDocument/2006/relationships/diagramQuickStyle" Target="../diagrams/quickStyle6.xml"/></Relationships>
</file>

<file path=ppt/slideLayouts/_rels/slideLayout148.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tags" Target="../tags/tag135.xml"/><Relationship Id="rId7" Type="http://schemas.openxmlformats.org/officeDocument/2006/relationships/diagramData" Target="../diagrams/data7.xml"/><Relationship Id="rId2" Type="http://schemas.openxmlformats.org/officeDocument/2006/relationships/tags" Target="../tags/tag134.xml"/><Relationship Id="rId1" Type="http://schemas.openxmlformats.org/officeDocument/2006/relationships/vmlDrawing" Target="../drawings/vmlDrawing87.vml"/><Relationship Id="rId6" Type="http://schemas.openxmlformats.org/officeDocument/2006/relationships/image" Target="../media/image12.emf"/><Relationship Id="rId11" Type="http://schemas.microsoft.com/office/2007/relationships/diagramDrawing" Target="../diagrams/drawing7.xml"/><Relationship Id="rId5" Type="http://schemas.openxmlformats.org/officeDocument/2006/relationships/oleObject" Target="../embeddings/oleObject80.bin"/><Relationship Id="rId10" Type="http://schemas.openxmlformats.org/officeDocument/2006/relationships/diagramColors" Target="../diagrams/colors7.xml"/><Relationship Id="rId4" Type="http://schemas.openxmlformats.org/officeDocument/2006/relationships/slideMaster" Target="../slideMasters/slideMaster22.xml"/><Relationship Id="rId9" Type="http://schemas.openxmlformats.org/officeDocument/2006/relationships/diagramQuickStyle" Target="../diagrams/quickStyle7.xml"/></Relationships>
</file>

<file path=ppt/slideLayouts/_rels/slideLayout149.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tags" Target="../tags/tag137.xml"/><Relationship Id="rId7" Type="http://schemas.openxmlformats.org/officeDocument/2006/relationships/diagramData" Target="../diagrams/data8.xml"/><Relationship Id="rId2" Type="http://schemas.openxmlformats.org/officeDocument/2006/relationships/tags" Target="../tags/tag136.xml"/><Relationship Id="rId1" Type="http://schemas.openxmlformats.org/officeDocument/2006/relationships/vmlDrawing" Target="../drawings/vmlDrawing88.vml"/><Relationship Id="rId6" Type="http://schemas.openxmlformats.org/officeDocument/2006/relationships/image" Target="../media/image12.emf"/><Relationship Id="rId11" Type="http://schemas.microsoft.com/office/2007/relationships/diagramDrawing" Target="../diagrams/drawing8.xml"/><Relationship Id="rId5" Type="http://schemas.openxmlformats.org/officeDocument/2006/relationships/oleObject" Target="../embeddings/oleObject81.bin"/><Relationship Id="rId10" Type="http://schemas.openxmlformats.org/officeDocument/2006/relationships/diagramColors" Target="../diagrams/colors8.xml"/><Relationship Id="rId4" Type="http://schemas.openxmlformats.org/officeDocument/2006/relationships/slideMaster" Target="../slideMasters/slideMaster22.xml"/><Relationship Id="rId9" Type="http://schemas.openxmlformats.org/officeDocument/2006/relationships/diagramQuickStyle" Target="../diagrams/quickStyle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tags" Target="../tags/tag139.xml"/><Relationship Id="rId7" Type="http://schemas.openxmlformats.org/officeDocument/2006/relationships/diagramData" Target="../diagrams/data9.xml"/><Relationship Id="rId2" Type="http://schemas.openxmlformats.org/officeDocument/2006/relationships/tags" Target="../tags/tag138.xml"/><Relationship Id="rId1" Type="http://schemas.openxmlformats.org/officeDocument/2006/relationships/vmlDrawing" Target="../drawings/vmlDrawing89.vml"/><Relationship Id="rId6" Type="http://schemas.openxmlformats.org/officeDocument/2006/relationships/image" Target="../media/image12.emf"/><Relationship Id="rId11" Type="http://schemas.microsoft.com/office/2007/relationships/diagramDrawing" Target="../diagrams/drawing9.xml"/><Relationship Id="rId5" Type="http://schemas.openxmlformats.org/officeDocument/2006/relationships/oleObject" Target="../embeddings/oleObject82.bin"/><Relationship Id="rId10" Type="http://schemas.openxmlformats.org/officeDocument/2006/relationships/diagramColors" Target="../diagrams/colors9.xml"/><Relationship Id="rId4" Type="http://schemas.openxmlformats.org/officeDocument/2006/relationships/slideMaster" Target="../slideMasters/slideMaster22.xml"/><Relationship Id="rId9" Type="http://schemas.openxmlformats.org/officeDocument/2006/relationships/diagramQuickStyle" Target="../diagrams/quickStyle9.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90.vml"/><Relationship Id="rId6" Type="http://schemas.openxmlformats.org/officeDocument/2006/relationships/image" Target="../media/image12.emf"/><Relationship Id="rId5" Type="http://schemas.openxmlformats.org/officeDocument/2006/relationships/oleObject" Target="../embeddings/oleObject83.bin"/><Relationship Id="rId4" Type="http://schemas.openxmlformats.org/officeDocument/2006/relationships/slideMaster" Target="../slideMasters/slideMaster22.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91.vml"/><Relationship Id="rId6" Type="http://schemas.openxmlformats.org/officeDocument/2006/relationships/image" Target="../media/image12.emf"/><Relationship Id="rId5" Type="http://schemas.openxmlformats.org/officeDocument/2006/relationships/oleObject" Target="../embeddings/oleObject84.bin"/><Relationship Id="rId4" Type="http://schemas.openxmlformats.org/officeDocument/2006/relationships/slideMaster" Target="../slideMasters/slideMaster22.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92.vml"/><Relationship Id="rId6" Type="http://schemas.openxmlformats.org/officeDocument/2006/relationships/image" Target="../media/image12.emf"/><Relationship Id="rId5" Type="http://schemas.openxmlformats.org/officeDocument/2006/relationships/oleObject" Target="../embeddings/oleObject85.bin"/><Relationship Id="rId4" Type="http://schemas.openxmlformats.org/officeDocument/2006/relationships/slideMaster" Target="../slideMasters/slideMaster2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93.vml"/><Relationship Id="rId6" Type="http://schemas.openxmlformats.org/officeDocument/2006/relationships/image" Target="../media/image12.emf"/><Relationship Id="rId5" Type="http://schemas.openxmlformats.org/officeDocument/2006/relationships/oleObject" Target="../embeddings/oleObject86.bin"/><Relationship Id="rId4" Type="http://schemas.openxmlformats.org/officeDocument/2006/relationships/slideMaster" Target="../slideMasters/slideMaster2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94.vml"/><Relationship Id="rId6" Type="http://schemas.openxmlformats.org/officeDocument/2006/relationships/image" Target="../media/image12.emf"/><Relationship Id="rId5" Type="http://schemas.openxmlformats.org/officeDocument/2006/relationships/oleObject" Target="../embeddings/oleObject87.bin"/><Relationship Id="rId4" Type="http://schemas.openxmlformats.org/officeDocument/2006/relationships/slideMaster" Target="../slideMasters/slideMaster2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95.vml"/><Relationship Id="rId6" Type="http://schemas.openxmlformats.org/officeDocument/2006/relationships/image" Target="../media/image12.emf"/><Relationship Id="rId5" Type="http://schemas.openxmlformats.org/officeDocument/2006/relationships/oleObject" Target="../embeddings/oleObject88.bin"/><Relationship Id="rId4" Type="http://schemas.openxmlformats.org/officeDocument/2006/relationships/slideMaster" Target="../slideMasters/slideMaster22.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vmlDrawing" Target="../drawings/vmlDrawing96.vml"/><Relationship Id="rId6" Type="http://schemas.openxmlformats.org/officeDocument/2006/relationships/image" Target="../media/image12.emf"/><Relationship Id="rId5" Type="http://schemas.openxmlformats.org/officeDocument/2006/relationships/oleObject" Target="../embeddings/oleObject89.bin"/><Relationship Id="rId4" Type="http://schemas.openxmlformats.org/officeDocument/2006/relationships/slideMaster" Target="../slideMasters/slideMaster22.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56.xml"/><Relationship Id="rId1" Type="http://schemas.openxmlformats.org/officeDocument/2006/relationships/vmlDrawing" Target="../drawings/vmlDrawing98.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9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57.xml"/><Relationship Id="rId1" Type="http://schemas.openxmlformats.org/officeDocument/2006/relationships/vmlDrawing" Target="../drawings/vmlDrawing99.vml"/><Relationship Id="rId5" Type="http://schemas.openxmlformats.org/officeDocument/2006/relationships/image" Target="../media/image11.emf"/><Relationship Id="rId4" Type="http://schemas.openxmlformats.org/officeDocument/2006/relationships/oleObject" Target="../embeddings/oleObject92.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60.xml"/><Relationship Id="rId1" Type="http://schemas.openxmlformats.org/officeDocument/2006/relationships/vmlDrawing" Target="../drawings/vmlDrawing101.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94.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61.xml"/><Relationship Id="rId1" Type="http://schemas.openxmlformats.org/officeDocument/2006/relationships/vmlDrawing" Target="../drawings/vmlDrawing102.vml"/><Relationship Id="rId5" Type="http://schemas.openxmlformats.org/officeDocument/2006/relationships/image" Target="../media/image11.emf"/><Relationship Id="rId4" Type="http://schemas.openxmlformats.org/officeDocument/2006/relationships/oleObject" Target="../embeddings/oleObject95.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4.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103.vml"/><Relationship Id="rId6" Type="http://schemas.openxmlformats.org/officeDocument/2006/relationships/image" Target="../media/image11.emf"/><Relationship Id="rId5" Type="http://schemas.openxmlformats.org/officeDocument/2006/relationships/oleObject" Target="../embeddings/oleObject96.bin"/><Relationship Id="rId4" Type="http://schemas.openxmlformats.org/officeDocument/2006/relationships/slideMaster" Target="../slideMasters/slideMaster24.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66.xml"/><Relationship Id="rId1" Type="http://schemas.openxmlformats.org/officeDocument/2006/relationships/vmlDrawing" Target="../drawings/vmlDrawing105.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98.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67.xml"/><Relationship Id="rId1" Type="http://schemas.openxmlformats.org/officeDocument/2006/relationships/vmlDrawing" Target="../drawings/vmlDrawing106.vml"/><Relationship Id="rId5" Type="http://schemas.openxmlformats.org/officeDocument/2006/relationships/image" Target="../media/image11.emf"/><Relationship Id="rId4" Type="http://schemas.openxmlformats.org/officeDocument/2006/relationships/oleObject" Target="../embeddings/oleObject99.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70.xml"/><Relationship Id="rId1" Type="http://schemas.openxmlformats.org/officeDocument/2006/relationships/vmlDrawing" Target="../drawings/vmlDrawing108.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10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71.xml"/><Relationship Id="rId1" Type="http://schemas.openxmlformats.org/officeDocument/2006/relationships/vmlDrawing" Target="../drawings/vmlDrawing109.vml"/><Relationship Id="rId5" Type="http://schemas.openxmlformats.org/officeDocument/2006/relationships/image" Target="../media/image11.emf"/><Relationship Id="rId4" Type="http://schemas.openxmlformats.org/officeDocument/2006/relationships/oleObject" Target="../embeddings/oleObject102.bin"/></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110.vml"/><Relationship Id="rId6" Type="http://schemas.openxmlformats.org/officeDocument/2006/relationships/image" Target="../media/image11.emf"/><Relationship Id="rId5" Type="http://schemas.openxmlformats.org/officeDocument/2006/relationships/oleObject" Target="../embeddings/oleObject103.bin"/><Relationship Id="rId4" Type="http://schemas.openxmlformats.org/officeDocument/2006/relationships/slideMaster" Target="../slideMasters/slideMaster26.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1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14.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1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18.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emf"/><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3.w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xml"/><Relationship Id="rId1" Type="http://schemas.openxmlformats.org/officeDocument/2006/relationships/vmlDrawing" Target="../drawings/vmlDrawing22.vml"/><Relationship Id="rId5" Type="http://schemas.openxmlformats.org/officeDocument/2006/relationships/image" Target="../media/image11.emf"/><Relationship Id="rId4" Type="http://schemas.openxmlformats.org/officeDocument/2006/relationships/oleObject" Target="../embeddings/oleObject2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24.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25.vml"/><Relationship Id="rId5" Type="http://schemas.openxmlformats.org/officeDocument/2006/relationships/image" Target="../media/image11.emf"/><Relationship Id="rId4" Type="http://schemas.openxmlformats.org/officeDocument/2006/relationships/oleObject" Target="../embeddings/oleObject21.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27.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28.vml"/><Relationship Id="rId5" Type="http://schemas.openxmlformats.org/officeDocument/2006/relationships/image" Target="../media/image11.emf"/><Relationship Id="rId4" Type="http://schemas.openxmlformats.org/officeDocument/2006/relationships/oleObject" Target="../embeddings/oleObject24.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11.emf"/><Relationship Id="rId5" Type="http://schemas.openxmlformats.org/officeDocument/2006/relationships/oleObject" Target="../embeddings/oleObject25.bin"/><Relationship Id="rId4"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xml"/><Relationship Id="rId1" Type="http://schemas.openxmlformats.org/officeDocument/2006/relationships/vmlDrawing" Target="../drawings/vmlDrawing32.vml"/><Relationship Id="rId5" Type="http://schemas.openxmlformats.org/officeDocument/2006/relationships/image" Target="../media/image11.emf"/><Relationship Id="rId4" Type="http://schemas.openxmlformats.org/officeDocument/2006/relationships/oleObject" Target="../embeddings/oleObject21.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33.vml"/><Relationship Id="rId6" Type="http://schemas.openxmlformats.org/officeDocument/2006/relationships/image" Target="../media/image23.jpeg"/><Relationship Id="rId5" Type="http://schemas.openxmlformats.org/officeDocument/2006/relationships/image" Target="../media/image22.emf"/><Relationship Id="rId4" Type="http://schemas.openxmlformats.org/officeDocument/2006/relationships/oleObject" Target="../embeddings/oleObject26.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35.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2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36.vml"/><Relationship Id="rId5" Type="http://schemas.openxmlformats.org/officeDocument/2006/relationships/image" Target="../media/image11.emf"/><Relationship Id="rId4" Type="http://schemas.openxmlformats.org/officeDocument/2006/relationships/oleObject" Target="../embeddings/oleObject2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7.vml"/><Relationship Id="rId6" Type="http://schemas.openxmlformats.org/officeDocument/2006/relationships/image" Target="../media/image12.emf"/><Relationship Id="rId5" Type="http://schemas.openxmlformats.org/officeDocument/2006/relationships/oleObject" Target="../embeddings/oleObject30.bin"/><Relationship Id="rId4"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39.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3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40.vml"/><Relationship Id="rId5" Type="http://schemas.openxmlformats.org/officeDocument/2006/relationships/image" Target="../media/image11.emf"/><Relationship Id="rId4" Type="http://schemas.openxmlformats.org/officeDocument/2006/relationships/oleObject" Target="../embeddings/oleObject33.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41.v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43.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3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6.xml"/><Relationship Id="rId1" Type="http://schemas.openxmlformats.org/officeDocument/2006/relationships/vmlDrawing" Target="../drawings/vmlDrawing44.vml"/><Relationship Id="rId5" Type="http://schemas.openxmlformats.org/officeDocument/2006/relationships/image" Target="../media/image11.emf"/><Relationship Id="rId4" Type="http://schemas.openxmlformats.org/officeDocument/2006/relationships/oleObject" Target="../embeddings/oleObject37.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45.vml"/><Relationship Id="rId6" Type="http://schemas.openxmlformats.org/officeDocument/2006/relationships/image" Target="../media/image11.emf"/><Relationship Id="rId5" Type="http://schemas.openxmlformats.org/officeDocument/2006/relationships/oleObject" Target="../embeddings/oleObject38.bin"/><Relationship Id="rId4"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1.xml"/><Relationship Id="rId1" Type="http://schemas.openxmlformats.org/officeDocument/2006/relationships/vmlDrawing" Target="../drawings/vmlDrawing47.vml"/><Relationship Id="rId6" Type="http://schemas.openxmlformats.org/officeDocument/2006/relationships/image" Target="../media/image25.jpeg"/><Relationship Id="rId5" Type="http://schemas.openxmlformats.org/officeDocument/2006/relationships/image" Target="../media/image16.emf"/><Relationship Id="rId4" Type="http://schemas.openxmlformats.org/officeDocument/2006/relationships/oleObject" Target="../embeddings/oleObject40.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2.xml"/><Relationship Id="rId1" Type="http://schemas.openxmlformats.org/officeDocument/2006/relationships/vmlDrawing" Target="../drawings/vmlDrawing48.vml"/><Relationship Id="rId5" Type="http://schemas.openxmlformats.org/officeDocument/2006/relationships/image" Target="../media/image11.emf"/><Relationship Id="rId4" Type="http://schemas.openxmlformats.org/officeDocument/2006/relationships/oleObject" Target="../embeddings/oleObject41.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50.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4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6.xml"/><Relationship Id="rId1" Type="http://schemas.openxmlformats.org/officeDocument/2006/relationships/vmlDrawing" Target="../drawings/vmlDrawing51.vml"/><Relationship Id="rId5" Type="http://schemas.openxmlformats.org/officeDocument/2006/relationships/image" Target="../media/image11.emf"/><Relationship Id="rId4" Type="http://schemas.openxmlformats.org/officeDocument/2006/relationships/oleObject" Target="../embeddings/oleObject44.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52.vml"/><Relationship Id="rId6" Type="http://schemas.openxmlformats.org/officeDocument/2006/relationships/image" Target="../media/image11.emf"/><Relationship Id="rId5" Type="http://schemas.openxmlformats.org/officeDocument/2006/relationships/oleObject" Target="../embeddings/oleObject45.bin"/><Relationship Id="rId4" Type="http://schemas.openxmlformats.org/officeDocument/2006/relationships/slideMaster" Target="../slideMasters/slideMaster1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4" name="Freeform 11"/>
          <p:cNvSpPr>
            <a:spLocks/>
          </p:cNvSpPr>
          <p:nvPr/>
        </p:nvSpPr>
        <p:spPr bwMode="auto">
          <a:xfrm>
            <a:off x="614363" y="325438"/>
            <a:ext cx="4960937" cy="4183062"/>
          </a:xfrm>
          <a:custGeom>
            <a:avLst/>
            <a:gdLst>
              <a:gd name="T0" fmla="*/ 0 w 2344"/>
              <a:gd name="T1" fmla="*/ 2147483646 h 1976"/>
              <a:gd name="T2" fmla="*/ 0 w 2344"/>
              <a:gd name="T3" fmla="*/ 2147483646 h 1976"/>
              <a:gd name="T4" fmla="*/ 2147483646 w 2344"/>
              <a:gd name="T5" fmla="*/ 2147483646 h 1976"/>
              <a:gd name="T6" fmla="*/ 2147483646 w 2344"/>
              <a:gd name="T7" fmla="*/ 0 h 1976"/>
              <a:gd name="T8" fmla="*/ 0 w 2344"/>
              <a:gd name="T9" fmla="*/ 2147483646 h 19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44" h="1976">
                <a:moveTo>
                  <a:pt x="0" y="414"/>
                </a:moveTo>
                <a:lnTo>
                  <a:pt x="0" y="1976"/>
                </a:lnTo>
                <a:lnTo>
                  <a:pt x="2344" y="1976"/>
                </a:lnTo>
                <a:lnTo>
                  <a:pt x="2344" y="0"/>
                </a:lnTo>
                <a:lnTo>
                  <a:pt x="0" y="41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5"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79100" y="5340350"/>
            <a:ext cx="987425"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5950" y="6083300"/>
            <a:ext cx="9763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880430" y="1522125"/>
            <a:ext cx="4408872" cy="860400"/>
          </a:xfrm>
        </p:spPr>
        <p:txBody>
          <a:bodyPr/>
          <a:lstStyle>
            <a:lvl1pPr>
              <a:defRPr>
                <a:solidFill>
                  <a:srgbClr val="333333"/>
                </a:solidFill>
              </a:defRPr>
            </a:lvl1pPr>
          </a:lstStyle>
          <a:p>
            <a:r>
              <a:rPr lang="en-US"/>
              <a:t>Click to edit Master title style</a:t>
            </a:r>
            <a:endParaRPr lang="en-GB"/>
          </a:p>
        </p:txBody>
      </p:sp>
      <p:sp>
        <p:nvSpPr>
          <p:cNvPr id="3" name="Subtitle 2"/>
          <p:cNvSpPr>
            <a:spLocks noGrp="1"/>
          </p:cNvSpPr>
          <p:nvPr>
            <p:ph type="subTitle" idx="1"/>
          </p:nvPr>
        </p:nvSpPr>
        <p:spPr>
          <a:xfrm>
            <a:off x="880430" y="2476125"/>
            <a:ext cx="4408872" cy="968400"/>
          </a:xfrm>
        </p:spPr>
        <p:txBody>
          <a:bodyPr/>
          <a:lstStyle>
            <a:lvl1pPr marL="0" indent="0" algn="l">
              <a:buNone/>
              <a:defRPr sz="2000">
                <a:solidFill>
                  <a:srgbClr val="333333"/>
                </a:solidFill>
              </a:defRPr>
            </a:lvl1pPr>
            <a:lvl2pPr marL="0" indent="0" algn="l">
              <a:buNone/>
              <a:defRPr sz="1600">
                <a:solidFill>
                  <a:srgbClr val="333333"/>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a:p>
            <a:pPr lvl="1"/>
            <a:endParaRPr lang="en-GB"/>
          </a:p>
        </p:txBody>
      </p:sp>
    </p:spTree>
    <p:extLst>
      <p:ext uri="{BB962C8B-B14F-4D97-AF65-F5344CB8AC3E}">
        <p14:creationId xmlns:p14="http://schemas.microsoft.com/office/powerpoint/2010/main" val="8849367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ingle Column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2" y="1440"/>
          <a:ext cx="1441" cy="1440"/>
        </p:xfrm>
        <a:graphic>
          <a:graphicData uri="http://schemas.openxmlformats.org/presentationml/2006/ole">
            <mc:AlternateContent xmlns:mc="http://schemas.openxmlformats.org/markup-compatibility/2006">
              <mc:Choice xmlns:v="urn:schemas-microsoft-com:vml" Requires="v">
                <p:oleObj spid="_x0000_s1127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442" y="1440"/>
                        <a:ext cx="1441" cy="1440"/>
                      </a:xfrm>
                      <a:prstGeom prst="rect">
                        <a:avLst/>
                      </a:prstGeom>
                    </p:spPr>
                  </p:pic>
                </p:oleObj>
              </mc:Fallback>
            </mc:AlternateContent>
          </a:graphicData>
        </a:graphic>
      </p:graphicFrame>
      <p:sp>
        <p:nvSpPr>
          <p:cNvPr id="3" name="Rectangle 2" hidden="1"/>
          <p:cNvSpPr/>
          <p:nvPr userDrawn="1">
            <p:custDataLst>
              <p:tags r:id="rId3"/>
            </p:custDataLst>
          </p:nvPr>
        </p:nvSpPr>
        <p:spPr>
          <a:xfrm>
            <a:off x="0" y="1"/>
            <a:ext cx="144054" cy="143985"/>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176" b="0" i="0" baseline="0">
              <a:latin typeface="EYInterstate" panose="02000503020000020004" pitchFamily="2" charset="0"/>
              <a:ea typeface="+mj-ea"/>
              <a:cs typeface="+mj-cs"/>
              <a:sym typeface="EYInterstate" panose="02000503020000020004" pitchFamily="2" charset="0"/>
            </a:endParaRPr>
          </a:p>
        </p:txBody>
      </p:sp>
      <p:sp>
        <p:nvSpPr>
          <p:cNvPr id="7" name="Rectangle 6"/>
          <p:cNvSpPr/>
          <p:nvPr userDrawn="1"/>
        </p:nvSpPr>
        <p:spPr>
          <a:xfrm>
            <a:off x="1" y="6"/>
            <a:ext cx="12198350" cy="1012457"/>
          </a:xfrm>
          <a:prstGeom prst="rect">
            <a:avLst/>
          </a:prstGeom>
          <a:solidFill>
            <a:schemeClr val="bg1">
              <a:lumMod val="5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4308" tIns="64308" rIns="64308" bIns="64308" rtlCol="0" anchor="ctr"/>
          <a:lstStyle/>
          <a:p>
            <a:pPr algn="ctr" defTabSz="931535" eaLnBrk="1"/>
            <a:endParaRPr lang="en-GB" sz="907" b="1">
              <a:solidFill>
                <a:srgbClr val="FFFFFF"/>
              </a:solidFill>
              <a:latin typeface="EYInterstate Light" panose="02000506000000020004" pitchFamily="2" charset="0"/>
            </a:endParaRPr>
          </a:p>
        </p:txBody>
      </p:sp>
      <p:sp>
        <p:nvSpPr>
          <p:cNvPr id="8" name="Content Placeholder 7"/>
          <p:cNvSpPr>
            <a:spLocks noGrp="1"/>
          </p:cNvSpPr>
          <p:nvPr>
            <p:ph sz="quarter" idx="14"/>
          </p:nvPr>
        </p:nvSpPr>
        <p:spPr bwMode="gray">
          <a:xfrm>
            <a:off x="677285" y="1337619"/>
            <a:ext cx="10829297" cy="483357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1"/>
          <p:cNvSpPr>
            <a:spLocks noGrp="1"/>
          </p:cNvSpPr>
          <p:nvPr>
            <p:ph type="title"/>
          </p:nvPr>
        </p:nvSpPr>
        <p:spPr bwMode="gray">
          <a:xfrm>
            <a:off x="622956" y="207223"/>
            <a:ext cx="10827487" cy="555079"/>
          </a:xfrm>
        </p:spPr>
        <p:txBody>
          <a:bodyPr/>
          <a:lstStyle>
            <a:lvl1pPr>
              <a:lnSpc>
                <a:spcPct val="90000"/>
              </a:lnSpc>
              <a:defRPr/>
            </a:lvl1pPr>
          </a:lstStyle>
          <a:p>
            <a:r>
              <a:rPr lang="en-GB"/>
              <a:t>Click to edit Master title style</a:t>
            </a:r>
          </a:p>
        </p:txBody>
      </p:sp>
      <p:sp>
        <p:nvSpPr>
          <p:cNvPr id="6" name="Slide Number Placeholder 5"/>
          <p:cNvSpPr>
            <a:spLocks noGrp="1"/>
          </p:cNvSpPr>
          <p:nvPr>
            <p:ph type="sldNum" sz="quarter" idx="12"/>
          </p:nvPr>
        </p:nvSpPr>
        <p:spPr bwMode="gray">
          <a:xfrm>
            <a:off x="10966926" y="6395807"/>
            <a:ext cx="554140" cy="130607"/>
          </a:xfrm>
          <a:prstGeom prst="rect">
            <a:avLst/>
          </a:prstGeom>
        </p:spPr>
        <p:txBody>
          <a:bodyPr/>
          <a:lstStyle/>
          <a:p>
            <a:fld id="{F9A56513-F998-4254-9CEB-F507EE6F3742}" type="slidenum">
              <a:rPr lang="en-GB" smtClean="0"/>
              <a:pPr/>
              <a:t>‹#›</a:t>
            </a:fld>
            <a:endParaRPr lang="en-GB"/>
          </a:p>
        </p:txBody>
      </p:sp>
      <p:sp>
        <p:nvSpPr>
          <p:cNvPr id="9" name="Line 10">
            <a:extLst>
              <a:ext uri="{FF2B5EF4-FFF2-40B4-BE49-F238E27FC236}">
                <a16:creationId xmlns:a16="http://schemas.microsoft.com/office/drawing/2014/main" id="{38853146-6764-4205-BA6D-73D113F7F322}"/>
              </a:ext>
            </a:extLst>
          </p:cNvPr>
          <p:cNvSpPr>
            <a:spLocks noChangeShapeType="1"/>
          </p:cNvSpPr>
          <p:nvPr userDrawn="1"/>
        </p:nvSpPr>
        <p:spPr bwMode="auto">
          <a:xfrm>
            <a:off x="609600" y="1044575"/>
            <a:ext cx="1097915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Tree>
    <p:extLst>
      <p:ext uri="{BB962C8B-B14F-4D97-AF65-F5344CB8AC3E}">
        <p14:creationId xmlns:p14="http://schemas.microsoft.com/office/powerpoint/2010/main" val="19254401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70389203"/>
              </p:ext>
            </p:extLst>
          </p:nvPr>
        </p:nvGraphicFramePr>
        <p:xfrm>
          <a:off x="1441" y="1443"/>
          <a:ext cx="1441" cy="1439"/>
        </p:xfrm>
        <a:graphic>
          <a:graphicData uri="http://schemas.openxmlformats.org/presentationml/2006/ole">
            <mc:AlternateContent xmlns:mc="http://schemas.openxmlformats.org/markup-compatibility/2006">
              <mc:Choice xmlns:v="urn:schemas-microsoft-com:vml" Requires="v">
                <p:oleObj spid="_x0000_s118793"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3"/>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9537" y="0"/>
            <a:ext cx="12283987" cy="6858000"/>
          </a:xfrm>
          <a:prstGeom prst="rect">
            <a:avLst/>
          </a:prstGeom>
        </p:spPr>
      </p:pic>
    </p:spTree>
    <p:extLst>
      <p:ext uri="{BB962C8B-B14F-4D97-AF65-F5344CB8AC3E}">
        <p14:creationId xmlns:p14="http://schemas.microsoft.com/office/powerpoint/2010/main" val="9699765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36143356"/>
              </p:ext>
            </p:extLst>
          </p:nvPr>
        </p:nvGraphicFramePr>
        <p:xfrm>
          <a:off x="1441" y="1443"/>
          <a:ext cx="1441" cy="1439"/>
        </p:xfrm>
        <a:graphic>
          <a:graphicData uri="http://schemas.openxmlformats.org/presentationml/2006/ole">
            <mc:AlternateContent xmlns:mc="http://schemas.openxmlformats.org/markup-compatibility/2006">
              <mc:Choice xmlns:v="urn:schemas-microsoft-com:vml" Requires="v">
                <p:oleObj spid="_x0000_s119817"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3"/>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4"/>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25495644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30"/>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3958203690"/>
      </p:ext>
    </p:extLst>
  </p:cSld>
  <p:clrMapOvr>
    <a:overrideClrMapping bg1="dk1" tx1="lt1" bg2="dk2" tx2="lt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676989"/>
      </p:ext>
    </p:extLst>
  </p:cSld>
  <p:clrMapOvr>
    <a:overrideClrMapping bg1="dk1" tx1="lt1" bg2="dk2" tx2="lt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5" y="360000"/>
            <a:ext cx="3600468"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4"/>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5" lvl="0" defTabSz="806752">
              <a:lnSpc>
                <a:spcPct val="100000"/>
              </a:lnSpc>
            </a:pPr>
            <a:r>
              <a:rPr lang="en-US"/>
              <a:t>CLICK TO EDIT MASTER TITLE STYLE</a:t>
            </a:r>
          </a:p>
        </p:txBody>
      </p:sp>
    </p:spTree>
    <p:extLst>
      <p:ext uri="{BB962C8B-B14F-4D97-AF65-F5344CB8AC3E}">
        <p14:creationId xmlns:p14="http://schemas.microsoft.com/office/powerpoint/2010/main" val="31276886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32957999"/>
              </p:ext>
            </p:extLst>
          </p:nvPr>
        </p:nvGraphicFramePr>
        <p:xfrm>
          <a:off x="1441" y="1443"/>
          <a:ext cx="1441" cy="1439"/>
        </p:xfrm>
        <a:graphic>
          <a:graphicData uri="http://schemas.openxmlformats.org/presentationml/2006/ole">
            <mc:AlternateContent xmlns:mc="http://schemas.openxmlformats.org/markup-compatibility/2006">
              <mc:Choice xmlns:v="urn:schemas-microsoft-com:vml" Requires="v">
                <p:oleObj spid="_x0000_s124937"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3"/>
                        <a:ext cx="1441" cy="1439"/>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83BE9ED-87EF-4BBE-B243-0CE42D8AFCDD}"/>
              </a:ext>
            </a:extLst>
          </p:cNvPr>
          <p:cNvPicPr>
            <a:picLocks noChangeAspect="1"/>
          </p:cNvPicPr>
          <p:nvPr userDrawn="1"/>
        </p:nvPicPr>
        <p:blipFill rotWithShape="1">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a:off x="1" y="0"/>
            <a:ext cx="12194055" cy="6858000"/>
          </a:xfrm>
          <a:prstGeom prst="rect">
            <a:avLst/>
          </a:prstGeom>
        </p:spPr>
      </p:pic>
    </p:spTree>
    <p:extLst>
      <p:ext uri="{BB962C8B-B14F-4D97-AF65-F5344CB8AC3E}">
        <p14:creationId xmlns:p14="http://schemas.microsoft.com/office/powerpoint/2010/main" val="365079885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81879089"/>
              </p:ext>
            </p:extLst>
          </p:nvPr>
        </p:nvGraphicFramePr>
        <p:xfrm>
          <a:off x="1441" y="1443"/>
          <a:ext cx="1441" cy="1439"/>
        </p:xfrm>
        <a:graphic>
          <a:graphicData uri="http://schemas.openxmlformats.org/presentationml/2006/ole">
            <mc:AlternateContent xmlns:mc="http://schemas.openxmlformats.org/markup-compatibility/2006">
              <mc:Choice xmlns:v="urn:schemas-microsoft-com:vml" Requires="v">
                <p:oleObj spid="_x0000_s125961"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3"/>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4"/>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349685114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30"/>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372480761"/>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686561"/>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5" y="360000"/>
            <a:ext cx="3600468"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4"/>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5" lvl="0" defTabSz="806752">
              <a:lnSpc>
                <a:spcPct val="100000"/>
              </a:lnSpc>
            </a:pPr>
            <a:r>
              <a:rPr lang="en-US"/>
              <a:t>CLICK TO EDIT MASTER TITLE STYLE</a:t>
            </a:r>
          </a:p>
        </p:txBody>
      </p:sp>
    </p:spTree>
    <p:extLst>
      <p:ext uri="{BB962C8B-B14F-4D97-AF65-F5344CB8AC3E}">
        <p14:creationId xmlns:p14="http://schemas.microsoft.com/office/powerpoint/2010/main" val="4010331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ouble Column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2" y="1440"/>
          <a:ext cx="1441" cy="1440"/>
        </p:xfrm>
        <a:graphic>
          <a:graphicData uri="http://schemas.openxmlformats.org/presentationml/2006/ole">
            <mc:AlternateContent xmlns:mc="http://schemas.openxmlformats.org/markup-compatibility/2006">
              <mc:Choice xmlns:v="urn:schemas-microsoft-com:vml" Requires="v">
                <p:oleObj spid="_x0000_s1229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442" y="1440"/>
                        <a:ext cx="1441" cy="1440"/>
                      </a:xfrm>
                      <a:prstGeom prst="rect">
                        <a:avLst/>
                      </a:prstGeom>
                    </p:spPr>
                  </p:pic>
                </p:oleObj>
              </mc:Fallback>
            </mc:AlternateContent>
          </a:graphicData>
        </a:graphic>
      </p:graphicFrame>
      <p:sp>
        <p:nvSpPr>
          <p:cNvPr id="3" name="Rectangle 2" hidden="1"/>
          <p:cNvSpPr/>
          <p:nvPr userDrawn="1">
            <p:custDataLst>
              <p:tags r:id="rId3"/>
            </p:custDataLst>
          </p:nvPr>
        </p:nvSpPr>
        <p:spPr>
          <a:xfrm>
            <a:off x="0" y="1"/>
            <a:ext cx="144054" cy="143985"/>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176" b="0" i="0" baseline="0">
              <a:latin typeface="EYInterstate" panose="02000503020000020004" pitchFamily="2" charset="0"/>
              <a:ea typeface="+mj-ea"/>
              <a:cs typeface="+mj-cs"/>
              <a:sym typeface="EYInterstate" panose="02000503020000020004" pitchFamily="2" charset="0"/>
            </a:endParaRPr>
          </a:p>
        </p:txBody>
      </p:sp>
      <p:sp>
        <p:nvSpPr>
          <p:cNvPr id="7" name="Rectangle 6"/>
          <p:cNvSpPr/>
          <p:nvPr userDrawn="1"/>
        </p:nvSpPr>
        <p:spPr>
          <a:xfrm>
            <a:off x="1" y="6"/>
            <a:ext cx="12198350" cy="1012457"/>
          </a:xfrm>
          <a:prstGeom prst="rect">
            <a:avLst/>
          </a:prstGeom>
          <a:solidFill>
            <a:schemeClr val="bg1">
              <a:lumMod val="5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4308" tIns="64308" rIns="64308" bIns="64308" rtlCol="0" anchor="ctr"/>
          <a:lstStyle/>
          <a:p>
            <a:pPr algn="ctr" defTabSz="931535" eaLnBrk="1"/>
            <a:endParaRPr lang="en-GB" sz="907" b="1">
              <a:solidFill>
                <a:srgbClr val="FFFFFF"/>
              </a:solidFill>
              <a:latin typeface="EYInterstate Light" panose="02000506000000020004" pitchFamily="2" charset="0"/>
            </a:endParaRPr>
          </a:p>
        </p:txBody>
      </p:sp>
      <p:sp>
        <p:nvSpPr>
          <p:cNvPr id="2" name="Title 1"/>
          <p:cNvSpPr>
            <a:spLocks noGrp="1"/>
          </p:cNvSpPr>
          <p:nvPr>
            <p:ph type="title"/>
          </p:nvPr>
        </p:nvSpPr>
        <p:spPr bwMode="gray">
          <a:xfrm>
            <a:off x="622959" y="207223"/>
            <a:ext cx="10841972" cy="555079"/>
          </a:xfrm>
        </p:spPr>
        <p:txBody>
          <a:bodyPr/>
          <a:lstStyle/>
          <a:p>
            <a:r>
              <a:rPr lang="en-GB"/>
              <a:t>Click to edit Master title style</a:t>
            </a:r>
          </a:p>
        </p:txBody>
      </p:sp>
      <p:sp>
        <p:nvSpPr>
          <p:cNvPr id="6" name="Slide Number Placeholder 5"/>
          <p:cNvSpPr>
            <a:spLocks noGrp="1"/>
          </p:cNvSpPr>
          <p:nvPr>
            <p:ph type="sldNum" sz="quarter" idx="12"/>
          </p:nvPr>
        </p:nvSpPr>
        <p:spPr bwMode="gray">
          <a:xfrm>
            <a:off x="10966926" y="6395809"/>
            <a:ext cx="554140" cy="130607"/>
          </a:xfrm>
          <a:prstGeom prst="rect">
            <a:avLst/>
          </a:prstGeom>
        </p:spPr>
        <p:txBody>
          <a:bodyPr/>
          <a:lstStyle/>
          <a:p>
            <a:fld id="{F9A56513-F998-4254-9CEB-F507EE6F3742}" type="slidenum">
              <a:rPr lang="en-GB" smtClean="0"/>
              <a:pPr/>
              <a:t>‹#›</a:t>
            </a:fld>
            <a:endParaRPr lang="en-GB"/>
          </a:p>
        </p:txBody>
      </p:sp>
      <p:sp>
        <p:nvSpPr>
          <p:cNvPr id="17" name="Content Placeholder 12"/>
          <p:cNvSpPr>
            <a:spLocks noGrp="1"/>
          </p:cNvSpPr>
          <p:nvPr>
            <p:ph sz="quarter" idx="15"/>
          </p:nvPr>
        </p:nvSpPr>
        <p:spPr bwMode="gray">
          <a:xfrm>
            <a:off x="677599" y="1337621"/>
            <a:ext cx="5338588" cy="48321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Content Placeholder 15"/>
          <p:cNvSpPr>
            <a:spLocks noGrp="1"/>
          </p:cNvSpPr>
          <p:nvPr>
            <p:ph sz="quarter" idx="16"/>
          </p:nvPr>
        </p:nvSpPr>
        <p:spPr bwMode="gray">
          <a:xfrm>
            <a:off x="6169805" y="1337621"/>
            <a:ext cx="5340399" cy="48321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Line 10">
            <a:extLst>
              <a:ext uri="{FF2B5EF4-FFF2-40B4-BE49-F238E27FC236}">
                <a16:creationId xmlns:a16="http://schemas.microsoft.com/office/drawing/2014/main" id="{9ECF3588-AC94-4A29-BB09-1FFC5B552124}"/>
              </a:ext>
            </a:extLst>
          </p:cNvPr>
          <p:cNvSpPr>
            <a:spLocks noChangeShapeType="1"/>
          </p:cNvSpPr>
          <p:nvPr userDrawn="1"/>
        </p:nvSpPr>
        <p:spPr bwMode="auto">
          <a:xfrm>
            <a:off x="609600" y="1044575"/>
            <a:ext cx="1097915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Tree>
    <p:extLst>
      <p:ext uri="{BB962C8B-B14F-4D97-AF65-F5344CB8AC3E}">
        <p14:creationId xmlns:p14="http://schemas.microsoft.com/office/powerpoint/2010/main" val="369493684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66298453"/>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31081"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23781756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79595439"/>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32105"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4"/>
            <a:ext cx="10616769" cy="672625"/>
          </a:xfrm>
          <a:prstGeom prst="rect">
            <a:avLst/>
          </a:prstGeom>
        </p:spPr>
        <p:txBody>
          <a:bodyPr/>
          <a:lstStyle>
            <a:lvl1pPr>
              <a:defRPr sz="2179"/>
            </a:lvl1pPr>
          </a:lstStyle>
          <a:p>
            <a:r>
              <a:rPr lang="en-US"/>
              <a:t>CLICK TO EDIT MASTER TITLE STYLE</a:t>
            </a:r>
            <a:endParaRPr lang="en-GB"/>
          </a:p>
        </p:txBody>
      </p:sp>
    </p:spTree>
    <p:extLst>
      <p:ext uri="{BB962C8B-B14F-4D97-AF65-F5344CB8AC3E}">
        <p14:creationId xmlns:p14="http://schemas.microsoft.com/office/powerpoint/2010/main" val="8627566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31"/>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1642961941"/>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9658823"/>
      </p:ext>
    </p:extLst>
  </p:cSld>
  <p:clrMapOvr>
    <a:overrideClrMapping bg1="dk1" tx1="lt1" bg2="dk2" tx2="lt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5"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0"/>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5"/>
            <a:ext cx="10801405" cy="503999"/>
          </a:xfrm>
          <a:prstGeom prst="rect">
            <a:avLst/>
          </a:prstGeom>
        </p:spPr>
        <p:txBody>
          <a:bodyPr vert="horz" wrap="square" lIns="0" tIns="0" rIns="0" bIns="0" rtlCol="0">
            <a:noAutofit/>
          </a:bodyPr>
          <a:lstStyle>
            <a:lvl1pPr>
              <a:defRPr lang="en-US" sz="1999" spc="-49" dirty="0">
                <a:solidFill>
                  <a:srgbClr val="575756"/>
                </a:solidFill>
                <a:latin typeface="EYInterstate Light" panose="02000506000000020004" pitchFamily="2" charset="0"/>
                <a:ea typeface="+mn-ea"/>
                <a:cs typeface="EYInterstate Light" panose="02000506000000020004" pitchFamily="2" charset="0"/>
              </a:defRPr>
            </a:lvl1pPr>
          </a:lstStyle>
          <a:p>
            <a:pPr marL="11200" lvl="0" defTabSz="806438">
              <a:lnSpc>
                <a:spcPct val="100000"/>
              </a:lnSpc>
            </a:pPr>
            <a:r>
              <a:rPr lang="en-US"/>
              <a:t>CLICK TO EDIT MASTER TITLE STYLE</a:t>
            </a:r>
          </a:p>
        </p:txBody>
      </p:sp>
    </p:spTree>
    <p:extLst>
      <p:ext uri="{BB962C8B-B14F-4D97-AF65-F5344CB8AC3E}">
        <p14:creationId xmlns:p14="http://schemas.microsoft.com/office/powerpoint/2010/main" val="368949359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382"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82"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40" indent="-176040" algn="l" defTabSz="994382"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82"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7" indent="-188727" algn="l" defTabSz="994382"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721513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37225"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2" y="1444"/>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2"/>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39"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487"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487"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1339880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61414477"/>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39273"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15814670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5147987"/>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40297"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4"/>
            <a:ext cx="10616769" cy="672625"/>
          </a:xfrm>
          <a:prstGeom prst="rect">
            <a:avLst/>
          </a:prstGeom>
        </p:spPr>
        <p:txBody>
          <a:bodyPr/>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185242790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31"/>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3892110523"/>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ouble Row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2" y="1440"/>
          <a:ext cx="1441" cy="1440"/>
        </p:xfrm>
        <a:graphic>
          <a:graphicData uri="http://schemas.openxmlformats.org/presentationml/2006/ole">
            <mc:AlternateContent xmlns:mc="http://schemas.openxmlformats.org/markup-compatibility/2006">
              <mc:Choice xmlns:v="urn:schemas-microsoft-com:vml" Requires="v">
                <p:oleObj spid="_x0000_s1332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442" y="1440"/>
                        <a:ext cx="1441" cy="1440"/>
                      </a:xfrm>
                      <a:prstGeom prst="rect">
                        <a:avLst/>
                      </a:prstGeom>
                    </p:spPr>
                  </p:pic>
                </p:oleObj>
              </mc:Fallback>
            </mc:AlternateContent>
          </a:graphicData>
        </a:graphic>
      </p:graphicFrame>
      <p:sp>
        <p:nvSpPr>
          <p:cNvPr id="3" name="Rectangle 2" hidden="1"/>
          <p:cNvSpPr/>
          <p:nvPr userDrawn="1">
            <p:custDataLst>
              <p:tags r:id="rId3"/>
            </p:custDataLst>
          </p:nvPr>
        </p:nvSpPr>
        <p:spPr>
          <a:xfrm>
            <a:off x="0" y="1"/>
            <a:ext cx="144054" cy="143985"/>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176" b="0" i="0" baseline="0">
              <a:latin typeface="EYInterstate" panose="02000503020000020004" pitchFamily="2" charset="0"/>
              <a:ea typeface="+mj-ea"/>
              <a:cs typeface="+mj-cs"/>
              <a:sym typeface="EYInterstate" panose="02000503020000020004" pitchFamily="2" charset="0"/>
            </a:endParaRPr>
          </a:p>
        </p:txBody>
      </p:sp>
      <p:sp>
        <p:nvSpPr>
          <p:cNvPr id="8" name="Rectangle 7"/>
          <p:cNvSpPr/>
          <p:nvPr userDrawn="1"/>
        </p:nvSpPr>
        <p:spPr>
          <a:xfrm>
            <a:off x="1" y="6"/>
            <a:ext cx="12198350" cy="1012457"/>
          </a:xfrm>
          <a:prstGeom prst="rect">
            <a:avLst/>
          </a:prstGeom>
          <a:solidFill>
            <a:schemeClr val="bg1">
              <a:lumMod val="5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4308" tIns="64308" rIns="64308" bIns="64308" rtlCol="0" anchor="ctr"/>
          <a:lstStyle/>
          <a:p>
            <a:pPr algn="ctr" defTabSz="931535" eaLnBrk="1"/>
            <a:endParaRPr lang="en-GB" sz="907" b="1">
              <a:solidFill>
                <a:srgbClr val="FFFFFF"/>
              </a:solidFill>
              <a:latin typeface="EYInterstate Light" panose="02000506000000020004" pitchFamily="2" charset="0"/>
            </a:endParaRPr>
          </a:p>
        </p:txBody>
      </p:sp>
      <p:sp>
        <p:nvSpPr>
          <p:cNvPr id="2" name="Title 1"/>
          <p:cNvSpPr>
            <a:spLocks noGrp="1"/>
          </p:cNvSpPr>
          <p:nvPr>
            <p:ph type="title"/>
          </p:nvPr>
        </p:nvSpPr>
        <p:spPr bwMode="gray">
          <a:xfrm>
            <a:off x="622959" y="207223"/>
            <a:ext cx="10841972" cy="555079"/>
          </a:xfrm>
        </p:spPr>
        <p:txBody>
          <a:bodyPr/>
          <a:lstStyle/>
          <a:p>
            <a:r>
              <a:rPr lang="en-GB"/>
              <a:t>Click to edit Master title style</a:t>
            </a:r>
          </a:p>
        </p:txBody>
      </p:sp>
      <p:sp>
        <p:nvSpPr>
          <p:cNvPr id="6" name="Slide Number Placeholder 5"/>
          <p:cNvSpPr>
            <a:spLocks noGrp="1"/>
          </p:cNvSpPr>
          <p:nvPr>
            <p:ph type="sldNum" sz="quarter" idx="12"/>
          </p:nvPr>
        </p:nvSpPr>
        <p:spPr bwMode="gray">
          <a:xfrm>
            <a:off x="10966926" y="6395809"/>
            <a:ext cx="539654" cy="130607"/>
          </a:xfrm>
          <a:prstGeom prst="rect">
            <a:avLst/>
          </a:prstGeom>
        </p:spPr>
        <p:txBody>
          <a:bodyPr/>
          <a:lstStyle/>
          <a:p>
            <a:fld id="{F9A56513-F998-4254-9CEB-F507EE6F3742}" type="slidenum">
              <a:rPr lang="en-GB" smtClean="0"/>
              <a:pPr/>
              <a:t>‹#›</a:t>
            </a:fld>
            <a:endParaRPr lang="en-GB"/>
          </a:p>
        </p:txBody>
      </p:sp>
      <p:sp>
        <p:nvSpPr>
          <p:cNvPr id="17" name="Content Placeholder 12"/>
          <p:cNvSpPr>
            <a:spLocks noGrp="1"/>
          </p:cNvSpPr>
          <p:nvPr>
            <p:ph sz="quarter" idx="15"/>
          </p:nvPr>
        </p:nvSpPr>
        <p:spPr bwMode="gray">
          <a:xfrm>
            <a:off x="677285" y="1337625"/>
            <a:ext cx="10829296" cy="235055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12"/>
          <p:cNvSpPr>
            <a:spLocks noGrp="1"/>
          </p:cNvSpPr>
          <p:nvPr>
            <p:ph sz="quarter" idx="17"/>
          </p:nvPr>
        </p:nvSpPr>
        <p:spPr bwMode="gray">
          <a:xfrm>
            <a:off x="677282" y="3819203"/>
            <a:ext cx="10829295" cy="235055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Line 10">
            <a:extLst>
              <a:ext uri="{FF2B5EF4-FFF2-40B4-BE49-F238E27FC236}">
                <a16:creationId xmlns:a16="http://schemas.microsoft.com/office/drawing/2014/main" id="{C73937C2-9C40-41F3-936B-63D5A62D32E9}"/>
              </a:ext>
            </a:extLst>
          </p:cNvPr>
          <p:cNvSpPr>
            <a:spLocks noChangeShapeType="1"/>
          </p:cNvSpPr>
          <p:nvPr userDrawn="1"/>
        </p:nvSpPr>
        <p:spPr bwMode="auto">
          <a:xfrm>
            <a:off x="609600" y="1044575"/>
            <a:ext cx="1097915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Tree>
    <p:extLst>
      <p:ext uri="{BB962C8B-B14F-4D97-AF65-F5344CB8AC3E}">
        <p14:creationId xmlns:p14="http://schemas.microsoft.com/office/powerpoint/2010/main" val="95549864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5260730"/>
      </p:ext>
    </p:extLst>
  </p:cSld>
  <p:clrMapOvr>
    <a:overrideClrMapping bg1="dk1" tx1="lt1" bg2="dk2" tx2="lt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5"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0"/>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5"/>
            <a:ext cx="10801405" cy="503999"/>
          </a:xfrm>
          <a:prstGeom prst="rect">
            <a:avLst/>
          </a:prstGeom>
        </p:spPr>
        <p:txBody>
          <a:bodyPr vert="horz" wrap="square" lIns="0" tIns="0" rIns="0" bIns="0" rtlCol="0">
            <a:noAutofit/>
          </a:bodyPr>
          <a:lstStyle>
            <a:lvl1pPr>
              <a:defRPr lang="en-US" sz="1999" spc="-49" dirty="0">
                <a:solidFill>
                  <a:srgbClr val="575756"/>
                </a:solidFill>
                <a:latin typeface="EYInterstate Light" panose="02000506000000020004" pitchFamily="2" charset="0"/>
                <a:ea typeface="+mn-ea"/>
                <a:cs typeface="EYInterstate Light" panose="02000506000000020004" pitchFamily="2" charset="0"/>
              </a:defRPr>
            </a:lvl1pPr>
          </a:lstStyle>
          <a:p>
            <a:pPr marL="11200" lvl="0" defTabSz="806438">
              <a:lnSpc>
                <a:spcPct val="100000"/>
              </a:lnSpc>
            </a:pPr>
            <a:r>
              <a:rPr lang="en-US"/>
              <a:t>CLICK TO EDIT MASTER TITLE STYLE</a:t>
            </a:r>
          </a:p>
        </p:txBody>
      </p:sp>
    </p:spTree>
    <p:extLst>
      <p:ext uri="{BB962C8B-B14F-4D97-AF65-F5344CB8AC3E}">
        <p14:creationId xmlns:p14="http://schemas.microsoft.com/office/powerpoint/2010/main" val="280648215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382"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82"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40" indent="-176040" algn="l" defTabSz="994382"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82"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7" indent="-188727" algn="l" defTabSz="994382"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4427091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45417"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2" y="1444"/>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2"/>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39"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487"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487"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4671084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02928300"/>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47465"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9537" y="0"/>
            <a:ext cx="12283986" cy="6858000"/>
          </a:xfrm>
          <a:prstGeom prst="rect">
            <a:avLst/>
          </a:prstGeom>
        </p:spPr>
      </p:pic>
    </p:spTree>
    <p:extLst>
      <p:ext uri="{BB962C8B-B14F-4D97-AF65-F5344CB8AC3E}">
        <p14:creationId xmlns:p14="http://schemas.microsoft.com/office/powerpoint/2010/main" val="16737329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70664180"/>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48489"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4"/>
            <a:ext cx="10616769" cy="672625"/>
          </a:xfrm>
          <a:prstGeom prst="rect">
            <a:avLst/>
          </a:prstGeom>
        </p:spPr>
        <p:txBody>
          <a:bodyPr/>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238907962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31"/>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4036635711"/>
      </p:ext>
    </p:extLst>
  </p:cSld>
  <p:clrMapOvr>
    <a:overrideClrMapping bg1="dk1" tx1="lt1" bg2="dk2" tx2="lt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720280"/>
      </p:ext>
    </p:extLst>
  </p:cSld>
  <p:clrMapOvr>
    <a:overrideClrMapping bg1="dk1" tx1="lt1" bg2="dk2" tx2="lt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5"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0"/>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5"/>
            <a:ext cx="10801405" cy="503999"/>
          </a:xfrm>
          <a:prstGeom prst="rect">
            <a:avLst/>
          </a:prstGeom>
        </p:spPr>
        <p:txBody>
          <a:bodyPr vert="horz" wrap="square" lIns="0" tIns="0" rIns="0" bIns="0" rtlCol="0">
            <a:noAutofit/>
          </a:bodyPr>
          <a:lstStyle>
            <a:lvl1pPr>
              <a:defRPr lang="en-US" sz="1999" spc="-49" dirty="0">
                <a:solidFill>
                  <a:srgbClr val="575756"/>
                </a:solidFill>
                <a:latin typeface="EYInterstate Light" panose="02000506000000020004" pitchFamily="2" charset="0"/>
                <a:ea typeface="+mn-ea"/>
                <a:cs typeface="EYInterstate Light" panose="02000506000000020004" pitchFamily="2" charset="0"/>
              </a:defRPr>
            </a:lvl1pPr>
          </a:lstStyle>
          <a:p>
            <a:pPr marL="11200" lvl="0" defTabSz="806438">
              <a:lnSpc>
                <a:spcPct val="100000"/>
              </a:lnSpc>
            </a:pPr>
            <a:r>
              <a:rPr lang="en-US"/>
              <a:t>CLICK TO EDIT MASTER TITLE STYLE</a:t>
            </a:r>
          </a:p>
        </p:txBody>
      </p:sp>
    </p:spTree>
    <p:extLst>
      <p:ext uri="{BB962C8B-B14F-4D97-AF65-F5344CB8AC3E}">
        <p14:creationId xmlns:p14="http://schemas.microsoft.com/office/powerpoint/2010/main" val="335533818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34810056"/>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53609"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13682925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4_Panel Cover Page 1/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4345"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3" name="Rectangle 2" hidden="1"/>
          <p:cNvSpPr/>
          <p:nvPr userDrawn="1">
            <p:custDataLst>
              <p:tags r:id="rId3"/>
            </p:custDataLst>
          </p:nvPr>
        </p:nvSpPr>
        <p:spPr>
          <a:xfrm>
            <a:off x="1" y="1"/>
            <a:ext cx="144052" cy="143985"/>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GB" sz="2176" b="1" i="0" baseline="0">
              <a:latin typeface="EYInterstate" panose="02000503020000020004" pitchFamily="2" charset="0"/>
              <a:ea typeface="+mj-ea"/>
              <a:cs typeface="+mj-cs"/>
              <a:sym typeface="EYInterstate" panose="02000503020000020004" pitchFamily="2" charset="0"/>
            </a:endParaRP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t="19981" b="9309"/>
          <a:stretch/>
        </p:blipFill>
        <p:spPr>
          <a:xfrm>
            <a:off x="1" y="0"/>
            <a:ext cx="12198350" cy="6858000"/>
          </a:xfrm>
          <a:prstGeom prst="rect">
            <a:avLst/>
          </a:prstGeom>
        </p:spPr>
      </p:pic>
      <p:sp>
        <p:nvSpPr>
          <p:cNvPr id="5" name="Freeform 5"/>
          <p:cNvSpPr>
            <a:spLocks/>
          </p:cNvSpPr>
          <p:nvPr userDrawn="1"/>
        </p:nvSpPr>
        <p:spPr bwMode="auto">
          <a:xfrm>
            <a:off x="5492587" y="816865"/>
            <a:ext cx="6159976" cy="3452337"/>
          </a:xfrm>
          <a:custGeom>
            <a:avLst/>
            <a:gdLst>
              <a:gd name="T0" fmla="*/ 3175 w 3175"/>
              <a:gd name="T1" fmla="*/ 2238 h 2238"/>
              <a:gd name="T2" fmla="*/ 3175 w 3175"/>
              <a:gd name="T3" fmla="*/ 0 h 2238"/>
              <a:gd name="T4" fmla="*/ 0 w 3175"/>
              <a:gd name="T5" fmla="*/ 559 h 2238"/>
              <a:gd name="T6" fmla="*/ 0 w 3175"/>
              <a:gd name="T7" fmla="*/ 2238 h 2238"/>
              <a:gd name="T8" fmla="*/ 3175 w 3175"/>
              <a:gd name="T9" fmla="*/ 2238 h 2238"/>
            </a:gdLst>
            <a:ahLst/>
            <a:cxnLst>
              <a:cxn ang="0">
                <a:pos x="T0" y="T1"/>
              </a:cxn>
              <a:cxn ang="0">
                <a:pos x="T2" y="T3"/>
              </a:cxn>
              <a:cxn ang="0">
                <a:pos x="T4" y="T5"/>
              </a:cxn>
              <a:cxn ang="0">
                <a:pos x="T6" y="T7"/>
              </a:cxn>
              <a:cxn ang="0">
                <a:pos x="T8" y="T9"/>
              </a:cxn>
            </a:cxnLst>
            <a:rect l="0" t="0" r="r" b="b"/>
            <a:pathLst>
              <a:path w="3175" h="2238">
                <a:moveTo>
                  <a:pt x="3175" y="2238"/>
                </a:moveTo>
                <a:lnTo>
                  <a:pt x="3175" y="0"/>
                </a:lnTo>
                <a:lnTo>
                  <a:pt x="0" y="559"/>
                </a:lnTo>
                <a:lnTo>
                  <a:pt x="0" y="2238"/>
                </a:lnTo>
                <a:lnTo>
                  <a:pt x="3175" y="2238"/>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1" tIns="41465" rIns="82931" bIns="41465" numCol="1" anchor="t" anchorCtr="0" compatLnSpc="1">
            <a:prstTxWarp prst="textNoShape">
              <a:avLst/>
            </a:prstTxWarp>
          </a:bodyPr>
          <a:lstStyle/>
          <a:p>
            <a:pPr defTabSz="945928" eaLnBrk="1"/>
            <a:endParaRPr lang="en-GB" sz="1295">
              <a:solidFill>
                <a:prstClr val="black"/>
              </a:solidFill>
            </a:endParaRPr>
          </a:p>
        </p:txBody>
      </p:sp>
      <p:sp>
        <p:nvSpPr>
          <p:cNvPr id="2" name="Title 1"/>
          <p:cNvSpPr>
            <a:spLocks noGrp="1"/>
          </p:cNvSpPr>
          <p:nvPr>
            <p:ph type="ctrTitle"/>
          </p:nvPr>
        </p:nvSpPr>
        <p:spPr bwMode="gray">
          <a:xfrm>
            <a:off x="677343" y="1875404"/>
            <a:ext cx="5790378" cy="398153"/>
          </a:xfrm>
          <a:ln algn="ctr"/>
        </p:spPr>
        <p:txBody>
          <a:bodyPr vert="horz" lIns="0" tIns="0" rIns="0" bIns="0" rtlCol="0" anchor="t" anchorCtr="0">
            <a:noAutofit/>
          </a:bodyPr>
          <a:lstStyle>
            <a:lvl1pPr>
              <a:defRPr kumimoji="0" lang="en-GB" sz="2176" b="1" i="0" u="none" strike="noStrike" kern="1200" cap="none" spc="0" normalizeH="0" baseline="0" noProof="0" dirty="0" smtClean="0">
                <a:ln>
                  <a:noFill/>
                </a:ln>
                <a:solidFill>
                  <a:srgbClr val="404040"/>
                </a:solidFill>
                <a:effectLst/>
                <a:uLnTx/>
                <a:uFillTx/>
                <a:latin typeface="+mj-lt"/>
                <a:ea typeface="+mj-ea"/>
                <a:cs typeface="+mj-cs"/>
              </a:defRPr>
            </a:lvl1pPr>
          </a:lstStyle>
          <a:p>
            <a:pPr marL="0" marR="0" lvl="0" indent="0" algn="l" defTabSz="945928" rtl="0" eaLnBrk="1" fontAlgn="auto" latinLnBrk="0" hangingPunct="1">
              <a:lnSpc>
                <a:spcPct val="100000"/>
              </a:lnSpc>
              <a:spcBef>
                <a:spcPct val="0"/>
              </a:spcBef>
              <a:spcAft>
                <a:spcPts val="0"/>
              </a:spcAft>
              <a:buClrTx/>
              <a:buSzTx/>
              <a:buFontTx/>
              <a:buNone/>
              <a:tabLst/>
              <a:defRPr/>
            </a:pPr>
            <a:r>
              <a:rPr lang="en-GB"/>
              <a:t>Click to edit Master title style</a:t>
            </a:r>
          </a:p>
        </p:txBody>
      </p:sp>
      <p:sp>
        <p:nvSpPr>
          <p:cNvPr id="96" name="Text Placeholder 95"/>
          <p:cNvSpPr>
            <a:spLocks noGrp="1"/>
          </p:cNvSpPr>
          <p:nvPr>
            <p:ph type="body" sz="quarter" idx="10" hasCustomPrompt="1"/>
          </p:nvPr>
        </p:nvSpPr>
        <p:spPr bwMode="gray">
          <a:xfrm>
            <a:off x="677284" y="3448695"/>
            <a:ext cx="5790378" cy="184300"/>
          </a:xfrm>
        </p:spPr>
        <p:txBody>
          <a:bodyPr wrap="none" lIns="0" rIns="0" anchor="ctr" anchorCtr="0"/>
          <a:lstStyle>
            <a:lvl1pPr>
              <a:defRPr>
                <a:solidFill>
                  <a:srgbClr val="404040"/>
                </a:solidFill>
              </a:defRPr>
            </a:lvl1pPr>
          </a:lstStyle>
          <a:p>
            <a:pPr lvl="0"/>
            <a:r>
              <a:rPr lang="en-GB"/>
              <a:t>Date</a:t>
            </a:r>
          </a:p>
        </p:txBody>
      </p:sp>
      <p:sp>
        <p:nvSpPr>
          <p:cNvPr id="67" name="Subtitle 2"/>
          <p:cNvSpPr>
            <a:spLocks noGrp="1"/>
          </p:cNvSpPr>
          <p:nvPr>
            <p:ph type="subTitle" idx="1"/>
          </p:nvPr>
        </p:nvSpPr>
        <p:spPr bwMode="gray">
          <a:xfrm>
            <a:off x="677285" y="2822131"/>
            <a:ext cx="5790378" cy="489548"/>
          </a:xfrm>
          <a:ln>
            <a:noFill/>
          </a:ln>
        </p:spPr>
        <p:txBody>
          <a:bodyPr vert="horz" lIns="0" tIns="0" rIns="0" bIns="0" rtlCol="0" anchor="t" anchorCtr="0">
            <a:noAutofit/>
          </a:bodyPr>
          <a:lstStyle>
            <a:lvl1pPr marL="0" indent="0" algn="l">
              <a:buNone/>
              <a:defRPr kumimoji="0" lang="en-GB" sz="1632" b="0" i="0" u="none" strike="noStrike" kern="1200" cap="none" spc="0" normalizeH="0" baseline="0" noProof="0" dirty="0" smtClean="0">
                <a:ln>
                  <a:noFill/>
                </a:ln>
                <a:solidFill>
                  <a:srgbClr val="404040"/>
                </a:solidFill>
                <a:effectLst/>
                <a:uLnTx/>
                <a:uFillTx/>
                <a:latin typeface="+mn-lt"/>
                <a:ea typeface="+mn-ea"/>
                <a:cs typeface="+mn-cs"/>
              </a:defRPr>
            </a:lvl1pPr>
            <a:lvl2pPr marL="472964" indent="0" algn="ctr">
              <a:buNone/>
              <a:defRPr>
                <a:solidFill>
                  <a:schemeClr val="tx1">
                    <a:tint val="75000"/>
                  </a:schemeClr>
                </a:solidFill>
              </a:defRPr>
            </a:lvl2pPr>
            <a:lvl3pPr marL="945928" indent="0" algn="ctr">
              <a:buNone/>
              <a:defRPr>
                <a:solidFill>
                  <a:schemeClr val="tx1">
                    <a:tint val="75000"/>
                  </a:schemeClr>
                </a:solidFill>
              </a:defRPr>
            </a:lvl3pPr>
            <a:lvl4pPr marL="1418891" indent="0" algn="ctr">
              <a:buNone/>
              <a:defRPr>
                <a:solidFill>
                  <a:schemeClr val="tx1">
                    <a:tint val="75000"/>
                  </a:schemeClr>
                </a:solidFill>
              </a:defRPr>
            </a:lvl4pPr>
            <a:lvl5pPr marL="1891857" indent="0" algn="ctr">
              <a:buNone/>
              <a:defRPr>
                <a:solidFill>
                  <a:schemeClr val="tx1">
                    <a:tint val="75000"/>
                  </a:schemeClr>
                </a:solidFill>
              </a:defRPr>
            </a:lvl5pPr>
            <a:lvl6pPr marL="2364820" indent="0" algn="ctr">
              <a:buNone/>
              <a:defRPr>
                <a:solidFill>
                  <a:schemeClr val="tx1">
                    <a:tint val="75000"/>
                  </a:schemeClr>
                </a:solidFill>
              </a:defRPr>
            </a:lvl6pPr>
            <a:lvl7pPr marL="2837784" indent="0" algn="ctr">
              <a:buNone/>
              <a:defRPr>
                <a:solidFill>
                  <a:schemeClr val="tx1">
                    <a:tint val="75000"/>
                  </a:schemeClr>
                </a:solidFill>
              </a:defRPr>
            </a:lvl7pPr>
            <a:lvl8pPr marL="3310747" indent="0" algn="ctr">
              <a:buNone/>
              <a:defRPr>
                <a:solidFill>
                  <a:schemeClr val="tx1">
                    <a:tint val="75000"/>
                  </a:schemeClr>
                </a:solidFill>
              </a:defRPr>
            </a:lvl8pPr>
            <a:lvl9pPr marL="3783711" indent="0" algn="ctr">
              <a:buNone/>
              <a:defRPr>
                <a:solidFill>
                  <a:schemeClr val="tx1">
                    <a:tint val="75000"/>
                  </a:schemeClr>
                </a:solidFill>
              </a:defRPr>
            </a:lvl9pPr>
          </a:lstStyle>
          <a:p>
            <a:pPr marL="0" marR="0" lvl="0" indent="0" algn="l" defTabSz="945928" rtl="0" eaLnBrk="1" fontAlgn="auto" latinLnBrk="0" hangingPunct="1">
              <a:lnSpc>
                <a:spcPct val="90000"/>
              </a:lnSpc>
              <a:spcBef>
                <a:spcPts val="0"/>
              </a:spcBef>
              <a:spcAft>
                <a:spcPct val="0"/>
              </a:spcAft>
              <a:buClrTx/>
              <a:buSzTx/>
              <a:buFont typeface="Arial" pitchFamily="34" charset="0"/>
              <a:buNone/>
              <a:tabLst/>
              <a:defRPr/>
            </a:pPr>
            <a:r>
              <a:rPr lang="en-GB"/>
              <a:t>Click to edit Master subtitle style</a:t>
            </a:r>
          </a:p>
        </p:txBody>
      </p:sp>
      <p:sp>
        <p:nvSpPr>
          <p:cNvPr id="4" name="AutoShape 3"/>
          <p:cNvSpPr>
            <a:spLocks noChangeAspect="1" noChangeArrowheads="1" noTextEdit="1"/>
          </p:cNvSpPr>
          <p:nvPr userDrawn="1"/>
        </p:nvSpPr>
        <p:spPr bwMode="auto">
          <a:xfrm>
            <a:off x="10470733" y="5320243"/>
            <a:ext cx="1231425" cy="1148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31" tIns="41465" rIns="82931" bIns="41465" numCol="1" anchor="t" anchorCtr="0" compatLnSpc="1">
            <a:prstTxWarp prst="textNoShape">
              <a:avLst/>
            </a:prstTxWarp>
          </a:bodyPr>
          <a:lstStyle/>
          <a:p>
            <a:pPr defTabSz="945928" eaLnBrk="1"/>
            <a:endParaRPr lang="en-GB" sz="1295">
              <a:solidFill>
                <a:prstClr val="black"/>
              </a:solidFill>
            </a:endParaRPr>
          </a:p>
        </p:txBody>
      </p:sp>
      <p:sp>
        <p:nvSpPr>
          <p:cNvPr id="6" name="Freeform 5"/>
          <p:cNvSpPr>
            <a:spLocks/>
          </p:cNvSpPr>
          <p:nvPr userDrawn="1"/>
        </p:nvSpPr>
        <p:spPr bwMode="auto">
          <a:xfrm>
            <a:off x="10468924" y="5320241"/>
            <a:ext cx="986952" cy="286531"/>
          </a:xfrm>
          <a:custGeom>
            <a:avLst/>
            <a:gdLst>
              <a:gd name="T0" fmla="*/ 545 w 545"/>
              <a:gd name="T1" fmla="*/ 0 h 199"/>
              <a:gd name="T2" fmla="*/ 0 w 545"/>
              <a:gd name="T3" fmla="*/ 199 h 199"/>
              <a:gd name="T4" fmla="*/ 545 w 545"/>
              <a:gd name="T5" fmla="*/ 103 h 199"/>
              <a:gd name="T6" fmla="*/ 545 w 545"/>
              <a:gd name="T7" fmla="*/ 0 h 199"/>
            </a:gdLst>
            <a:ahLst/>
            <a:cxnLst>
              <a:cxn ang="0">
                <a:pos x="T0" y="T1"/>
              </a:cxn>
              <a:cxn ang="0">
                <a:pos x="T2" y="T3"/>
              </a:cxn>
              <a:cxn ang="0">
                <a:pos x="T4" y="T5"/>
              </a:cxn>
              <a:cxn ang="0">
                <a:pos x="T6" y="T7"/>
              </a:cxn>
            </a:cxnLst>
            <a:rect l="0" t="0" r="r" b="b"/>
            <a:pathLst>
              <a:path w="545" h="199">
                <a:moveTo>
                  <a:pt x="545" y="0"/>
                </a:moveTo>
                <a:lnTo>
                  <a:pt x="0" y="199"/>
                </a:lnTo>
                <a:lnTo>
                  <a:pt x="545" y="103"/>
                </a:lnTo>
                <a:lnTo>
                  <a:pt x="545"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1" tIns="41465" rIns="82931" bIns="41465" numCol="1" anchor="t" anchorCtr="0" compatLnSpc="1">
            <a:prstTxWarp prst="textNoShape">
              <a:avLst/>
            </a:prstTxWarp>
          </a:bodyPr>
          <a:lstStyle/>
          <a:p>
            <a:pPr defTabSz="945928" eaLnBrk="1"/>
            <a:endParaRPr lang="en-GB" sz="1295">
              <a:solidFill>
                <a:prstClr val="black"/>
              </a:solidFill>
            </a:endParaRPr>
          </a:p>
        </p:txBody>
      </p:sp>
      <p:sp>
        <p:nvSpPr>
          <p:cNvPr id="7" name="Freeform 6"/>
          <p:cNvSpPr>
            <a:spLocks noEditPoints="1"/>
          </p:cNvSpPr>
          <p:nvPr userDrawn="1"/>
        </p:nvSpPr>
        <p:spPr bwMode="auto">
          <a:xfrm>
            <a:off x="10468923" y="5726280"/>
            <a:ext cx="1231425" cy="741523"/>
          </a:xfrm>
          <a:custGeom>
            <a:avLst/>
            <a:gdLst>
              <a:gd name="T0" fmla="*/ 699 w 1299"/>
              <a:gd name="T1" fmla="*/ 527 h 985"/>
              <a:gd name="T2" fmla="*/ 167 w 1299"/>
              <a:gd name="T3" fmla="*/ 208 h 985"/>
              <a:gd name="T4" fmla="*/ 430 w 1299"/>
              <a:gd name="T5" fmla="*/ 406 h 985"/>
              <a:gd name="T6" fmla="*/ 971 w 1299"/>
              <a:gd name="T7" fmla="*/ 947 h 985"/>
              <a:gd name="T8" fmla="*/ 417 w 1299"/>
              <a:gd name="T9" fmla="*/ 829 h 985"/>
              <a:gd name="T10" fmla="*/ 592 w 1299"/>
              <a:gd name="T11" fmla="*/ 882 h 985"/>
              <a:gd name="T12" fmla="*/ 571 w 1299"/>
              <a:gd name="T13" fmla="*/ 851 h 985"/>
              <a:gd name="T14" fmla="*/ 569 w 1299"/>
              <a:gd name="T15" fmla="*/ 985 h 985"/>
              <a:gd name="T16" fmla="*/ 438 w 1299"/>
              <a:gd name="T17" fmla="*/ 947 h 985"/>
              <a:gd name="T18" fmla="*/ 496 w 1299"/>
              <a:gd name="T19" fmla="*/ 947 h 985"/>
              <a:gd name="T20" fmla="*/ 354 w 1299"/>
              <a:gd name="T21" fmla="*/ 947 h 985"/>
              <a:gd name="T22" fmla="*/ 322 w 1299"/>
              <a:gd name="T23" fmla="*/ 889 h 985"/>
              <a:gd name="T24" fmla="*/ 842 w 1299"/>
              <a:gd name="T25" fmla="*/ 873 h 985"/>
              <a:gd name="T26" fmla="*/ 842 w 1299"/>
              <a:gd name="T27" fmla="*/ 851 h 985"/>
              <a:gd name="T28" fmla="*/ 728 w 1299"/>
              <a:gd name="T29" fmla="*/ 909 h 985"/>
              <a:gd name="T30" fmla="*/ 709 w 1299"/>
              <a:gd name="T31" fmla="*/ 911 h 985"/>
              <a:gd name="T32" fmla="*/ 772 w 1299"/>
              <a:gd name="T33" fmla="*/ 853 h 985"/>
              <a:gd name="T34" fmla="*/ 922 w 1299"/>
              <a:gd name="T35" fmla="*/ 854 h 985"/>
              <a:gd name="T36" fmla="*/ 171 w 1299"/>
              <a:gd name="T37" fmla="*/ 873 h 985"/>
              <a:gd name="T38" fmla="*/ 171 w 1299"/>
              <a:gd name="T39" fmla="*/ 851 h 985"/>
              <a:gd name="T40" fmla="*/ 56 w 1299"/>
              <a:gd name="T41" fmla="*/ 909 h 985"/>
              <a:gd name="T42" fmla="*/ 37 w 1299"/>
              <a:gd name="T43" fmla="*/ 911 h 985"/>
              <a:gd name="T44" fmla="*/ 101 w 1299"/>
              <a:gd name="T45" fmla="*/ 853 h 985"/>
              <a:gd name="T46" fmla="*/ 250 w 1299"/>
              <a:gd name="T47" fmla="*/ 854 h 985"/>
              <a:gd name="T48" fmla="*/ 1052 w 1299"/>
              <a:gd name="T49" fmla="*/ 873 h 985"/>
              <a:gd name="T50" fmla="*/ 1047 w 1299"/>
              <a:gd name="T51" fmla="*/ 949 h 985"/>
              <a:gd name="T52" fmla="*/ 433 w 1299"/>
              <a:gd name="T53" fmla="*/ 665 h 985"/>
              <a:gd name="T54" fmla="*/ 433 w 1299"/>
              <a:gd name="T55" fmla="*/ 690 h 985"/>
              <a:gd name="T56" fmla="*/ 226 w 1299"/>
              <a:gd name="T57" fmla="*/ 677 h 985"/>
              <a:gd name="T58" fmla="*/ 1261 w 1299"/>
              <a:gd name="T59" fmla="*/ 784 h 985"/>
              <a:gd name="T60" fmla="*/ 1293 w 1299"/>
              <a:gd name="T61" fmla="*/ 716 h 985"/>
              <a:gd name="T62" fmla="*/ 1021 w 1299"/>
              <a:gd name="T63" fmla="*/ 690 h 985"/>
              <a:gd name="T64" fmla="*/ 1044 w 1299"/>
              <a:gd name="T65" fmla="*/ 751 h 985"/>
              <a:gd name="T66" fmla="*/ 1131 w 1299"/>
              <a:gd name="T67" fmla="*/ 781 h 985"/>
              <a:gd name="T68" fmla="*/ 1087 w 1299"/>
              <a:gd name="T69" fmla="*/ 666 h 985"/>
              <a:gd name="T70" fmla="*/ 1166 w 1299"/>
              <a:gd name="T71" fmla="*/ 727 h 985"/>
              <a:gd name="T72" fmla="*/ 1223 w 1299"/>
              <a:gd name="T73" fmla="*/ 744 h 985"/>
              <a:gd name="T74" fmla="*/ 943 w 1299"/>
              <a:gd name="T75" fmla="*/ 727 h 985"/>
              <a:gd name="T76" fmla="*/ 1000 w 1299"/>
              <a:gd name="T77" fmla="*/ 744 h 985"/>
              <a:gd name="T78" fmla="*/ 709 w 1299"/>
              <a:gd name="T79" fmla="*/ 753 h 985"/>
              <a:gd name="T80" fmla="*/ 727 w 1299"/>
              <a:gd name="T81" fmla="*/ 706 h 985"/>
              <a:gd name="T82" fmla="*/ 743 w 1299"/>
              <a:gd name="T83" fmla="*/ 784 h 985"/>
              <a:gd name="T84" fmla="*/ 608 w 1299"/>
              <a:gd name="T85" fmla="*/ 755 h 985"/>
              <a:gd name="T86" fmla="*/ 550 w 1299"/>
              <a:gd name="T87" fmla="*/ 736 h 985"/>
              <a:gd name="T88" fmla="*/ 585 w 1299"/>
              <a:gd name="T89" fmla="*/ 822 h 985"/>
              <a:gd name="T90" fmla="*/ 867 w 1299"/>
              <a:gd name="T91" fmla="*/ 764 h 985"/>
              <a:gd name="T92" fmla="*/ 827 w 1299"/>
              <a:gd name="T93" fmla="*/ 665 h 985"/>
              <a:gd name="T94" fmla="*/ 350 w 1299"/>
              <a:gd name="T95" fmla="*/ 764 h 985"/>
              <a:gd name="T96" fmla="*/ 345 w 1299"/>
              <a:gd name="T97" fmla="*/ 688 h 985"/>
              <a:gd name="T98" fmla="*/ 366 w 1299"/>
              <a:gd name="T99" fmla="*/ 663 h 985"/>
              <a:gd name="T100" fmla="*/ 269 w 1299"/>
              <a:gd name="T101" fmla="*/ 663 h 985"/>
              <a:gd name="T102" fmla="*/ 477 w 1299"/>
              <a:gd name="T103" fmla="*/ 784 h 985"/>
              <a:gd name="T104" fmla="*/ 535 w 1299"/>
              <a:gd name="T105" fmla="*/ 784 h 985"/>
              <a:gd name="T106" fmla="*/ 124 w 1299"/>
              <a:gd name="T107" fmla="*/ 690 h 985"/>
              <a:gd name="T108" fmla="*/ 205 w 1299"/>
              <a:gd name="T109" fmla="*/ 784 h 985"/>
              <a:gd name="T110" fmla="*/ 33 w 1299"/>
              <a:gd name="T111" fmla="*/ 677 h 985"/>
              <a:gd name="T112" fmla="*/ 63 w 1299"/>
              <a:gd name="T113" fmla="*/ 725 h 985"/>
              <a:gd name="T114" fmla="*/ 9 w 1299"/>
              <a:gd name="T115" fmla="*/ 65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9" h="985">
                <a:moveTo>
                  <a:pt x="711" y="0"/>
                </a:moveTo>
                <a:cubicBezTo>
                  <a:pt x="621" y="172"/>
                  <a:pt x="621" y="172"/>
                  <a:pt x="621" y="172"/>
                </a:cubicBezTo>
                <a:cubicBezTo>
                  <a:pt x="532" y="0"/>
                  <a:pt x="532" y="0"/>
                  <a:pt x="532" y="0"/>
                </a:cubicBezTo>
                <a:cubicBezTo>
                  <a:pt x="357" y="0"/>
                  <a:pt x="357" y="0"/>
                  <a:pt x="357" y="0"/>
                </a:cubicBezTo>
                <a:cubicBezTo>
                  <a:pt x="541" y="319"/>
                  <a:pt x="541" y="319"/>
                  <a:pt x="541" y="319"/>
                </a:cubicBezTo>
                <a:cubicBezTo>
                  <a:pt x="541" y="527"/>
                  <a:pt x="541" y="527"/>
                  <a:pt x="541" y="527"/>
                </a:cubicBezTo>
                <a:cubicBezTo>
                  <a:pt x="699" y="527"/>
                  <a:pt x="699" y="527"/>
                  <a:pt x="699" y="527"/>
                </a:cubicBezTo>
                <a:cubicBezTo>
                  <a:pt x="699" y="319"/>
                  <a:pt x="699" y="319"/>
                  <a:pt x="699" y="319"/>
                </a:cubicBezTo>
                <a:cubicBezTo>
                  <a:pt x="883" y="0"/>
                  <a:pt x="883" y="0"/>
                  <a:pt x="883" y="0"/>
                </a:cubicBezTo>
                <a:lnTo>
                  <a:pt x="711" y="0"/>
                </a:lnTo>
                <a:close/>
                <a:moveTo>
                  <a:pt x="167" y="319"/>
                </a:moveTo>
                <a:cubicBezTo>
                  <a:pt x="357" y="319"/>
                  <a:pt x="357" y="319"/>
                  <a:pt x="357" y="319"/>
                </a:cubicBezTo>
                <a:cubicBezTo>
                  <a:pt x="357" y="208"/>
                  <a:pt x="357" y="208"/>
                  <a:pt x="357" y="208"/>
                </a:cubicBezTo>
                <a:cubicBezTo>
                  <a:pt x="167" y="208"/>
                  <a:pt x="167" y="208"/>
                  <a:pt x="167" y="208"/>
                </a:cubicBezTo>
                <a:cubicBezTo>
                  <a:pt x="167" y="122"/>
                  <a:pt x="167" y="122"/>
                  <a:pt x="167" y="122"/>
                </a:cubicBezTo>
                <a:cubicBezTo>
                  <a:pt x="377" y="122"/>
                  <a:pt x="377" y="122"/>
                  <a:pt x="377" y="122"/>
                </a:cubicBezTo>
                <a:cubicBezTo>
                  <a:pt x="308" y="0"/>
                  <a:pt x="308" y="0"/>
                  <a:pt x="308" y="0"/>
                </a:cubicBezTo>
                <a:cubicBezTo>
                  <a:pt x="9" y="0"/>
                  <a:pt x="9" y="0"/>
                  <a:pt x="9" y="0"/>
                </a:cubicBezTo>
                <a:cubicBezTo>
                  <a:pt x="9" y="527"/>
                  <a:pt x="9" y="527"/>
                  <a:pt x="9" y="527"/>
                </a:cubicBezTo>
                <a:cubicBezTo>
                  <a:pt x="430" y="527"/>
                  <a:pt x="430" y="527"/>
                  <a:pt x="430" y="527"/>
                </a:cubicBezTo>
                <a:cubicBezTo>
                  <a:pt x="430" y="406"/>
                  <a:pt x="430" y="406"/>
                  <a:pt x="430" y="406"/>
                </a:cubicBezTo>
                <a:cubicBezTo>
                  <a:pt x="167" y="406"/>
                  <a:pt x="167" y="406"/>
                  <a:pt x="167" y="406"/>
                </a:cubicBezTo>
                <a:lnTo>
                  <a:pt x="167" y="319"/>
                </a:lnTo>
                <a:close/>
                <a:moveTo>
                  <a:pt x="971" y="826"/>
                </a:moveTo>
                <a:cubicBezTo>
                  <a:pt x="995" y="815"/>
                  <a:pt x="995" y="815"/>
                  <a:pt x="995" y="815"/>
                </a:cubicBezTo>
                <a:cubicBezTo>
                  <a:pt x="995" y="899"/>
                  <a:pt x="995" y="899"/>
                  <a:pt x="995" y="899"/>
                </a:cubicBezTo>
                <a:cubicBezTo>
                  <a:pt x="995" y="947"/>
                  <a:pt x="995" y="947"/>
                  <a:pt x="995" y="947"/>
                </a:cubicBezTo>
                <a:cubicBezTo>
                  <a:pt x="971" y="947"/>
                  <a:pt x="971" y="947"/>
                  <a:pt x="971" y="947"/>
                </a:cubicBezTo>
                <a:lnTo>
                  <a:pt x="971" y="826"/>
                </a:lnTo>
                <a:close/>
                <a:moveTo>
                  <a:pt x="417" y="829"/>
                </a:moveTo>
                <a:cubicBezTo>
                  <a:pt x="417" y="840"/>
                  <a:pt x="417" y="840"/>
                  <a:pt x="417" y="840"/>
                </a:cubicBezTo>
                <a:cubicBezTo>
                  <a:pt x="394" y="840"/>
                  <a:pt x="394" y="840"/>
                  <a:pt x="394" y="840"/>
                </a:cubicBezTo>
                <a:cubicBezTo>
                  <a:pt x="394" y="817"/>
                  <a:pt x="394" y="817"/>
                  <a:pt x="394" y="817"/>
                </a:cubicBezTo>
                <a:cubicBezTo>
                  <a:pt x="417" y="817"/>
                  <a:pt x="417" y="817"/>
                  <a:pt x="417" y="817"/>
                </a:cubicBezTo>
                <a:lnTo>
                  <a:pt x="417" y="829"/>
                </a:lnTo>
                <a:close/>
                <a:moveTo>
                  <a:pt x="394" y="854"/>
                </a:moveTo>
                <a:cubicBezTo>
                  <a:pt x="417" y="854"/>
                  <a:pt x="417" y="854"/>
                  <a:pt x="417" y="854"/>
                </a:cubicBezTo>
                <a:cubicBezTo>
                  <a:pt x="417" y="896"/>
                  <a:pt x="417" y="896"/>
                  <a:pt x="417" y="896"/>
                </a:cubicBezTo>
                <a:cubicBezTo>
                  <a:pt x="417" y="947"/>
                  <a:pt x="417" y="947"/>
                  <a:pt x="417" y="947"/>
                </a:cubicBezTo>
                <a:cubicBezTo>
                  <a:pt x="394" y="947"/>
                  <a:pt x="394" y="947"/>
                  <a:pt x="394" y="947"/>
                </a:cubicBezTo>
                <a:lnTo>
                  <a:pt x="394" y="854"/>
                </a:lnTo>
                <a:close/>
                <a:moveTo>
                  <a:pt x="592" y="882"/>
                </a:moveTo>
                <a:cubicBezTo>
                  <a:pt x="592" y="919"/>
                  <a:pt x="592" y="919"/>
                  <a:pt x="592" y="919"/>
                </a:cubicBezTo>
                <a:cubicBezTo>
                  <a:pt x="588" y="923"/>
                  <a:pt x="584" y="928"/>
                  <a:pt x="576" y="928"/>
                </a:cubicBezTo>
                <a:cubicBezTo>
                  <a:pt x="568" y="928"/>
                  <a:pt x="558" y="923"/>
                  <a:pt x="558" y="899"/>
                </a:cubicBezTo>
                <a:cubicBezTo>
                  <a:pt x="558" y="877"/>
                  <a:pt x="568" y="873"/>
                  <a:pt x="575" y="873"/>
                </a:cubicBezTo>
                <a:cubicBezTo>
                  <a:pt x="584" y="873"/>
                  <a:pt x="589" y="878"/>
                  <a:pt x="592" y="882"/>
                </a:cubicBezTo>
                <a:moveTo>
                  <a:pt x="592" y="860"/>
                </a:moveTo>
                <a:cubicBezTo>
                  <a:pt x="586" y="855"/>
                  <a:pt x="579" y="851"/>
                  <a:pt x="571" y="851"/>
                </a:cubicBezTo>
                <a:cubicBezTo>
                  <a:pt x="549" y="851"/>
                  <a:pt x="535" y="870"/>
                  <a:pt x="535" y="899"/>
                </a:cubicBezTo>
                <a:cubicBezTo>
                  <a:pt x="535" y="931"/>
                  <a:pt x="548" y="949"/>
                  <a:pt x="571" y="949"/>
                </a:cubicBezTo>
                <a:cubicBezTo>
                  <a:pt x="579" y="949"/>
                  <a:pt x="586" y="946"/>
                  <a:pt x="592" y="940"/>
                </a:cubicBezTo>
                <a:cubicBezTo>
                  <a:pt x="592" y="942"/>
                  <a:pt x="592" y="942"/>
                  <a:pt x="592" y="942"/>
                </a:cubicBezTo>
                <a:cubicBezTo>
                  <a:pt x="592" y="953"/>
                  <a:pt x="592" y="967"/>
                  <a:pt x="562" y="967"/>
                </a:cubicBezTo>
                <a:cubicBezTo>
                  <a:pt x="561" y="967"/>
                  <a:pt x="561" y="967"/>
                  <a:pt x="561" y="967"/>
                </a:cubicBezTo>
                <a:cubicBezTo>
                  <a:pt x="569" y="985"/>
                  <a:pt x="569" y="985"/>
                  <a:pt x="569" y="985"/>
                </a:cubicBezTo>
                <a:cubicBezTo>
                  <a:pt x="570" y="985"/>
                  <a:pt x="570" y="985"/>
                  <a:pt x="570" y="985"/>
                </a:cubicBezTo>
                <a:cubicBezTo>
                  <a:pt x="600" y="985"/>
                  <a:pt x="615" y="969"/>
                  <a:pt x="615" y="938"/>
                </a:cubicBezTo>
                <a:cubicBezTo>
                  <a:pt x="615" y="853"/>
                  <a:pt x="615" y="853"/>
                  <a:pt x="615" y="853"/>
                </a:cubicBezTo>
                <a:cubicBezTo>
                  <a:pt x="592" y="853"/>
                  <a:pt x="592" y="853"/>
                  <a:pt x="592" y="853"/>
                </a:cubicBezTo>
                <a:lnTo>
                  <a:pt x="592" y="860"/>
                </a:lnTo>
                <a:close/>
                <a:moveTo>
                  <a:pt x="461" y="947"/>
                </a:moveTo>
                <a:cubicBezTo>
                  <a:pt x="438" y="947"/>
                  <a:pt x="438" y="947"/>
                  <a:pt x="438" y="947"/>
                </a:cubicBezTo>
                <a:cubicBezTo>
                  <a:pt x="438" y="854"/>
                  <a:pt x="438" y="854"/>
                  <a:pt x="438" y="854"/>
                </a:cubicBezTo>
                <a:cubicBezTo>
                  <a:pt x="461" y="854"/>
                  <a:pt x="461" y="854"/>
                  <a:pt x="461" y="854"/>
                </a:cubicBezTo>
                <a:cubicBezTo>
                  <a:pt x="461" y="861"/>
                  <a:pt x="461" y="861"/>
                  <a:pt x="461" y="861"/>
                </a:cubicBezTo>
                <a:cubicBezTo>
                  <a:pt x="467" y="855"/>
                  <a:pt x="475" y="851"/>
                  <a:pt x="485" y="851"/>
                </a:cubicBezTo>
                <a:cubicBezTo>
                  <a:pt x="507" y="851"/>
                  <a:pt x="519" y="866"/>
                  <a:pt x="519" y="894"/>
                </a:cubicBezTo>
                <a:cubicBezTo>
                  <a:pt x="519" y="947"/>
                  <a:pt x="519" y="947"/>
                  <a:pt x="519" y="947"/>
                </a:cubicBezTo>
                <a:cubicBezTo>
                  <a:pt x="496" y="947"/>
                  <a:pt x="496" y="947"/>
                  <a:pt x="496" y="947"/>
                </a:cubicBezTo>
                <a:cubicBezTo>
                  <a:pt x="496" y="896"/>
                  <a:pt x="496" y="896"/>
                  <a:pt x="496" y="896"/>
                </a:cubicBezTo>
                <a:cubicBezTo>
                  <a:pt x="496" y="880"/>
                  <a:pt x="491" y="873"/>
                  <a:pt x="479" y="873"/>
                </a:cubicBezTo>
                <a:cubicBezTo>
                  <a:pt x="467" y="873"/>
                  <a:pt x="461" y="881"/>
                  <a:pt x="461" y="895"/>
                </a:cubicBezTo>
                <a:lnTo>
                  <a:pt x="461" y="947"/>
                </a:lnTo>
                <a:close/>
                <a:moveTo>
                  <a:pt x="351" y="884"/>
                </a:moveTo>
                <a:cubicBezTo>
                  <a:pt x="380" y="947"/>
                  <a:pt x="380" y="947"/>
                  <a:pt x="380" y="947"/>
                </a:cubicBezTo>
                <a:cubicBezTo>
                  <a:pt x="354" y="947"/>
                  <a:pt x="354" y="947"/>
                  <a:pt x="354" y="947"/>
                </a:cubicBezTo>
                <a:cubicBezTo>
                  <a:pt x="335" y="904"/>
                  <a:pt x="335" y="904"/>
                  <a:pt x="335" y="904"/>
                </a:cubicBezTo>
                <a:cubicBezTo>
                  <a:pt x="322" y="919"/>
                  <a:pt x="322" y="919"/>
                  <a:pt x="322" y="919"/>
                </a:cubicBezTo>
                <a:cubicBezTo>
                  <a:pt x="322" y="947"/>
                  <a:pt x="322" y="947"/>
                  <a:pt x="322" y="947"/>
                </a:cubicBezTo>
                <a:cubicBezTo>
                  <a:pt x="299" y="947"/>
                  <a:pt x="299" y="947"/>
                  <a:pt x="299" y="947"/>
                </a:cubicBezTo>
                <a:cubicBezTo>
                  <a:pt x="299" y="826"/>
                  <a:pt x="299" y="826"/>
                  <a:pt x="299" y="826"/>
                </a:cubicBezTo>
                <a:cubicBezTo>
                  <a:pt x="322" y="815"/>
                  <a:pt x="322" y="815"/>
                  <a:pt x="322" y="815"/>
                </a:cubicBezTo>
                <a:cubicBezTo>
                  <a:pt x="322" y="889"/>
                  <a:pt x="322" y="889"/>
                  <a:pt x="322" y="889"/>
                </a:cubicBezTo>
                <a:cubicBezTo>
                  <a:pt x="325" y="885"/>
                  <a:pt x="329" y="881"/>
                  <a:pt x="331" y="878"/>
                </a:cubicBezTo>
                <a:cubicBezTo>
                  <a:pt x="350" y="853"/>
                  <a:pt x="350" y="853"/>
                  <a:pt x="350" y="853"/>
                </a:cubicBezTo>
                <a:cubicBezTo>
                  <a:pt x="376" y="853"/>
                  <a:pt x="376" y="853"/>
                  <a:pt x="376" y="853"/>
                </a:cubicBezTo>
                <a:lnTo>
                  <a:pt x="351" y="884"/>
                </a:lnTo>
                <a:close/>
                <a:moveTo>
                  <a:pt x="842" y="927"/>
                </a:moveTo>
                <a:cubicBezTo>
                  <a:pt x="831" y="927"/>
                  <a:pt x="823" y="917"/>
                  <a:pt x="823" y="900"/>
                </a:cubicBezTo>
                <a:cubicBezTo>
                  <a:pt x="823" y="884"/>
                  <a:pt x="831" y="873"/>
                  <a:pt x="842" y="873"/>
                </a:cubicBezTo>
                <a:cubicBezTo>
                  <a:pt x="854" y="873"/>
                  <a:pt x="861" y="884"/>
                  <a:pt x="861" y="900"/>
                </a:cubicBezTo>
                <a:cubicBezTo>
                  <a:pt x="861" y="917"/>
                  <a:pt x="854" y="927"/>
                  <a:pt x="842" y="927"/>
                </a:cubicBezTo>
                <a:moveTo>
                  <a:pt x="842" y="851"/>
                </a:moveTo>
                <a:cubicBezTo>
                  <a:pt x="818" y="851"/>
                  <a:pt x="800" y="872"/>
                  <a:pt x="800" y="900"/>
                </a:cubicBezTo>
                <a:cubicBezTo>
                  <a:pt x="800" y="929"/>
                  <a:pt x="818" y="949"/>
                  <a:pt x="842" y="949"/>
                </a:cubicBezTo>
                <a:cubicBezTo>
                  <a:pt x="867" y="949"/>
                  <a:pt x="885" y="929"/>
                  <a:pt x="885" y="900"/>
                </a:cubicBezTo>
                <a:cubicBezTo>
                  <a:pt x="885" y="872"/>
                  <a:pt x="867" y="851"/>
                  <a:pt x="842" y="851"/>
                </a:cubicBezTo>
                <a:moveTo>
                  <a:pt x="772" y="853"/>
                </a:moveTo>
                <a:cubicBezTo>
                  <a:pt x="795" y="853"/>
                  <a:pt x="795" y="853"/>
                  <a:pt x="795" y="853"/>
                </a:cubicBezTo>
                <a:cubicBezTo>
                  <a:pt x="769" y="947"/>
                  <a:pt x="769" y="947"/>
                  <a:pt x="769" y="947"/>
                </a:cubicBezTo>
                <a:cubicBezTo>
                  <a:pt x="749" y="947"/>
                  <a:pt x="749" y="947"/>
                  <a:pt x="749" y="947"/>
                </a:cubicBezTo>
                <a:cubicBezTo>
                  <a:pt x="739" y="908"/>
                  <a:pt x="739" y="908"/>
                  <a:pt x="739" y="908"/>
                </a:cubicBezTo>
                <a:cubicBezTo>
                  <a:pt x="737" y="901"/>
                  <a:pt x="735" y="893"/>
                  <a:pt x="733" y="888"/>
                </a:cubicBezTo>
                <a:cubicBezTo>
                  <a:pt x="733" y="892"/>
                  <a:pt x="730" y="903"/>
                  <a:pt x="728" y="909"/>
                </a:cubicBezTo>
                <a:cubicBezTo>
                  <a:pt x="718" y="947"/>
                  <a:pt x="718" y="947"/>
                  <a:pt x="718" y="947"/>
                </a:cubicBezTo>
                <a:cubicBezTo>
                  <a:pt x="698" y="947"/>
                  <a:pt x="698" y="947"/>
                  <a:pt x="698" y="947"/>
                </a:cubicBezTo>
                <a:cubicBezTo>
                  <a:pt x="698" y="947"/>
                  <a:pt x="698" y="947"/>
                  <a:pt x="698" y="947"/>
                </a:cubicBezTo>
                <a:cubicBezTo>
                  <a:pt x="671" y="853"/>
                  <a:pt x="671" y="853"/>
                  <a:pt x="671" y="853"/>
                </a:cubicBezTo>
                <a:cubicBezTo>
                  <a:pt x="695" y="853"/>
                  <a:pt x="695" y="853"/>
                  <a:pt x="695" y="853"/>
                </a:cubicBezTo>
                <a:cubicBezTo>
                  <a:pt x="704" y="888"/>
                  <a:pt x="704" y="888"/>
                  <a:pt x="704" y="888"/>
                </a:cubicBezTo>
                <a:cubicBezTo>
                  <a:pt x="705" y="894"/>
                  <a:pt x="707" y="904"/>
                  <a:pt x="709" y="911"/>
                </a:cubicBezTo>
                <a:cubicBezTo>
                  <a:pt x="710" y="904"/>
                  <a:pt x="712" y="894"/>
                  <a:pt x="714" y="888"/>
                </a:cubicBezTo>
                <a:cubicBezTo>
                  <a:pt x="724" y="853"/>
                  <a:pt x="724" y="853"/>
                  <a:pt x="724" y="853"/>
                </a:cubicBezTo>
                <a:cubicBezTo>
                  <a:pt x="744" y="853"/>
                  <a:pt x="744" y="853"/>
                  <a:pt x="744" y="853"/>
                </a:cubicBezTo>
                <a:cubicBezTo>
                  <a:pt x="753" y="888"/>
                  <a:pt x="753" y="888"/>
                  <a:pt x="753" y="888"/>
                </a:cubicBezTo>
                <a:cubicBezTo>
                  <a:pt x="755" y="894"/>
                  <a:pt x="758" y="904"/>
                  <a:pt x="759" y="912"/>
                </a:cubicBezTo>
                <a:cubicBezTo>
                  <a:pt x="760" y="906"/>
                  <a:pt x="762" y="897"/>
                  <a:pt x="764" y="888"/>
                </a:cubicBezTo>
                <a:lnTo>
                  <a:pt x="772" y="853"/>
                </a:lnTo>
                <a:close/>
                <a:moveTo>
                  <a:pt x="954" y="880"/>
                </a:moveTo>
                <a:cubicBezTo>
                  <a:pt x="950" y="877"/>
                  <a:pt x="944" y="875"/>
                  <a:pt x="939" y="875"/>
                </a:cubicBezTo>
                <a:cubicBezTo>
                  <a:pt x="928" y="875"/>
                  <a:pt x="922" y="882"/>
                  <a:pt x="922" y="896"/>
                </a:cubicBezTo>
                <a:cubicBezTo>
                  <a:pt x="922" y="947"/>
                  <a:pt x="922" y="947"/>
                  <a:pt x="922" y="947"/>
                </a:cubicBezTo>
                <a:cubicBezTo>
                  <a:pt x="899" y="947"/>
                  <a:pt x="899" y="947"/>
                  <a:pt x="899" y="947"/>
                </a:cubicBezTo>
                <a:cubicBezTo>
                  <a:pt x="899" y="854"/>
                  <a:pt x="899" y="854"/>
                  <a:pt x="899" y="854"/>
                </a:cubicBezTo>
                <a:cubicBezTo>
                  <a:pt x="922" y="854"/>
                  <a:pt x="922" y="854"/>
                  <a:pt x="922" y="854"/>
                </a:cubicBezTo>
                <a:cubicBezTo>
                  <a:pt x="922" y="862"/>
                  <a:pt x="922" y="862"/>
                  <a:pt x="922" y="862"/>
                </a:cubicBezTo>
                <a:cubicBezTo>
                  <a:pt x="928" y="855"/>
                  <a:pt x="935" y="852"/>
                  <a:pt x="943" y="852"/>
                </a:cubicBezTo>
                <a:cubicBezTo>
                  <a:pt x="949" y="852"/>
                  <a:pt x="956" y="854"/>
                  <a:pt x="960" y="857"/>
                </a:cubicBezTo>
                <a:lnTo>
                  <a:pt x="954" y="880"/>
                </a:lnTo>
                <a:close/>
                <a:moveTo>
                  <a:pt x="171" y="927"/>
                </a:moveTo>
                <a:cubicBezTo>
                  <a:pt x="159" y="927"/>
                  <a:pt x="152" y="917"/>
                  <a:pt x="152" y="900"/>
                </a:cubicBezTo>
                <a:cubicBezTo>
                  <a:pt x="152" y="884"/>
                  <a:pt x="159" y="873"/>
                  <a:pt x="171" y="873"/>
                </a:cubicBezTo>
                <a:cubicBezTo>
                  <a:pt x="182" y="873"/>
                  <a:pt x="190" y="884"/>
                  <a:pt x="190" y="900"/>
                </a:cubicBezTo>
                <a:cubicBezTo>
                  <a:pt x="190" y="917"/>
                  <a:pt x="182" y="927"/>
                  <a:pt x="171" y="927"/>
                </a:cubicBezTo>
                <a:moveTo>
                  <a:pt x="171" y="851"/>
                </a:moveTo>
                <a:cubicBezTo>
                  <a:pt x="146" y="851"/>
                  <a:pt x="128" y="872"/>
                  <a:pt x="128" y="900"/>
                </a:cubicBezTo>
                <a:cubicBezTo>
                  <a:pt x="128" y="929"/>
                  <a:pt x="146" y="949"/>
                  <a:pt x="171" y="949"/>
                </a:cubicBezTo>
                <a:cubicBezTo>
                  <a:pt x="195" y="949"/>
                  <a:pt x="213" y="929"/>
                  <a:pt x="213" y="900"/>
                </a:cubicBezTo>
                <a:cubicBezTo>
                  <a:pt x="213" y="872"/>
                  <a:pt x="195" y="851"/>
                  <a:pt x="171" y="851"/>
                </a:cubicBezTo>
                <a:moveTo>
                  <a:pt x="101" y="853"/>
                </a:moveTo>
                <a:cubicBezTo>
                  <a:pt x="123" y="853"/>
                  <a:pt x="123" y="853"/>
                  <a:pt x="123" y="853"/>
                </a:cubicBezTo>
                <a:cubicBezTo>
                  <a:pt x="97" y="947"/>
                  <a:pt x="97" y="947"/>
                  <a:pt x="97" y="947"/>
                </a:cubicBezTo>
                <a:cubicBezTo>
                  <a:pt x="77" y="947"/>
                  <a:pt x="77" y="947"/>
                  <a:pt x="77" y="947"/>
                </a:cubicBezTo>
                <a:cubicBezTo>
                  <a:pt x="67" y="908"/>
                  <a:pt x="67" y="908"/>
                  <a:pt x="67" y="908"/>
                </a:cubicBezTo>
                <a:cubicBezTo>
                  <a:pt x="65" y="901"/>
                  <a:pt x="63" y="893"/>
                  <a:pt x="62" y="888"/>
                </a:cubicBezTo>
                <a:cubicBezTo>
                  <a:pt x="61" y="892"/>
                  <a:pt x="58" y="903"/>
                  <a:pt x="56" y="909"/>
                </a:cubicBezTo>
                <a:cubicBezTo>
                  <a:pt x="46" y="947"/>
                  <a:pt x="46" y="947"/>
                  <a:pt x="46" y="947"/>
                </a:cubicBezTo>
                <a:cubicBezTo>
                  <a:pt x="26" y="947"/>
                  <a:pt x="26" y="947"/>
                  <a:pt x="26" y="947"/>
                </a:cubicBezTo>
                <a:cubicBezTo>
                  <a:pt x="26" y="947"/>
                  <a:pt x="26" y="947"/>
                  <a:pt x="26" y="947"/>
                </a:cubicBezTo>
                <a:cubicBezTo>
                  <a:pt x="0" y="853"/>
                  <a:pt x="0" y="853"/>
                  <a:pt x="0" y="853"/>
                </a:cubicBezTo>
                <a:cubicBezTo>
                  <a:pt x="23" y="853"/>
                  <a:pt x="23" y="853"/>
                  <a:pt x="23" y="853"/>
                </a:cubicBezTo>
                <a:cubicBezTo>
                  <a:pt x="32" y="888"/>
                  <a:pt x="32" y="888"/>
                  <a:pt x="32" y="888"/>
                </a:cubicBezTo>
                <a:cubicBezTo>
                  <a:pt x="33" y="894"/>
                  <a:pt x="36" y="904"/>
                  <a:pt x="37" y="911"/>
                </a:cubicBezTo>
                <a:cubicBezTo>
                  <a:pt x="38" y="904"/>
                  <a:pt x="41" y="894"/>
                  <a:pt x="42" y="888"/>
                </a:cubicBezTo>
                <a:cubicBezTo>
                  <a:pt x="52" y="853"/>
                  <a:pt x="52" y="853"/>
                  <a:pt x="52" y="853"/>
                </a:cubicBezTo>
                <a:cubicBezTo>
                  <a:pt x="72" y="853"/>
                  <a:pt x="72" y="853"/>
                  <a:pt x="72" y="853"/>
                </a:cubicBezTo>
                <a:cubicBezTo>
                  <a:pt x="82" y="888"/>
                  <a:pt x="82" y="888"/>
                  <a:pt x="82" y="888"/>
                </a:cubicBezTo>
                <a:cubicBezTo>
                  <a:pt x="83" y="894"/>
                  <a:pt x="86" y="904"/>
                  <a:pt x="87" y="912"/>
                </a:cubicBezTo>
                <a:cubicBezTo>
                  <a:pt x="88" y="906"/>
                  <a:pt x="90" y="897"/>
                  <a:pt x="92" y="888"/>
                </a:cubicBezTo>
                <a:lnTo>
                  <a:pt x="101" y="853"/>
                </a:lnTo>
                <a:close/>
                <a:moveTo>
                  <a:pt x="283" y="880"/>
                </a:moveTo>
                <a:cubicBezTo>
                  <a:pt x="278" y="877"/>
                  <a:pt x="273" y="875"/>
                  <a:pt x="267" y="875"/>
                </a:cubicBezTo>
                <a:cubicBezTo>
                  <a:pt x="256" y="875"/>
                  <a:pt x="250" y="882"/>
                  <a:pt x="250" y="896"/>
                </a:cubicBezTo>
                <a:cubicBezTo>
                  <a:pt x="250" y="947"/>
                  <a:pt x="250" y="947"/>
                  <a:pt x="250" y="947"/>
                </a:cubicBezTo>
                <a:cubicBezTo>
                  <a:pt x="227" y="947"/>
                  <a:pt x="227" y="947"/>
                  <a:pt x="227" y="947"/>
                </a:cubicBezTo>
                <a:cubicBezTo>
                  <a:pt x="227" y="854"/>
                  <a:pt x="227" y="854"/>
                  <a:pt x="227" y="854"/>
                </a:cubicBezTo>
                <a:cubicBezTo>
                  <a:pt x="250" y="854"/>
                  <a:pt x="250" y="854"/>
                  <a:pt x="250" y="854"/>
                </a:cubicBezTo>
                <a:cubicBezTo>
                  <a:pt x="250" y="862"/>
                  <a:pt x="250" y="862"/>
                  <a:pt x="250" y="862"/>
                </a:cubicBezTo>
                <a:cubicBezTo>
                  <a:pt x="256" y="855"/>
                  <a:pt x="263" y="852"/>
                  <a:pt x="271" y="852"/>
                </a:cubicBezTo>
                <a:cubicBezTo>
                  <a:pt x="277" y="852"/>
                  <a:pt x="284" y="854"/>
                  <a:pt x="289" y="857"/>
                </a:cubicBezTo>
                <a:lnTo>
                  <a:pt x="283" y="880"/>
                </a:lnTo>
                <a:close/>
                <a:moveTo>
                  <a:pt x="1052" y="928"/>
                </a:moveTo>
                <a:cubicBezTo>
                  <a:pt x="1044" y="928"/>
                  <a:pt x="1034" y="923"/>
                  <a:pt x="1034" y="899"/>
                </a:cubicBezTo>
                <a:cubicBezTo>
                  <a:pt x="1034" y="877"/>
                  <a:pt x="1044" y="873"/>
                  <a:pt x="1052" y="873"/>
                </a:cubicBezTo>
                <a:cubicBezTo>
                  <a:pt x="1060" y="873"/>
                  <a:pt x="1066" y="878"/>
                  <a:pt x="1068" y="882"/>
                </a:cubicBezTo>
                <a:cubicBezTo>
                  <a:pt x="1068" y="919"/>
                  <a:pt x="1068" y="919"/>
                  <a:pt x="1068" y="919"/>
                </a:cubicBezTo>
                <a:cubicBezTo>
                  <a:pt x="1065" y="923"/>
                  <a:pt x="1061" y="928"/>
                  <a:pt x="1052" y="928"/>
                </a:cubicBezTo>
                <a:moveTo>
                  <a:pt x="1068" y="860"/>
                </a:moveTo>
                <a:cubicBezTo>
                  <a:pt x="1063" y="854"/>
                  <a:pt x="1055" y="852"/>
                  <a:pt x="1047" y="852"/>
                </a:cubicBezTo>
                <a:cubicBezTo>
                  <a:pt x="1025" y="852"/>
                  <a:pt x="1011" y="870"/>
                  <a:pt x="1011" y="899"/>
                </a:cubicBezTo>
                <a:cubicBezTo>
                  <a:pt x="1011" y="931"/>
                  <a:pt x="1024" y="949"/>
                  <a:pt x="1047" y="949"/>
                </a:cubicBezTo>
                <a:cubicBezTo>
                  <a:pt x="1055" y="949"/>
                  <a:pt x="1062" y="946"/>
                  <a:pt x="1068" y="940"/>
                </a:cubicBezTo>
                <a:cubicBezTo>
                  <a:pt x="1068" y="947"/>
                  <a:pt x="1068" y="947"/>
                  <a:pt x="1068" y="947"/>
                </a:cubicBezTo>
                <a:cubicBezTo>
                  <a:pt x="1091" y="947"/>
                  <a:pt x="1091" y="947"/>
                  <a:pt x="1091" y="947"/>
                </a:cubicBezTo>
                <a:cubicBezTo>
                  <a:pt x="1091" y="815"/>
                  <a:pt x="1091" y="815"/>
                  <a:pt x="1091" y="815"/>
                </a:cubicBezTo>
                <a:cubicBezTo>
                  <a:pt x="1068" y="826"/>
                  <a:pt x="1068" y="826"/>
                  <a:pt x="1068" y="826"/>
                </a:cubicBezTo>
                <a:lnTo>
                  <a:pt x="1068" y="860"/>
                </a:lnTo>
                <a:close/>
                <a:moveTo>
                  <a:pt x="433" y="665"/>
                </a:moveTo>
                <a:cubicBezTo>
                  <a:pt x="433" y="677"/>
                  <a:pt x="433" y="677"/>
                  <a:pt x="433" y="677"/>
                </a:cubicBezTo>
                <a:cubicBezTo>
                  <a:pt x="410" y="677"/>
                  <a:pt x="410" y="677"/>
                  <a:pt x="410" y="677"/>
                </a:cubicBezTo>
                <a:cubicBezTo>
                  <a:pt x="410" y="653"/>
                  <a:pt x="410" y="653"/>
                  <a:pt x="410" y="653"/>
                </a:cubicBezTo>
                <a:cubicBezTo>
                  <a:pt x="433" y="653"/>
                  <a:pt x="433" y="653"/>
                  <a:pt x="433" y="653"/>
                </a:cubicBezTo>
                <a:lnTo>
                  <a:pt x="433" y="665"/>
                </a:lnTo>
                <a:close/>
                <a:moveTo>
                  <a:pt x="410" y="690"/>
                </a:moveTo>
                <a:cubicBezTo>
                  <a:pt x="433" y="690"/>
                  <a:pt x="433" y="690"/>
                  <a:pt x="433" y="690"/>
                </a:cubicBezTo>
                <a:cubicBezTo>
                  <a:pt x="433" y="731"/>
                  <a:pt x="433" y="731"/>
                  <a:pt x="433" y="731"/>
                </a:cubicBezTo>
                <a:cubicBezTo>
                  <a:pt x="433" y="784"/>
                  <a:pt x="433" y="784"/>
                  <a:pt x="433" y="784"/>
                </a:cubicBezTo>
                <a:cubicBezTo>
                  <a:pt x="410" y="784"/>
                  <a:pt x="410" y="784"/>
                  <a:pt x="410" y="784"/>
                </a:cubicBezTo>
                <a:lnTo>
                  <a:pt x="410" y="690"/>
                </a:lnTo>
                <a:close/>
                <a:moveTo>
                  <a:pt x="249" y="665"/>
                </a:moveTo>
                <a:cubicBezTo>
                  <a:pt x="249" y="677"/>
                  <a:pt x="249" y="677"/>
                  <a:pt x="249" y="677"/>
                </a:cubicBezTo>
                <a:cubicBezTo>
                  <a:pt x="226" y="677"/>
                  <a:pt x="226" y="677"/>
                  <a:pt x="226" y="677"/>
                </a:cubicBezTo>
                <a:cubicBezTo>
                  <a:pt x="226" y="653"/>
                  <a:pt x="226" y="653"/>
                  <a:pt x="226" y="653"/>
                </a:cubicBezTo>
                <a:cubicBezTo>
                  <a:pt x="249" y="653"/>
                  <a:pt x="249" y="653"/>
                  <a:pt x="249" y="653"/>
                </a:cubicBezTo>
                <a:lnTo>
                  <a:pt x="249" y="665"/>
                </a:lnTo>
                <a:close/>
                <a:moveTo>
                  <a:pt x="1293" y="716"/>
                </a:moveTo>
                <a:cubicBezTo>
                  <a:pt x="1289" y="713"/>
                  <a:pt x="1283" y="711"/>
                  <a:pt x="1278" y="711"/>
                </a:cubicBezTo>
                <a:cubicBezTo>
                  <a:pt x="1267" y="711"/>
                  <a:pt x="1261" y="718"/>
                  <a:pt x="1261" y="733"/>
                </a:cubicBezTo>
                <a:cubicBezTo>
                  <a:pt x="1261" y="784"/>
                  <a:pt x="1261" y="784"/>
                  <a:pt x="1261" y="784"/>
                </a:cubicBezTo>
                <a:cubicBezTo>
                  <a:pt x="1238" y="784"/>
                  <a:pt x="1238" y="784"/>
                  <a:pt x="1238" y="784"/>
                </a:cubicBezTo>
                <a:cubicBezTo>
                  <a:pt x="1238" y="690"/>
                  <a:pt x="1238" y="690"/>
                  <a:pt x="1238" y="690"/>
                </a:cubicBezTo>
                <a:cubicBezTo>
                  <a:pt x="1261" y="690"/>
                  <a:pt x="1261" y="690"/>
                  <a:pt x="1261" y="690"/>
                </a:cubicBezTo>
                <a:cubicBezTo>
                  <a:pt x="1261" y="698"/>
                  <a:pt x="1261" y="698"/>
                  <a:pt x="1261" y="698"/>
                </a:cubicBezTo>
                <a:cubicBezTo>
                  <a:pt x="1267" y="691"/>
                  <a:pt x="1274" y="688"/>
                  <a:pt x="1282" y="688"/>
                </a:cubicBezTo>
                <a:cubicBezTo>
                  <a:pt x="1288" y="688"/>
                  <a:pt x="1295" y="690"/>
                  <a:pt x="1299" y="694"/>
                </a:cubicBezTo>
                <a:lnTo>
                  <a:pt x="1293" y="716"/>
                </a:lnTo>
                <a:close/>
                <a:moveTo>
                  <a:pt x="1065" y="781"/>
                </a:moveTo>
                <a:cubicBezTo>
                  <a:pt x="1060" y="784"/>
                  <a:pt x="1053" y="786"/>
                  <a:pt x="1046" y="786"/>
                </a:cubicBezTo>
                <a:cubicBezTo>
                  <a:pt x="1027" y="786"/>
                  <a:pt x="1021" y="770"/>
                  <a:pt x="1021" y="757"/>
                </a:cubicBezTo>
                <a:cubicBezTo>
                  <a:pt x="1021" y="712"/>
                  <a:pt x="1021" y="712"/>
                  <a:pt x="1021" y="712"/>
                </a:cubicBezTo>
                <a:cubicBezTo>
                  <a:pt x="1006" y="712"/>
                  <a:pt x="1006" y="712"/>
                  <a:pt x="1006" y="712"/>
                </a:cubicBezTo>
                <a:cubicBezTo>
                  <a:pt x="1006" y="690"/>
                  <a:pt x="1006" y="690"/>
                  <a:pt x="1006" y="690"/>
                </a:cubicBezTo>
                <a:cubicBezTo>
                  <a:pt x="1021" y="690"/>
                  <a:pt x="1021" y="690"/>
                  <a:pt x="1021" y="690"/>
                </a:cubicBezTo>
                <a:cubicBezTo>
                  <a:pt x="1021" y="666"/>
                  <a:pt x="1021" y="666"/>
                  <a:pt x="1021" y="666"/>
                </a:cubicBezTo>
                <a:cubicBezTo>
                  <a:pt x="1044" y="654"/>
                  <a:pt x="1044" y="654"/>
                  <a:pt x="1044" y="654"/>
                </a:cubicBezTo>
                <a:cubicBezTo>
                  <a:pt x="1044" y="690"/>
                  <a:pt x="1044" y="690"/>
                  <a:pt x="1044" y="690"/>
                </a:cubicBezTo>
                <a:cubicBezTo>
                  <a:pt x="1064" y="690"/>
                  <a:pt x="1064" y="690"/>
                  <a:pt x="1064" y="690"/>
                </a:cubicBezTo>
                <a:cubicBezTo>
                  <a:pt x="1064" y="712"/>
                  <a:pt x="1064" y="712"/>
                  <a:pt x="1064" y="712"/>
                </a:cubicBezTo>
                <a:cubicBezTo>
                  <a:pt x="1044" y="712"/>
                  <a:pt x="1044" y="712"/>
                  <a:pt x="1044" y="712"/>
                </a:cubicBezTo>
                <a:cubicBezTo>
                  <a:pt x="1044" y="751"/>
                  <a:pt x="1044" y="751"/>
                  <a:pt x="1044" y="751"/>
                </a:cubicBezTo>
                <a:cubicBezTo>
                  <a:pt x="1044" y="759"/>
                  <a:pt x="1047" y="764"/>
                  <a:pt x="1054" y="764"/>
                </a:cubicBezTo>
                <a:cubicBezTo>
                  <a:pt x="1059" y="764"/>
                  <a:pt x="1064" y="762"/>
                  <a:pt x="1068" y="759"/>
                </a:cubicBezTo>
                <a:lnTo>
                  <a:pt x="1065" y="781"/>
                </a:lnTo>
                <a:close/>
                <a:moveTo>
                  <a:pt x="1110" y="751"/>
                </a:moveTo>
                <a:cubicBezTo>
                  <a:pt x="1110" y="759"/>
                  <a:pt x="1113" y="764"/>
                  <a:pt x="1120" y="764"/>
                </a:cubicBezTo>
                <a:cubicBezTo>
                  <a:pt x="1125" y="764"/>
                  <a:pt x="1130" y="762"/>
                  <a:pt x="1134" y="759"/>
                </a:cubicBezTo>
                <a:cubicBezTo>
                  <a:pt x="1131" y="781"/>
                  <a:pt x="1131" y="781"/>
                  <a:pt x="1131" y="781"/>
                </a:cubicBezTo>
                <a:cubicBezTo>
                  <a:pt x="1126" y="784"/>
                  <a:pt x="1119" y="786"/>
                  <a:pt x="1112" y="786"/>
                </a:cubicBezTo>
                <a:cubicBezTo>
                  <a:pt x="1093" y="786"/>
                  <a:pt x="1087" y="770"/>
                  <a:pt x="1087" y="757"/>
                </a:cubicBezTo>
                <a:cubicBezTo>
                  <a:pt x="1087" y="712"/>
                  <a:pt x="1087" y="712"/>
                  <a:pt x="1087" y="712"/>
                </a:cubicBezTo>
                <a:cubicBezTo>
                  <a:pt x="1073" y="712"/>
                  <a:pt x="1073" y="712"/>
                  <a:pt x="1073" y="712"/>
                </a:cubicBezTo>
                <a:cubicBezTo>
                  <a:pt x="1073" y="690"/>
                  <a:pt x="1073" y="690"/>
                  <a:pt x="1073" y="690"/>
                </a:cubicBezTo>
                <a:cubicBezTo>
                  <a:pt x="1087" y="690"/>
                  <a:pt x="1087" y="690"/>
                  <a:pt x="1087" y="690"/>
                </a:cubicBezTo>
                <a:cubicBezTo>
                  <a:pt x="1087" y="666"/>
                  <a:pt x="1087" y="666"/>
                  <a:pt x="1087" y="666"/>
                </a:cubicBezTo>
                <a:cubicBezTo>
                  <a:pt x="1110" y="654"/>
                  <a:pt x="1110" y="654"/>
                  <a:pt x="1110" y="654"/>
                </a:cubicBezTo>
                <a:cubicBezTo>
                  <a:pt x="1110" y="690"/>
                  <a:pt x="1110" y="690"/>
                  <a:pt x="1110" y="690"/>
                </a:cubicBezTo>
                <a:cubicBezTo>
                  <a:pt x="1131" y="690"/>
                  <a:pt x="1131" y="690"/>
                  <a:pt x="1131" y="690"/>
                </a:cubicBezTo>
                <a:cubicBezTo>
                  <a:pt x="1131" y="712"/>
                  <a:pt x="1131" y="712"/>
                  <a:pt x="1131" y="712"/>
                </a:cubicBezTo>
                <a:cubicBezTo>
                  <a:pt x="1110" y="712"/>
                  <a:pt x="1110" y="712"/>
                  <a:pt x="1110" y="712"/>
                </a:cubicBezTo>
                <a:lnTo>
                  <a:pt x="1110" y="751"/>
                </a:lnTo>
                <a:close/>
                <a:moveTo>
                  <a:pt x="1166" y="727"/>
                </a:moveTo>
                <a:cubicBezTo>
                  <a:pt x="1166" y="715"/>
                  <a:pt x="1174" y="708"/>
                  <a:pt x="1183" y="708"/>
                </a:cubicBezTo>
                <a:cubicBezTo>
                  <a:pt x="1195" y="708"/>
                  <a:pt x="1200" y="717"/>
                  <a:pt x="1201" y="727"/>
                </a:cubicBezTo>
                <a:lnTo>
                  <a:pt x="1166" y="727"/>
                </a:lnTo>
                <a:close/>
                <a:moveTo>
                  <a:pt x="1205" y="756"/>
                </a:moveTo>
                <a:cubicBezTo>
                  <a:pt x="1201" y="760"/>
                  <a:pt x="1195" y="764"/>
                  <a:pt x="1186" y="764"/>
                </a:cubicBezTo>
                <a:cubicBezTo>
                  <a:pt x="1182" y="764"/>
                  <a:pt x="1167" y="763"/>
                  <a:pt x="1166" y="744"/>
                </a:cubicBezTo>
                <a:cubicBezTo>
                  <a:pt x="1223" y="744"/>
                  <a:pt x="1223" y="744"/>
                  <a:pt x="1223" y="744"/>
                </a:cubicBezTo>
                <a:cubicBezTo>
                  <a:pt x="1223" y="742"/>
                  <a:pt x="1223" y="739"/>
                  <a:pt x="1223" y="737"/>
                </a:cubicBezTo>
                <a:cubicBezTo>
                  <a:pt x="1223" y="707"/>
                  <a:pt x="1208" y="688"/>
                  <a:pt x="1184" y="688"/>
                </a:cubicBezTo>
                <a:cubicBezTo>
                  <a:pt x="1160" y="688"/>
                  <a:pt x="1142" y="709"/>
                  <a:pt x="1142" y="737"/>
                </a:cubicBezTo>
                <a:cubicBezTo>
                  <a:pt x="1142" y="766"/>
                  <a:pt x="1159" y="786"/>
                  <a:pt x="1186" y="786"/>
                </a:cubicBezTo>
                <a:cubicBezTo>
                  <a:pt x="1199" y="786"/>
                  <a:pt x="1210" y="781"/>
                  <a:pt x="1219" y="771"/>
                </a:cubicBezTo>
                <a:lnTo>
                  <a:pt x="1205" y="756"/>
                </a:lnTo>
                <a:close/>
                <a:moveTo>
                  <a:pt x="943" y="727"/>
                </a:moveTo>
                <a:cubicBezTo>
                  <a:pt x="943" y="715"/>
                  <a:pt x="950" y="708"/>
                  <a:pt x="960" y="708"/>
                </a:cubicBezTo>
                <a:cubicBezTo>
                  <a:pt x="972" y="708"/>
                  <a:pt x="977" y="717"/>
                  <a:pt x="978" y="727"/>
                </a:cubicBezTo>
                <a:lnTo>
                  <a:pt x="943" y="727"/>
                </a:lnTo>
                <a:close/>
                <a:moveTo>
                  <a:pt x="982" y="756"/>
                </a:moveTo>
                <a:cubicBezTo>
                  <a:pt x="977" y="760"/>
                  <a:pt x="972" y="764"/>
                  <a:pt x="963" y="764"/>
                </a:cubicBezTo>
                <a:cubicBezTo>
                  <a:pt x="958" y="764"/>
                  <a:pt x="943" y="763"/>
                  <a:pt x="942" y="744"/>
                </a:cubicBezTo>
                <a:cubicBezTo>
                  <a:pt x="1000" y="744"/>
                  <a:pt x="1000" y="744"/>
                  <a:pt x="1000" y="744"/>
                </a:cubicBezTo>
                <a:cubicBezTo>
                  <a:pt x="1000" y="742"/>
                  <a:pt x="1000" y="739"/>
                  <a:pt x="1000" y="737"/>
                </a:cubicBezTo>
                <a:cubicBezTo>
                  <a:pt x="1000" y="707"/>
                  <a:pt x="985" y="688"/>
                  <a:pt x="961" y="688"/>
                </a:cubicBezTo>
                <a:cubicBezTo>
                  <a:pt x="936" y="688"/>
                  <a:pt x="919" y="709"/>
                  <a:pt x="919" y="737"/>
                </a:cubicBezTo>
                <a:cubicBezTo>
                  <a:pt x="919" y="766"/>
                  <a:pt x="936" y="786"/>
                  <a:pt x="963" y="786"/>
                </a:cubicBezTo>
                <a:cubicBezTo>
                  <a:pt x="975" y="786"/>
                  <a:pt x="987" y="781"/>
                  <a:pt x="996" y="771"/>
                </a:cubicBezTo>
                <a:lnTo>
                  <a:pt x="982" y="756"/>
                </a:lnTo>
                <a:close/>
                <a:moveTo>
                  <a:pt x="709" y="753"/>
                </a:moveTo>
                <a:cubicBezTo>
                  <a:pt x="709" y="744"/>
                  <a:pt x="715" y="739"/>
                  <a:pt x="725" y="739"/>
                </a:cubicBezTo>
                <a:cubicBezTo>
                  <a:pt x="732" y="739"/>
                  <a:pt x="738" y="741"/>
                  <a:pt x="743" y="744"/>
                </a:cubicBezTo>
                <a:cubicBezTo>
                  <a:pt x="743" y="757"/>
                  <a:pt x="743" y="757"/>
                  <a:pt x="743" y="757"/>
                </a:cubicBezTo>
                <a:cubicBezTo>
                  <a:pt x="740" y="762"/>
                  <a:pt x="734" y="767"/>
                  <a:pt x="725" y="767"/>
                </a:cubicBezTo>
                <a:cubicBezTo>
                  <a:pt x="715" y="767"/>
                  <a:pt x="709" y="761"/>
                  <a:pt x="709" y="753"/>
                </a:cubicBezTo>
                <a:moveTo>
                  <a:pt x="703" y="713"/>
                </a:moveTo>
                <a:cubicBezTo>
                  <a:pt x="710" y="709"/>
                  <a:pt x="717" y="706"/>
                  <a:pt x="727" y="706"/>
                </a:cubicBezTo>
                <a:cubicBezTo>
                  <a:pt x="737" y="706"/>
                  <a:pt x="743" y="711"/>
                  <a:pt x="743" y="720"/>
                </a:cubicBezTo>
                <a:cubicBezTo>
                  <a:pt x="743" y="726"/>
                  <a:pt x="743" y="726"/>
                  <a:pt x="743" y="726"/>
                </a:cubicBezTo>
                <a:cubicBezTo>
                  <a:pt x="738" y="724"/>
                  <a:pt x="730" y="722"/>
                  <a:pt x="723" y="722"/>
                </a:cubicBezTo>
                <a:cubicBezTo>
                  <a:pt x="706" y="722"/>
                  <a:pt x="686" y="730"/>
                  <a:pt x="686" y="753"/>
                </a:cubicBezTo>
                <a:cubicBezTo>
                  <a:pt x="686" y="777"/>
                  <a:pt x="705" y="786"/>
                  <a:pt x="721" y="786"/>
                </a:cubicBezTo>
                <a:cubicBezTo>
                  <a:pt x="727" y="786"/>
                  <a:pt x="737" y="783"/>
                  <a:pt x="743" y="776"/>
                </a:cubicBezTo>
                <a:cubicBezTo>
                  <a:pt x="743" y="784"/>
                  <a:pt x="743" y="784"/>
                  <a:pt x="743" y="784"/>
                </a:cubicBezTo>
                <a:cubicBezTo>
                  <a:pt x="766" y="784"/>
                  <a:pt x="766" y="784"/>
                  <a:pt x="766" y="784"/>
                </a:cubicBezTo>
                <a:cubicBezTo>
                  <a:pt x="766" y="720"/>
                  <a:pt x="766" y="720"/>
                  <a:pt x="766" y="720"/>
                </a:cubicBezTo>
                <a:cubicBezTo>
                  <a:pt x="766" y="700"/>
                  <a:pt x="752" y="688"/>
                  <a:pt x="729" y="688"/>
                </a:cubicBezTo>
                <a:cubicBezTo>
                  <a:pt x="716" y="688"/>
                  <a:pt x="704" y="691"/>
                  <a:pt x="694" y="697"/>
                </a:cubicBezTo>
                <a:lnTo>
                  <a:pt x="703" y="713"/>
                </a:lnTo>
                <a:close/>
                <a:moveTo>
                  <a:pt x="608" y="718"/>
                </a:moveTo>
                <a:cubicBezTo>
                  <a:pt x="608" y="755"/>
                  <a:pt x="608" y="755"/>
                  <a:pt x="608" y="755"/>
                </a:cubicBezTo>
                <a:cubicBezTo>
                  <a:pt x="604" y="760"/>
                  <a:pt x="600" y="764"/>
                  <a:pt x="591" y="764"/>
                </a:cubicBezTo>
                <a:cubicBezTo>
                  <a:pt x="583" y="764"/>
                  <a:pt x="574" y="759"/>
                  <a:pt x="574" y="735"/>
                </a:cubicBezTo>
                <a:cubicBezTo>
                  <a:pt x="574" y="714"/>
                  <a:pt x="583" y="709"/>
                  <a:pt x="591" y="709"/>
                </a:cubicBezTo>
                <a:cubicBezTo>
                  <a:pt x="600" y="709"/>
                  <a:pt x="605" y="714"/>
                  <a:pt x="608" y="718"/>
                </a:cubicBezTo>
                <a:moveTo>
                  <a:pt x="608" y="696"/>
                </a:moveTo>
                <a:cubicBezTo>
                  <a:pt x="602" y="691"/>
                  <a:pt x="595" y="688"/>
                  <a:pt x="587" y="688"/>
                </a:cubicBezTo>
                <a:cubicBezTo>
                  <a:pt x="564" y="688"/>
                  <a:pt x="550" y="706"/>
                  <a:pt x="550" y="736"/>
                </a:cubicBezTo>
                <a:cubicBezTo>
                  <a:pt x="550" y="767"/>
                  <a:pt x="564" y="786"/>
                  <a:pt x="586" y="786"/>
                </a:cubicBezTo>
                <a:cubicBezTo>
                  <a:pt x="595" y="786"/>
                  <a:pt x="602" y="783"/>
                  <a:pt x="608" y="777"/>
                </a:cubicBezTo>
                <a:cubicBezTo>
                  <a:pt x="608" y="779"/>
                  <a:pt x="608" y="779"/>
                  <a:pt x="608" y="779"/>
                </a:cubicBezTo>
                <a:cubicBezTo>
                  <a:pt x="608" y="789"/>
                  <a:pt x="608" y="803"/>
                  <a:pt x="578" y="804"/>
                </a:cubicBezTo>
                <a:cubicBezTo>
                  <a:pt x="577" y="804"/>
                  <a:pt x="577" y="804"/>
                  <a:pt x="577" y="804"/>
                </a:cubicBezTo>
                <a:cubicBezTo>
                  <a:pt x="585" y="822"/>
                  <a:pt x="585" y="822"/>
                  <a:pt x="585" y="822"/>
                </a:cubicBezTo>
                <a:cubicBezTo>
                  <a:pt x="585" y="822"/>
                  <a:pt x="585" y="822"/>
                  <a:pt x="585" y="822"/>
                </a:cubicBezTo>
                <a:cubicBezTo>
                  <a:pt x="616" y="821"/>
                  <a:pt x="631" y="806"/>
                  <a:pt x="631" y="775"/>
                </a:cubicBezTo>
                <a:cubicBezTo>
                  <a:pt x="631" y="690"/>
                  <a:pt x="631" y="690"/>
                  <a:pt x="631" y="690"/>
                </a:cubicBezTo>
                <a:cubicBezTo>
                  <a:pt x="608" y="690"/>
                  <a:pt x="608" y="690"/>
                  <a:pt x="608" y="690"/>
                </a:cubicBezTo>
                <a:lnTo>
                  <a:pt x="608" y="696"/>
                </a:lnTo>
                <a:close/>
                <a:moveTo>
                  <a:pt x="866" y="709"/>
                </a:moveTo>
                <a:cubicBezTo>
                  <a:pt x="875" y="709"/>
                  <a:pt x="884" y="716"/>
                  <a:pt x="884" y="735"/>
                </a:cubicBezTo>
                <a:cubicBezTo>
                  <a:pt x="884" y="755"/>
                  <a:pt x="878" y="764"/>
                  <a:pt x="867" y="764"/>
                </a:cubicBezTo>
                <a:cubicBezTo>
                  <a:pt x="858" y="764"/>
                  <a:pt x="852" y="759"/>
                  <a:pt x="850" y="755"/>
                </a:cubicBezTo>
                <a:cubicBezTo>
                  <a:pt x="850" y="719"/>
                  <a:pt x="850" y="719"/>
                  <a:pt x="850" y="719"/>
                </a:cubicBezTo>
                <a:cubicBezTo>
                  <a:pt x="854" y="713"/>
                  <a:pt x="859" y="709"/>
                  <a:pt x="866" y="709"/>
                </a:cubicBezTo>
                <a:moveTo>
                  <a:pt x="871" y="688"/>
                </a:moveTo>
                <a:cubicBezTo>
                  <a:pt x="863" y="688"/>
                  <a:pt x="856" y="691"/>
                  <a:pt x="850" y="697"/>
                </a:cubicBezTo>
                <a:cubicBezTo>
                  <a:pt x="850" y="653"/>
                  <a:pt x="850" y="653"/>
                  <a:pt x="850" y="653"/>
                </a:cubicBezTo>
                <a:cubicBezTo>
                  <a:pt x="827" y="665"/>
                  <a:pt x="827" y="665"/>
                  <a:pt x="827" y="665"/>
                </a:cubicBezTo>
                <a:cubicBezTo>
                  <a:pt x="827" y="784"/>
                  <a:pt x="827" y="784"/>
                  <a:pt x="827" y="784"/>
                </a:cubicBezTo>
                <a:cubicBezTo>
                  <a:pt x="850" y="784"/>
                  <a:pt x="850" y="784"/>
                  <a:pt x="850" y="784"/>
                </a:cubicBezTo>
                <a:cubicBezTo>
                  <a:pt x="850" y="777"/>
                  <a:pt x="850" y="777"/>
                  <a:pt x="850" y="777"/>
                </a:cubicBezTo>
                <a:cubicBezTo>
                  <a:pt x="856" y="782"/>
                  <a:pt x="863" y="786"/>
                  <a:pt x="871" y="786"/>
                </a:cubicBezTo>
                <a:cubicBezTo>
                  <a:pt x="894" y="786"/>
                  <a:pt x="907" y="767"/>
                  <a:pt x="907" y="736"/>
                </a:cubicBezTo>
                <a:cubicBezTo>
                  <a:pt x="907" y="706"/>
                  <a:pt x="893" y="688"/>
                  <a:pt x="871" y="688"/>
                </a:cubicBezTo>
                <a:moveTo>
                  <a:pt x="350" y="764"/>
                </a:moveTo>
                <a:cubicBezTo>
                  <a:pt x="342" y="764"/>
                  <a:pt x="332" y="759"/>
                  <a:pt x="332" y="735"/>
                </a:cubicBezTo>
                <a:cubicBezTo>
                  <a:pt x="332" y="714"/>
                  <a:pt x="342" y="709"/>
                  <a:pt x="350" y="709"/>
                </a:cubicBezTo>
                <a:cubicBezTo>
                  <a:pt x="358" y="709"/>
                  <a:pt x="363" y="714"/>
                  <a:pt x="366" y="718"/>
                </a:cubicBezTo>
                <a:cubicBezTo>
                  <a:pt x="366" y="755"/>
                  <a:pt x="366" y="755"/>
                  <a:pt x="366" y="755"/>
                </a:cubicBezTo>
                <a:cubicBezTo>
                  <a:pt x="363" y="760"/>
                  <a:pt x="358" y="764"/>
                  <a:pt x="350" y="764"/>
                </a:cubicBezTo>
                <a:moveTo>
                  <a:pt x="366" y="697"/>
                </a:moveTo>
                <a:cubicBezTo>
                  <a:pt x="360" y="691"/>
                  <a:pt x="353" y="688"/>
                  <a:pt x="345" y="688"/>
                </a:cubicBezTo>
                <a:cubicBezTo>
                  <a:pt x="323" y="688"/>
                  <a:pt x="309" y="706"/>
                  <a:pt x="309" y="736"/>
                </a:cubicBezTo>
                <a:cubicBezTo>
                  <a:pt x="309" y="767"/>
                  <a:pt x="322" y="786"/>
                  <a:pt x="345" y="786"/>
                </a:cubicBezTo>
                <a:cubicBezTo>
                  <a:pt x="353" y="786"/>
                  <a:pt x="360" y="783"/>
                  <a:pt x="366" y="776"/>
                </a:cubicBezTo>
                <a:cubicBezTo>
                  <a:pt x="366" y="784"/>
                  <a:pt x="366" y="784"/>
                  <a:pt x="366" y="784"/>
                </a:cubicBezTo>
                <a:cubicBezTo>
                  <a:pt x="389" y="784"/>
                  <a:pt x="389" y="784"/>
                  <a:pt x="389" y="784"/>
                </a:cubicBezTo>
                <a:cubicBezTo>
                  <a:pt x="389" y="651"/>
                  <a:pt x="389" y="651"/>
                  <a:pt x="389" y="651"/>
                </a:cubicBezTo>
                <a:cubicBezTo>
                  <a:pt x="366" y="663"/>
                  <a:pt x="366" y="663"/>
                  <a:pt x="366" y="663"/>
                </a:cubicBezTo>
                <a:lnTo>
                  <a:pt x="366" y="697"/>
                </a:lnTo>
                <a:close/>
                <a:moveTo>
                  <a:pt x="269" y="663"/>
                </a:moveTo>
                <a:cubicBezTo>
                  <a:pt x="293" y="651"/>
                  <a:pt x="293" y="651"/>
                  <a:pt x="293" y="651"/>
                </a:cubicBezTo>
                <a:cubicBezTo>
                  <a:pt x="293" y="736"/>
                  <a:pt x="293" y="736"/>
                  <a:pt x="293" y="736"/>
                </a:cubicBezTo>
                <a:cubicBezTo>
                  <a:pt x="293" y="784"/>
                  <a:pt x="293" y="784"/>
                  <a:pt x="293" y="784"/>
                </a:cubicBezTo>
                <a:cubicBezTo>
                  <a:pt x="269" y="784"/>
                  <a:pt x="269" y="784"/>
                  <a:pt x="269" y="784"/>
                </a:cubicBezTo>
                <a:lnTo>
                  <a:pt x="269" y="663"/>
                </a:lnTo>
                <a:close/>
                <a:moveTo>
                  <a:pt x="249" y="736"/>
                </a:moveTo>
                <a:cubicBezTo>
                  <a:pt x="249" y="784"/>
                  <a:pt x="249" y="784"/>
                  <a:pt x="249" y="784"/>
                </a:cubicBezTo>
                <a:cubicBezTo>
                  <a:pt x="226" y="784"/>
                  <a:pt x="226" y="784"/>
                  <a:pt x="226" y="784"/>
                </a:cubicBezTo>
                <a:cubicBezTo>
                  <a:pt x="226" y="690"/>
                  <a:pt x="226" y="690"/>
                  <a:pt x="226" y="690"/>
                </a:cubicBezTo>
                <a:cubicBezTo>
                  <a:pt x="249" y="690"/>
                  <a:pt x="249" y="690"/>
                  <a:pt x="249" y="690"/>
                </a:cubicBezTo>
                <a:lnTo>
                  <a:pt x="249" y="736"/>
                </a:lnTo>
                <a:close/>
                <a:moveTo>
                  <a:pt x="477" y="784"/>
                </a:moveTo>
                <a:cubicBezTo>
                  <a:pt x="454" y="784"/>
                  <a:pt x="454" y="784"/>
                  <a:pt x="454" y="784"/>
                </a:cubicBezTo>
                <a:cubicBezTo>
                  <a:pt x="454" y="690"/>
                  <a:pt x="454" y="690"/>
                  <a:pt x="454" y="690"/>
                </a:cubicBezTo>
                <a:cubicBezTo>
                  <a:pt x="477" y="690"/>
                  <a:pt x="477" y="690"/>
                  <a:pt x="477" y="690"/>
                </a:cubicBezTo>
                <a:cubicBezTo>
                  <a:pt x="477" y="698"/>
                  <a:pt x="477" y="698"/>
                  <a:pt x="477" y="698"/>
                </a:cubicBezTo>
                <a:cubicBezTo>
                  <a:pt x="483" y="691"/>
                  <a:pt x="491" y="688"/>
                  <a:pt x="500" y="688"/>
                </a:cubicBezTo>
                <a:cubicBezTo>
                  <a:pt x="523" y="688"/>
                  <a:pt x="535" y="703"/>
                  <a:pt x="535" y="731"/>
                </a:cubicBezTo>
                <a:cubicBezTo>
                  <a:pt x="535" y="784"/>
                  <a:pt x="535" y="784"/>
                  <a:pt x="535" y="784"/>
                </a:cubicBezTo>
                <a:cubicBezTo>
                  <a:pt x="511" y="784"/>
                  <a:pt x="511" y="784"/>
                  <a:pt x="511" y="784"/>
                </a:cubicBezTo>
                <a:cubicBezTo>
                  <a:pt x="511" y="732"/>
                  <a:pt x="511" y="732"/>
                  <a:pt x="511" y="732"/>
                </a:cubicBezTo>
                <a:cubicBezTo>
                  <a:pt x="511" y="716"/>
                  <a:pt x="506" y="709"/>
                  <a:pt x="495" y="709"/>
                </a:cubicBezTo>
                <a:cubicBezTo>
                  <a:pt x="483" y="709"/>
                  <a:pt x="477" y="717"/>
                  <a:pt x="477" y="732"/>
                </a:cubicBezTo>
                <a:lnTo>
                  <a:pt x="477" y="784"/>
                </a:lnTo>
                <a:close/>
                <a:moveTo>
                  <a:pt x="124" y="743"/>
                </a:moveTo>
                <a:cubicBezTo>
                  <a:pt x="124" y="690"/>
                  <a:pt x="124" y="690"/>
                  <a:pt x="124" y="690"/>
                </a:cubicBezTo>
                <a:cubicBezTo>
                  <a:pt x="147" y="690"/>
                  <a:pt x="147" y="690"/>
                  <a:pt x="147" y="690"/>
                </a:cubicBezTo>
                <a:cubicBezTo>
                  <a:pt x="147" y="742"/>
                  <a:pt x="147" y="742"/>
                  <a:pt x="147" y="742"/>
                </a:cubicBezTo>
                <a:cubicBezTo>
                  <a:pt x="147" y="757"/>
                  <a:pt x="153" y="764"/>
                  <a:pt x="164" y="764"/>
                </a:cubicBezTo>
                <a:cubicBezTo>
                  <a:pt x="176" y="764"/>
                  <a:pt x="182" y="757"/>
                  <a:pt x="182" y="742"/>
                </a:cubicBezTo>
                <a:cubicBezTo>
                  <a:pt x="182" y="690"/>
                  <a:pt x="182" y="690"/>
                  <a:pt x="182" y="690"/>
                </a:cubicBezTo>
                <a:cubicBezTo>
                  <a:pt x="205" y="690"/>
                  <a:pt x="205" y="690"/>
                  <a:pt x="205" y="690"/>
                </a:cubicBezTo>
                <a:cubicBezTo>
                  <a:pt x="205" y="784"/>
                  <a:pt x="205" y="784"/>
                  <a:pt x="205" y="784"/>
                </a:cubicBezTo>
                <a:cubicBezTo>
                  <a:pt x="182" y="784"/>
                  <a:pt x="182" y="784"/>
                  <a:pt x="182" y="784"/>
                </a:cubicBezTo>
                <a:cubicBezTo>
                  <a:pt x="182" y="776"/>
                  <a:pt x="182" y="776"/>
                  <a:pt x="182" y="776"/>
                </a:cubicBezTo>
                <a:cubicBezTo>
                  <a:pt x="176" y="782"/>
                  <a:pt x="169" y="786"/>
                  <a:pt x="159" y="786"/>
                </a:cubicBezTo>
                <a:cubicBezTo>
                  <a:pt x="129" y="786"/>
                  <a:pt x="124" y="759"/>
                  <a:pt x="124" y="743"/>
                </a:cubicBezTo>
                <a:moveTo>
                  <a:pt x="63" y="705"/>
                </a:moveTo>
                <a:cubicBezTo>
                  <a:pt x="33" y="705"/>
                  <a:pt x="33" y="705"/>
                  <a:pt x="33" y="705"/>
                </a:cubicBezTo>
                <a:cubicBezTo>
                  <a:pt x="33" y="677"/>
                  <a:pt x="33" y="677"/>
                  <a:pt x="33" y="677"/>
                </a:cubicBezTo>
                <a:cubicBezTo>
                  <a:pt x="62" y="677"/>
                  <a:pt x="62" y="677"/>
                  <a:pt x="62" y="677"/>
                </a:cubicBezTo>
                <a:cubicBezTo>
                  <a:pt x="73" y="677"/>
                  <a:pt x="78" y="682"/>
                  <a:pt x="78" y="691"/>
                </a:cubicBezTo>
                <a:cubicBezTo>
                  <a:pt x="78" y="697"/>
                  <a:pt x="76" y="705"/>
                  <a:pt x="63" y="705"/>
                </a:cubicBezTo>
                <a:moveTo>
                  <a:pt x="63" y="762"/>
                </a:moveTo>
                <a:cubicBezTo>
                  <a:pt x="33" y="762"/>
                  <a:pt x="33" y="762"/>
                  <a:pt x="33" y="762"/>
                </a:cubicBezTo>
                <a:cubicBezTo>
                  <a:pt x="33" y="725"/>
                  <a:pt x="33" y="725"/>
                  <a:pt x="33" y="725"/>
                </a:cubicBezTo>
                <a:cubicBezTo>
                  <a:pt x="63" y="725"/>
                  <a:pt x="63" y="725"/>
                  <a:pt x="63" y="725"/>
                </a:cubicBezTo>
                <a:cubicBezTo>
                  <a:pt x="76" y="725"/>
                  <a:pt x="82" y="732"/>
                  <a:pt x="82" y="744"/>
                </a:cubicBezTo>
                <a:cubicBezTo>
                  <a:pt x="82" y="755"/>
                  <a:pt x="75" y="762"/>
                  <a:pt x="63" y="762"/>
                </a:cubicBezTo>
                <a:moveTo>
                  <a:pt x="108" y="743"/>
                </a:moveTo>
                <a:cubicBezTo>
                  <a:pt x="108" y="725"/>
                  <a:pt x="95" y="717"/>
                  <a:pt x="89" y="714"/>
                </a:cubicBezTo>
                <a:cubicBezTo>
                  <a:pt x="97" y="709"/>
                  <a:pt x="103" y="699"/>
                  <a:pt x="103" y="689"/>
                </a:cubicBezTo>
                <a:cubicBezTo>
                  <a:pt x="103" y="668"/>
                  <a:pt x="89" y="655"/>
                  <a:pt x="63" y="655"/>
                </a:cubicBezTo>
                <a:cubicBezTo>
                  <a:pt x="9" y="655"/>
                  <a:pt x="9" y="655"/>
                  <a:pt x="9" y="655"/>
                </a:cubicBezTo>
                <a:cubicBezTo>
                  <a:pt x="9" y="784"/>
                  <a:pt x="9" y="784"/>
                  <a:pt x="9" y="784"/>
                </a:cubicBezTo>
                <a:cubicBezTo>
                  <a:pt x="63" y="784"/>
                  <a:pt x="63" y="784"/>
                  <a:pt x="63" y="784"/>
                </a:cubicBezTo>
                <a:cubicBezTo>
                  <a:pt x="91" y="784"/>
                  <a:pt x="108" y="768"/>
                  <a:pt x="108" y="743"/>
                </a:cubicBezTo>
              </a:path>
            </a:pathLst>
          </a:custGeom>
          <a:solidFill>
            <a:schemeClr val="bg2"/>
          </a:solidFill>
          <a:ln>
            <a:noFill/>
          </a:ln>
        </p:spPr>
        <p:txBody>
          <a:bodyPr vert="horz" wrap="square" lIns="82931" tIns="41465" rIns="82931" bIns="41465" numCol="1" anchor="t" anchorCtr="0" compatLnSpc="1">
            <a:prstTxWarp prst="textNoShape">
              <a:avLst/>
            </a:prstTxWarp>
          </a:bodyPr>
          <a:lstStyle/>
          <a:p>
            <a:pPr defTabSz="945928" eaLnBrk="1"/>
            <a:endParaRPr lang="en-GB" sz="1295">
              <a:solidFill>
                <a:prstClr val="black"/>
              </a:solidFill>
            </a:endParaRPr>
          </a:p>
        </p:txBody>
      </p:sp>
    </p:spTree>
    <p:extLst>
      <p:ext uri="{BB962C8B-B14F-4D97-AF65-F5344CB8AC3E}">
        <p14:creationId xmlns:p14="http://schemas.microsoft.com/office/powerpoint/2010/main" val="11588206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85347070"/>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54633"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4"/>
            <a:ext cx="10616769" cy="672625"/>
          </a:xfrm>
          <a:prstGeom prst="rect">
            <a:avLst/>
          </a:prstGeom>
        </p:spPr>
        <p:txBody>
          <a:bodyPr/>
          <a:lstStyle>
            <a:lvl1pPr>
              <a:defRPr sz="2179"/>
            </a:lvl1pPr>
          </a:lstStyle>
          <a:p>
            <a:r>
              <a:rPr lang="en-US"/>
              <a:t>CLICK TO EDIT MASTER TITLE STYLE</a:t>
            </a:r>
            <a:endParaRPr lang="en-GB"/>
          </a:p>
        </p:txBody>
      </p:sp>
    </p:spTree>
    <p:extLst>
      <p:ext uri="{BB962C8B-B14F-4D97-AF65-F5344CB8AC3E}">
        <p14:creationId xmlns:p14="http://schemas.microsoft.com/office/powerpoint/2010/main" val="291030670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31"/>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789862005"/>
      </p:ext>
    </p:extLst>
  </p:cSld>
  <p:clrMapOvr>
    <a:overrideClrMapping bg1="dk1" tx1="lt1" bg2="dk2" tx2="lt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1676155"/>
      </p:ext>
    </p:extLst>
  </p:cSld>
  <p:clrMapOvr>
    <a:overrideClrMapping bg1="dk1" tx1="lt1" bg2="dk2" tx2="lt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5"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0"/>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5"/>
            <a:ext cx="10801405" cy="503999"/>
          </a:xfrm>
          <a:prstGeom prst="rect">
            <a:avLst/>
          </a:prstGeom>
        </p:spPr>
        <p:txBody>
          <a:bodyPr vert="horz" wrap="square" lIns="0" tIns="0" rIns="0" bIns="0" rtlCol="0">
            <a:noAutofit/>
          </a:bodyPr>
          <a:lstStyle>
            <a:lvl1pPr>
              <a:defRPr lang="en-US" sz="1999" spc="-49" dirty="0">
                <a:solidFill>
                  <a:srgbClr val="575756"/>
                </a:solidFill>
                <a:latin typeface="EYInterstate Light" panose="02000506000000020004" pitchFamily="2" charset="0"/>
                <a:ea typeface="+mn-ea"/>
                <a:cs typeface="EYInterstate Light" panose="02000506000000020004" pitchFamily="2" charset="0"/>
              </a:defRPr>
            </a:lvl1pPr>
          </a:lstStyle>
          <a:p>
            <a:pPr marL="11200" lvl="0" defTabSz="806438">
              <a:lnSpc>
                <a:spcPct val="100000"/>
              </a:lnSpc>
            </a:pPr>
            <a:r>
              <a:rPr lang="en-US"/>
              <a:t>CLICK TO EDIT MASTER TITLE STYLE</a:t>
            </a:r>
          </a:p>
        </p:txBody>
      </p:sp>
    </p:spTree>
    <p:extLst>
      <p:ext uri="{BB962C8B-B14F-4D97-AF65-F5344CB8AC3E}">
        <p14:creationId xmlns:p14="http://schemas.microsoft.com/office/powerpoint/2010/main" val="9802139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382"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82"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40" indent="-176040" algn="l" defTabSz="994382"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82"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7" indent="-188727" algn="l" defTabSz="994382"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740539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59753"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2" y="1444"/>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2"/>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39"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487"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487"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27827946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88262692"/>
              </p:ext>
            </p:extLst>
          </p:nvPr>
        </p:nvGraphicFramePr>
        <p:xfrm>
          <a:off x="1814" y="1447"/>
          <a:ext cx="1810" cy="1439"/>
        </p:xfrm>
        <a:graphic>
          <a:graphicData uri="http://schemas.openxmlformats.org/presentationml/2006/ole">
            <mc:AlternateContent xmlns:mc="http://schemas.openxmlformats.org/markup-compatibility/2006">
              <mc:Choice xmlns:v="urn:schemas-microsoft-com:vml" Requires="v">
                <p:oleObj spid="_x0000_s161801"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814" y="1447"/>
                        <a:ext cx="1810" cy="1439"/>
                      </a:xfrm>
                      <a:prstGeom prst="rect">
                        <a:avLst/>
                      </a:prstGeom>
                    </p:spPr>
                  </p:pic>
                </p:oleObj>
              </mc:Fallback>
            </mc:AlternateContent>
          </a:graphicData>
        </a:graphic>
      </p:graphicFrame>
    </p:spTree>
    <p:extLst>
      <p:ext uri="{BB962C8B-B14F-4D97-AF65-F5344CB8AC3E}">
        <p14:creationId xmlns:p14="http://schemas.microsoft.com/office/powerpoint/2010/main" val="24400654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62825"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endParaRPr lang="en-AU" sz="907" b="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sp>
        <p:nvSpPr>
          <p:cNvPr id="9" name="Text Placeholder 8">
            <a:extLst>
              <a:ext uri="{FF2B5EF4-FFF2-40B4-BE49-F238E27FC236}">
                <a16:creationId xmlns:a16="http://schemas.microsoft.com/office/drawing/2014/main" id="{1E2A7186-1341-46C7-B42A-C9224892D8C9}"/>
              </a:ext>
            </a:extLst>
          </p:cNvPr>
          <p:cNvSpPr>
            <a:spLocks noGrp="1"/>
          </p:cNvSpPr>
          <p:nvPr>
            <p:ph type="body" sz="quarter" idx="10" hasCustomPrompt="1"/>
          </p:nvPr>
        </p:nvSpPr>
        <p:spPr>
          <a:xfrm>
            <a:off x="0" y="-15978"/>
            <a:ext cx="3489523" cy="311134"/>
          </a:xfrm>
        </p:spPr>
        <p:txBody>
          <a:bodyPr lIns="108000" anchor="ctr"/>
          <a:lstStyle>
            <a:lvl1pPr marL="0" indent="0">
              <a:buNone/>
              <a:defRPr sz="907">
                <a:solidFill>
                  <a:schemeClr val="tx1"/>
                </a:solidFill>
                <a:latin typeface="+mj-lt"/>
              </a:defRPr>
            </a:lvl1pPr>
          </a:lstStyle>
          <a:p>
            <a:pPr lvl="0"/>
            <a:r>
              <a:rPr lang="en-US"/>
              <a:t>Insert Title Header Here</a:t>
            </a:r>
            <a:endParaRPr lang="en-AU"/>
          </a:p>
        </p:txBody>
      </p:sp>
    </p:spTree>
    <p:extLst>
      <p:ext uri="{BB962C8B-B14F-4D97-AF65-F5344CB8AC3E}">
        <p14:creationId xmlns:p14="http://schemas.microsoft.com/office/powerpoint/2010/main" val="4601857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ontent -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63849"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1. Executive Summary</a:t>
            </a: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spTree>
    <p:extLst>
      <p:ext uri="{BB962C8B-B14F-4D97-AF65-F5344CB8AC3E}">
        <p14:creationId xmlns:p14="http://schemas.microsoft.com/office/powerpoint/2010/main" val="318766539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64873"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1. Introduction to EY</a:t>
            </a: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spTree>
    <p:extLst>
      <p:ext uri="{BB962C8B-B14F-4D97-AF65-F5344CB8AC3E}">
        <p14:creationId xmlns:p14="http://schemas.microsoft.com/office/powerpoint/2010/main" val="1131845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5903"/>
            <a:ext cx="12198350" cy="6885829"/>
          </a:xfrm>
          <a:prstGeom prst="rect">
            <a:avLst/>
          </a:prstGeom>
        </p:spPr>
      </p:pic>
    </p:spTree>
    <p:extLst>
      <p:ext uri="{BB962C8B-B14F-4D97-AF65-F5344CB8AC3E}">
        <p14:creationId xmlns:p14="http://schemas.microsoft.com/office/powerpoint/2010/main" val="90541631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 2.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65897"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2. Capability and Experience</a:t>
            </a: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graphicFrame>
        <p:nvGraphicFramePr>
          <p:cNvPr id="11" name="Diagram 10">
            <a:extLst>
              <a:ext uri="{FF2B5EF4-FFF2-40B4-BE49-F238E27FC236}">
                <a16:creationId xmlns:a16="http://schemas.microsoft.com/office/drawing/2014/main" id="{8AA81ECD-A448-4B63-B969-4DD84536ACE5}"/>
              </a:ext>
            </a:extLst>
          </p:cNvPr>
          <p:cNvGraphicFramePr/>
          <p:nvPr userDrawn="1">
            <p:extLst>
              <p:ext uri="{D42A27DB-BD31-4B8C-83A1-F6EECF244321}">
                <p14:modId xmlns:p14="http://schemas.microsoft.com/office/powerpoint/2010/main" val="2593051411"/>
              </p:ext>
            </p:extLst>
          </p:nvPr>
        </p:nvGraphicFramePr>
        <p:xfrm>
          <a:off x="7943142" y="18782"/>
          <a:ext cx="4231964" cy="2574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066537479"/>
      </p:ext>
    </p:extLst>
  </p:cSld>
  <p:clrMapOvr>
    <a:masterClrMapping/>
  </p:clrMapOvr>
  <p:extLst>
    <p:ext uri="{DCECCB84-F9BA-43D5-87BE-67443E8EF086}">
      <p15:sldGuideLst xmlns:p15="http://schemas.microsoft.com/office/powerpoint/2012/main">
        <p15:guide id="1" orient="horz" pos="2381">
          <p15:clr>
            <a:srgbClr val="FBAE40"/>
          </p15:clr>
        </p15:guide>
        <p15:guide id="2" pos="423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 2.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66921"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2" y="-11372"/>
            <a:ext cx="3488834" cy="306926"/>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2. Capability and Experience – Team (</a:t>
            </a:r>
            <a:r>
              <a:rPr lang="en-AU" sz="816" b="1">
                <a:solidFill>
                  <a:schemeClr val="tx1"/>
                </a:solidFill>
              </a:rPr>
              <a:t>Depth, Flexibility &amp; Skills</a:t>
            </a:r>
            <a:r>
              <a:rPr lang="en-AU" sz="907" b="1">
                <a:solidFill>
                  <a:schemeClr val="tx1"/>
                </a:solidFill>
              </a:rPr>
              <a:t>)</a:t>
            </a: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graphicFrame>
        <p:nvGraphicFramePr>
          <p:cNvPr id="11" name="Diagram 10">
            <a:extLst>
              <a:ext uri="{FF2B5EF4-FFF2-40B4-BE49-F238E27FC236}">
                <a16:creationId xmlns:a16="http://schemas.microsoft.com/office/drawing/2014/main" id="{8AA81ECD-A448-4B63-B969-4DD84536ACE5}"/>
              </a:ext>
            </a:extLst>
          </p:cNvPr>
          <p:cNvGraphicFramePr/>
          <p:nvPr userDrawn="1">
            <p:extLst>
              <p:ext uri="{D42A27DB-BD31-4B8C-83A1-F6EECF244321}">
                <p14:modId xmlns:p14="http://schemas.microsoft.com/office/powerpoint/2010/main" val="1233754340"/>
              </p:ext>
            </p:extLst>
          </p:nvPr>
        </p:nvGraphicFramePr>
        <p:xfrm>
          <a:off x="7933819" y="18783"/>
          <a:ext cx="4241287" cy="2574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55284450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 2.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67945"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2. Capability and Experience</a:t>
            </a: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graphicFrame>
        <p:nvGraphicFramePr>
          <p:cNvPr id="11" name="Diagram 10">
            <a:extLst>
              <a:ext uri="{FF2B5EF4-FFF2-40B4-BE49-F238E27FC236}">
                <a16:creationId xmlns:a16="http://schemas.microsoft.com/office/drawing/2014/main" id="{8AA81ECD-A448-4B63-B969-4DD84536ACE5}"/>
              </a:ext>
            </a:extLst>
          </p:cNvPr>
          <p:cNvGraphicFramePr/>
          <p:nvPr userDrawn="1">
            <p:extLst>
              <p:ext uri="{D42A27DB-BD31-4B8C-83A1-F6EECF244321}">
                <p14:modId xmlns:p14="http://schemas.microsoft.com/office/powerpoint/2010/main" val="742432581"/>
              </p:ext>
            </p:extLst>
          </p:nvPr>
        </p:nvGraphicFramePr>
        <p:xfrm>
          <a:off x="8909152" y="18782"/>
          <a:ext cx="3265954" cy="2479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0812568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 2.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68969"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2. Capability and Experience – Assets, Tools &amp; Accelerators</a:t>
            </a: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graphicFrame>
        <p:nvGraphicFramePr>
          <p:cNvPr id="17" name="Diagram 16">
            <a:extLst>
              <a:ext uri="{FF2B5EF4-FFF2-40B4-BE49-F238E27FC236}">
                <a16:creationId xmlns:a16="http://schemas.microsoft.com/office/drawing/2014/main" id="{A0D3ECB0-CD87-4566-A19E-EBBFCDE38A0B}"/>
              </a:ext>
            </a:extLst>
          </p:cNvPr>
          <p:cNvGraphicFramePr/>
          <p:nvPr userDrawn="1">
            <p:extLst>
              <p:ext uri="{D42A27DB-BD31-4B8C-83A1-F6EECF244321}">
                <p14:modId xmlns:p14="http://schemas.microsoft.com/office/powerpoint/2010/main" val="2995851312"/>
              </p:ext>
            </p:extLst>
          </p:nvPr>
        </p:nvGraphicFramePr>
        <p:xfrm>
          <a:off x="7943142" y="18782"/>
          <a:ext cx="4231964" cy="2574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0232369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69993"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4. Commercial Innovation &amp; Cost</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spTree>
    <p:extLst>
      <p:ext uri="{BB962C8B-B14F-4D97-AF65-F5344CB8AC3E}">
        <p14:creationId xmlns:p14="http://schemas.microsoft.com/office/powerpoint/2010/main" val="18508469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71017"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5. References</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spTree>
    <p:extLst>
      <p:ext uri="{BB962C8B-B14F-4D97-AF65-F5344CB8AC3E}">
        <p14:creationId xmlns:p14="http://schemas.microsoft.com/office/powerpoint/2010/main" val="105858161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 5.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72041"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5. Risk Management</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graphicFrame>
        <p:nvGraphicFramePr>
          <p:cNvPr id="10" name="Diagram 9">
            <a:extLst>
              <a:ext uri="{FF2B5EF4-FFF2-40B4-BE49-F238E27FC236}">
                <a16:creationId xmlns:a16="http://schemas.microsoft.com/office/drawing/2014/main" id="{D0EBA7F5-41C4-4E0A-9007-9F5354DC0FC1}"/>
              </a:ext>
            </a:extLst>
          </p:cNvPr>
          <p:cNvGraphicFramePr/>
          <p:nvPr userDrawn="1">
            <p:extLst>
              <p:ext uri="{D42A27DB-BD31-4B8C-83A1-F6EECF244321}">
                <p14:modId xmlns:p14="http://schemas.microsoft.com/office/powerpoint/2010/main" val="1926272443"/>
              </p:ext>
            </p:extLst>
          </p:nvPr>
        </p:nvGraphicFramePr>
        <p:xfrm>
          <a:off x="7451077" y="18782"/>
          <a:ext cx="4724028" cy="2479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3180195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 5.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73065"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5. Risk Management</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graphicFrame>
        <p:nvGraphicFramePr>
          <p:cNvPr id="10" name="Diagram 9">
            <a:extLst>
              <a:ext uri="{FF2B5EF4-FFF2-40B4-BE49-F238E27FC236}">
                <a16:creationId xmlns:a16="http://schemas.microsoft.com/office/drawing/2014/main" id="{D0EBA7F5-41C4-4E0A-9007-9F5354DC0FC1}"/>
              </a:ext>
            </a:extLst>
          </p:cNvPr>
          <p:cNvGraphicFramePr/>
          <p:nvPr userDrawn="1">
            <p:extLst>
              <p:ext uri="{D42A27DB-BD31-4B8C-83A1-F6EECF244321}">
                <p14:modId xmlns:p14="http://schemas.microsoft.com/office/powerpoint/2010/main" val="1137666099"/>
              </p:ext>
            </p:extLst>
          </p:nvPr>
        </p:nvGraphicFramePr>
        <p:xfrm>
          <a:off x="7451077" y="18782"/>
          <a:ext cx="4724028" cy="2479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01378247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 5.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74089"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5. Risk Management</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graphicFrame>
        <p:nvGraphicFramePr>
          <p:cNvPr id="10" name="Diagram 9">
            <a:extLst>
              <a:ext uri="{FF2B5EF4-FFF2-40B4-BE49-F238E27FC236}">
                <a16:creationId xmlns:a16="http://schemas.microsoft.com/office/drawing/2014/main" id="{D0EBA7F5-41C4-4E0A-9007-9F5354DC0FC1}"/>
              </a:ext>
            </a:extLst>
          </p:cNvPr>
          <p:cNvGraphicFramePr/>
          <p:nvPr userDrawn="1">
            <p:extLst>
              <p:ext uri="{D42A27DB-BD31-4B8C-83A1-F6EECF244321}">
                <p14:modId xmlns:p14="http://schemas.microsoft.com/office/powerpoint/2010/main" val="2157112301"/>
              </p:ext>
            </p:extLst>
          </p:nvPr>
        </p:nvGraphicFramePr>
        <p:xfrm>
          <a:off x="7451077" y="18782"/>
          <a:ext cx="4724028" cy="2479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329654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 5.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75113"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5. Risk Management</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graphicFrame>
        <p:nvGraphicFramePr>
          <p:cNvPr id="10" name="Diagram 9">
            <a:extLst>
              <a:ext uri="{FF2B5EF4-FFF2-40B4-BE49-F238E27FC236}">
                <a16:creationId xmlns:a16="http://schemas.microsoft.com/office/drawing/2014/main" id="{D0EBA7F5-41C4-4E0A-9007-9F5354DC0FC1}"/>
              </a:ext>
            </a:extLst>
          </p:cNvPr>
          <p:cNvGraphicFramePr/>
          <p:nvPr userDrawn="1">
            <p:extLst>
              <p:ext uri="{D42A27DB-BD31-4B8C-83A1-F6EECF244321}">
                <p14:modId xmlns:p14="http://schemas.microsoft.com/office/powerpoint/2010/main" val="2920500700"/>
              </p:ext>
            </p:extLst>
          </p:nvPr>
        </p:nvGraphicFramePr>
        <p:xfrm>
          <a:off x="7451077" y="18782"/>
          <a:ext cx="4724028" cy="2479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4350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0554" y="229963"/>
            <a:ext cx="10951147" cy="341424"/>
          </a:xfrm>
        </p:spPr>
        <p:txBody>
          <a:bodyPr/>
          <a:lstStyle>
            <a:lvl1pPr>
              <a:defRPr>
                <a:solidFill>
                  <a:schemeClr val="bg1">
                    <a:lumMod val="50000"/>
                  </a:schemeClr>
                </a:solidFill>
              </a:defRPr>
            </a:lvl1pPr>
          </a:lstStyle>
          <a:p>
            <a:r>
              <a:rPr lang="en-US"/>
              <a:t>Click to edit Master title style</a:t>
            </a:r>
          </a:p>
        </p:txBody>
      </p:sp>
      <p:sp>
        <p:nvSpPr>
          <p:cNvPr id="5" name="AutoShape 3"/>
          <p:cNvSpPr>
            <a:spLocks noChangeAspect="1" noChangeArrowheads="1" noTextEdit="1"/>
          </p:cNvSpPr>
          <p:nvPr userDrawn="1"/>
        </p:nvSpPr>
        <p:spPr bwMode="auto">
          <a:xfrm>
            <a:off x="613393" y="647587"/>
            <a:ext cx="10978515" cy="1228725"/>
          </a:xfrm>
          <a:prstGeom prst="rect">
            <a:avLst/>
          </a:prstGeom>
          <a:solidFill>
            <a:srgbClr val="FFE600"/>
          </a:solidFill>
          <a:ln w="9525">
            <a:noFill/>
            <a:miter lim="800000"/>
            <a:headEnd/>
            <a:tailEnd/>
          </a:ln>
        </p:spPr>
        <p:txBody>
          <a:bodyPr lIns="84379" tIns="42191" rIns="84379" bIns="42191"/>
          <a:lstStyle/>
          <a:p>
            <a:pPr algn="ctr" defTabSz="685694" eaLnBrk="0" fontAlgn="base" hangingPunct="0">
              <a:lnSpc>
                <a:spcPct val="85000"/>
              </a:lnSpc>
              <a:spcBef>
                <a:spcPct val="0"/>
              </a:spcBef>
              <a:spcAft>
                <a:spcPct val="0"/>
              </a:spcAft>
              <a:buFont typeface="Arial" pitchFamily="34" charset="0"/>
              <a:buNone/>
              <a:defRPr/>
            </a:pPr>
            <a:endParaRPr lang="en-US" sz="831">
              <a:solidFill>
                <a:srgbClr val="000000"/>
              </a:solidFill>
            </a:endParaRPr>
          </a:p>
        </p:txBody>
      </p:sp>
      <p:sp>
        <p:nvSpPr>
          <p:cNvPr id="6" name="Content Placeholder 2"/>
          <p:cNvSpPr>
            <a:spLocks noGrp="1"/>
          </p:cNvSpPr>
          <p:nvPr>
            <p:ph idx="1"/>
          </p:nvPr>
        </p:nvSpPr>
        <p:spPr>
          <a:xfrm>
            <a:off x="675601" y="731520"/>
            <a:ext cx="1027583" cy="1095485"/>
          </a:xfrm>
          <a:prstGeom prst="rect">
            <a:avLst/>
          </a:prstGeom>
        </p:spPr>
        <p:txBody>
          <a:bodyPr/>
          <a:lstStyle>
            <a:lvl1pPr>
              <a:buNone/>
              <a:defRPr sz="739"/>
            </a:lvl1pPr>
            <a:lvl2pPr>
              <a:defRPr sz="739"/>
            </a:lvl2pPr>
            <a:lvl3pPr>
              <a:defRPr sz="739"/>
            </a:lvl3pPr>
            <a:lvl4pPr>
              <a:defRPr sz="739"/>
            </a:lvl4pPr>
            <a:lvl5pPr>
              <a:defRPr sz="739"/>
            </a:lvl5pPr>
            <a:lvl6pPr>
              <a:defRPr sz="1845"/>
            </a:lvl6pPr>
            <a:lvl7pPr>
              <a:defRPr sz="1845"/>
            </a:lvl7pPr>
            <a:lvl8pPr>
              <a:defRPr sz="1845"/>
            </a:lvl8pPr>
            <a:lvl9pPr>
              <a:defRPr sz="1845"/>
            </a:lvl9pPr>
          </a:lstStyle>
          <a:p>
            <a:pPr lvl="0"/>
            <a:endParaRPr lang="en-US"/>
          </a:p>
        </p:txBody>
      </p:sp>
      <p:sp>
        <p:nvSpPr>
          <p:cNvPr id="7" name="Text Placeholder 3"/>
          <p:cNvSpPr>
            <a:spLocks noGrp="1"/>
          </p:cNvSpPr>
          <p:nvPr>
            <p:ph type="body" sz="half" idx="2"/>
          </p:nvPr>
        </p:nvSpPr>
        <p:spPr>
          <a:xfrm>
            <a:off x="1934095" y="882121"/>
            <a:ext cx="4066852" cy="925153"/>
          </a:xfrm>
          <a:prstGeom prst="rect">
            <a:avLst/>
          </a:prstGeom>
        </p:spPr>
        <p:txBody>
          <a:bodyPr/>
          <a:lstStyle>
            <a:lvl1pPr marL="0" indent="0">
              <a:buNone/>
              <a:defRPr sz="831">
                <a:solidFill>
                  <a:schemeClr val="bg1">
                    <a:lumMod val="50000"/>
                  </a:schemeClr>
                </a:solidFill>
                <a:latin typeface="EYInterstate Light" pitchFamily="2" charset="0"/>
              </a:defRPr>
            </a:lvl1pPr>
            <a:lvl2pPr marL="421868" indent="0">
              <a:buNone/>
              <a:defRPr sz="1108"/>
            </a:lvl2pPr>
            <a:lvl3pPr marL="843738" indent="0">
              <a:buNone/>
              <a:defRPr sz="924"/>
            </a:lvl3pPr>
            <a:lvl4pPr marL="1265608" indent="0">
              <a:buNone/>
              <a:defRPr sz="831"/>
            </a:lvl4pPr>
            <a:lvl5pPr marL="1687476" indent="0">
              <a:buNone/>
              <a:defRPr sz="831"/>
            </a:lvl5pPr>
            <a:lvl6pPr marL="2109346" indent="0">
              <a:buNone/>
              <a:defRPr sz="831"/>
            </a:lvl6pPr>
            <a:lvl7pPr marL="2531214" indent="0">
              <a:buNone/>
              <a:defRPr sz="831"/>
            </a:lvl7pPr>
            <a:lvl8pPr marL="2953082" indent="0">
              <a:buNone/>
              <a:defRPr sz="831"/>
            </a:lvl8pPr>
            <a:lvl9pPr marL="3374954" indent="0">
              <a:buNone/>
              <a:defRPr sz="831"/>
            </a:lvl9pPr>
          </a:lstStyle>
          <a:p>
            <a:pPr lvl="0"/>
            <a:r>
              <a:rPr lang="en-US"/>
              <a:t>Click to edit Master text styles</a:t>
            </a:r>
          </a:p>
        </p:txBody>
      </p:sp>
      <p:sp>
        <p:nvSpPr>
          <p:cNvPr id="8" name="Text Placeholder 3"/>
          <p:cNvSpPr>
            <a:spLocks noGrp="1"/>
          </p:cNvSpPr>
          <p:nvPr>
            <p:ph type="body" sz="half" idx="11"/>
          </p:nvPr>
        </p:nvSpPr>
        <p:spPr>
          <a:xfrm>
            <a:off x="1936303" y="711810"/>
            <a:ext cx="4066852" cy="148817"/>
          </a:xfrm>
          <a:prstGeom prst="rect">
            <a:avLst/>
          </a:prstGeom>
        </p:spPr>
        <p:txBody>
          <a:bodyPr/>
          <a:lstStyle>
            <a:lvl1pPr marL="0" indent="0">
              <a:buNone/>
              <a:defRPr sz="924" b="1">
                <a:solidFill>
                  <a:schemeClr val="bg1">
                    <a:lumMod val="50000"/>
                  </a:schemeClr>
                </a:solidFill>
                <a:latin typeface="EYInterstate Regular" pitchFamily="2" charset="0"/>
              </a:defRPr>
            </a:lvl1pPr>
            <a:lvl2pPr marL="421868" indent="0">
              <a:buNone/>
              <a:defRPr sz="1108"/>
            </a:lvl2pPr>
            <a:lvl3pPr marL="843738" indent="0">
              <a:buNone/>
              <a:defRPr sz="924"/>
            </a:lvl3pPr>
            <a:lvl4pPr marL="1265608" indent="0">
              <a:buNone/>
              <a:defRPr sz="831"/>
            </a:lvl4pPr>
            <a:lvl5pPr marL="1687476" indent="0">
              <a:buNone/>
              <a:defRPr sz="831"/>
            </a:lvl5pPr>
            <a:lvl6pPr marL="2109346" indent="0">
              <a:buNone/>
              <a:defRPr sz="831"/>
            </a:lvl6pPr>
            <a:lvl7pPr marL="2531214" indent="0">
              <a:buNone/>
              <a:defRPr sz="831"/>
            </a:lvl7pPr>
            <a:lvl8pPr marL="2953082" indent="0">
              <a:buNone/>
              <a:defRPr sz="831"/>
            </a:lvl8pPr>
            <a:lvl9pPr marL="3374954" indent="0">
              <a:buNone/>
              <a:defRPr sz="831"/>
            </a:lvl9pPr>
          </a:lstStyle>
          <a:p>
            <a:pPr lvl="0"/>
            <a:r>
              <a:rPr lang="en-US"/>
              <a:t>Click to edit Master text styles</a:t>
            </a:r>
          </a:p>
        </p:txBody>
      </p:sp>
      <p:sp>
        <p:nvSpPr>
          <p:cNvPr id="9" name="Rectangle 5"/>
          <p:cNvSpPr>
            <a:spLocks noChangeArrowheads="1"/>
          </p:cNvSpPr>
          <p:nvPr userDrawn="1"/>
        </p:nvSpPr>
        <p:spPr bwMode="gray">
          <a:xfrm>
            <a:off x="667189" y="2039940"/>
            <a:ext cx="3512889" cy="196849"/>
          </a:xfrm>
          <a:prstGeom prst="rect">
            <a:avLst/>
          </a:prstGeom>
          <a:noFill/>
          <a:ln w="9525">
            <a:noFill/>
            <a:miter lim="800000"/>
            <a:headEnd/>
            <a:tailEnd/>
          </a:ln>
        </p:spPr>
        <p:txBody>
          <a:bodyPr lIns="0" tIns="0" rIns="0" bIns="0"/>
          <a:lstStyle/>
          <a:p>
            <a:pPr defTabSz="774893" fontAlgn="base">
              <a:spcBef>
                <a:spcPct val="0"/>
              </a:spcBef>
              <a:spcAft>
                <a:spcPct val="0"/>
              </a:spcAft>
              <a:buFont typeface="EYInterstate" pitchFamily="2" charset="0"/>
              <a:buNone/>
              <a:defRPr/>
            </a:pPr>
            <a:r>
              <a:rPr lang="en-US" altLang="zh-CN" sz="1108" b="1">
                <a:solidFill>
                  <a:srgbClr val="646464"/>
                </a:solidFill>
                <a:latin typeface="EYInterstate" pitchFamily="2" charset="0"/>
                <a:ea typeface="SimSun" pitchFamily="2" charset="-122"/>
                <a:sym typeface="Arial Unicode MS" pitchFamily="34" charset="-128"/>
              </a:rPr>
              <a:t>Background</a:t>
            </a:r>
          </a:p>
        </p:txBody>
      </p:sp>
      <p:sp>
        <p:nvSpPr>
          <p:cNvPr id="14" name="Rectangle 6"/>
          <p:cNvSpPr>
            <a:spLocks noChangeArrowheads="1"/>
          </p:cNvSpPr>
          <p:nvPr userDrawn="1"/>
        </p:nvSpPr>
        <p:spPr bwMode="gray">
          <a:xfrm>
            <a:off x="4295420" y="2039940"/>
            <a:ext cx="6918562" cy="196849"/>
          </a:xfrm>
          <a:prstGeom prst="rect">
            <a:avLst/>
          </a:prstGeom>
          <a:noFill/>
          <a:ln w="9525">
            <a:noFill/>
            <a:miter lim="800000"/>
            <a:headEnd/>
            <a:tailEnd/>
          </a:ln>
        </p:spPr>
        <p:txBody>
          <a:bodyPr lIns="0" tIns="0" rIns="0" bIns="0"/>
          <a:lstStyle/>
          <a:p>
            <a:pPr defTabSz="774893" fontAlgn="base">
              <a:spcBef>
                <a:spcPct val="0"/>
              </a:spcBef>
              <a:spcAft>
                <a:spcPct val="0"/>
              </a:spcAft>
              <a:buFont typeface="EYInterstate" pitchFamily="2" charset="0"/>
              <a:buNone/>
              <a:defRPr/>
            </a:pPr>
            <a:r>
              <a:rPr lang="en-US" altLang="zh-CN" sz="1108" b="1">
                <a:solidFill>
                  <a:srgbClr val="646464"/>
                </a:solidFill>
                <a:latin typeface="EYInterstate" pitchFamily="2" charset="0"/>
                <a:ea typeface="SimSun" pitchFamily="2" charset="-122"/>
                <a:sym typeface="Arial Unicode MS" pitchFamily="34" charset="-128"/>
              </a:rPr>
              <a:t>Relevant Experience</a:t>
            </a:r>
          </a:p>
        </p:txBody>
      </p:sp>
    </p:spTree>
    <p:extLst>
      <p:ext uri="{BB962C8B-B14F-4D97-AF65-F5344CB8AC3E}">
        <p14:creationId xmlns:p14="http://schemas.microsoft.com/office/powerpoint/2010/main" val="395065072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 5.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76137"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5. Risk Management</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graphicFrame>
        <p:nvGraphicFramePr>
          <p:cNvPr id="10" name="Diagram 9">
            <a:extLst>
              <a:ext uri="{FF2B5EF4-FFF2-40B4-BE49-F238E27FC236}">
                <a16:creationId xmlns:a16="http://schemas.microsoft.com/office/drawing/2014/main" id="{D0EBA7F5-41C4-4E0A-9007-9F5354DC0FC1}"/>
              </a:ext>
            </a:extLst>
          </p:cNvPr>
          <p:cNvGraphicFramePr/>
          <p:nvPr userDrawn="1">
            <p:extLst>
              <p:ext uri="{D42A27DB-BD31-4B8C-83A1-F6EECF244321}">
                <p14:modId xmlns:p14="http://schemas.microsoft.com/office/powerpoint/2010/main" val="404002075"/>
              </p:ext>
            </p:extLst>
          </p:nvPr>
        </p:nvGraphicFramePr>
        <p:xfrm>
          <a:off x="7451077" y="18782"/>
          <a:ext cx="4724028" cy="2479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634304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 4.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77161"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4. References</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spTree>
    <p:extLst>
      <p:ext uri="{BB962C8B-B14F-4D97-AF65-F5344CB8AC3E}">
        <p14:creationId xmlns:p14="http://schemas.microsoft.com/office/powerpoint/2010/main" val="153788660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 4.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78185"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5. Risk Management</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spTree>
    <p:extLst>
      <p:ext uri="{BB962C8B-B14F-4D97-AF65-F5344CB8AC3E}">
        <p14:creationId xmlns:p14="http://schemas.microsoft.com/office/powerpoint/2010/main" val="44574579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8929090"/>
              </p:ext>
            </p:extLst>
          </p:nvPr>
        </p:nvGraphicFramePr>
        <p:xfrm>
          <a:off x="1814" y="1447"/>
          <a:ext cx="1810" cy="1439"/>
        </p:xfrm>
        <a:graphic>
          <a:graphicData uri="http://schemas.openxmlformats.org/presentationml/2006/ole">
            <mc:AlternateContent xmlns:mc="http://schemas.openxmlformats.org/markup-compatibility/2006">
              <mc:Choice xmlns:v="urn:schemas-microsoft-com:vml" Requires="v">
                <p:oleObj spid="_x0000_s179209"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814" y="1447"/>
                        <a:ext cx="1810"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3D4F68-1F76-4CC6-8DE7-4E109126A910}"/>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0000"/>
              </a:lnSpc>
              <a:spcBef>
                <a:spcPct val="0"/>
              </a:spcBef>
              <a:spcAft>
                <a:spcPct val="0"/>
              </a:spcAft>
            </a:pPr>
            <a:endParaRPr lang="en-US" sz="2177" b="1" i="0" baseline="0">
              <a:solidFill>
                <a:schemeClr val="tx1"/>
              </a:solidFill>
              <a:latin typeface="EYInterstate" panose="02000503020000020004" pitchFamily="2" charset="0"/>
              <a:ea typeface="+mn-ea"/>
              <a:cs typeface="Calibri" panose="020F0502020204030204" pitchFamily="34" charset="0"/>
              <a:sym typeface="EYInterstate" panose="02000503020000020004" pitchFamily="2" charset="0"/>
            </a:endParaRPr>
          </a:p>
        </p:txBody>
      </p:sp>
      <p:sp>
        <p:nvSpPr>
          <p:cNvPr id="75" name="TextBox 74">
            <a:extLst>
              <a:ext uri="{FF2B5EF4-FFF2-40B4-BE49-F238E27FC236}">
                <a16:creationId xmlns:a16="http://schemas.microsoft.com/office/drawing/2014/main" id="{349740AA-4C8B-47E2-BD23-C19B35DAFE6E}"/>
              </a:ext>
            </a:extLst>
          </p:cNvPr>
          <p:cNvSpPr txBox="1">
            <a:spLocks/>
          </p:cNvSpPr>
          <p:nvPr userDrawn="1"/>
        </p:nvSpPr>
        <p:spPr>
          <a:xfrm>
            <a:off x="9474609" y="6500925"/>
            <a:ext cx="2362756" cy="198000"/>
          </a:xfrm>
          <a:prstGeom prst="rect">
            <a:avLst/>
          </a:prstGeom>
          <a:noFill/>
        </p:spPr>
        <p:txBody>
          <a:bodyPr wrap="square" lIns="0" tIns="0" rIns="0" bIns="0" rtlCol="0">
            <a:noAutofit/>
          </a:bodyPr>
          <a:lstStyle/>
          <a:p>
            <a:pPr algn="r"/>
            <a:r>
              <a:rPr lang="en-GB" sz="816" b="1">
                <a:solidFill>
                  <a:schemeClr val="tx2"/>
                </a:solidFill>
                <a:latin typeface="EYInterstate Light" panose="02000506000000020004" pitchFamily="2" charset="0"/>
              </a:rPr>
              <a:t>Commercial In Confidence</a:t>
            </a:r>
            <a:r>
              <a:rPr lang="en-GB" sz="816">
                <a:solidFill>
                  <a:schemeClr val="tx2"/>
                </a:solidFill>
                <a:latin typeface="EYInterstate Light" panose="02000506000000020004" pitchFamily="2" charset="0"/>
              </a:rPr>
              <a:t>	EY | </a:t>
            </a:r>
            <a:fld id="{9AE4D82F-B047-469B-AC52-A46321747EAF}" type="slidenum">
              <a:rPr lang="en-GB" sz="816" smtClean="0">
                <a:solidFill>
                  <a:schemeClr val="tx2"/>
                </a:solidFill>
                <a:latin typeface="EYInterstate Light" panose="02000506000000020004" pitchFamily="2" charset="0"/>
              </a:rPr>
              <a:pPr algn="r"/>
              <a:t>‹#›</a:t>
            </a:fld>
            <a:endParaRPr lang="en-GB" sz="816">
              <a:solidFill>
                <a:schemeClr val="tx2"/>
              </a:solidFill>
              <a:latin typeface="EYInterstate Light" panose="02000506000000020004" pitchFamily="2" charset="0"/>
            </a:endParaRPr>
          </a:p>
        </p:txBody>
      </p:sp>
      <p:sp>
        <p:nvSpPr>
          <p:cNvPr id="79" name="Text Placeholder 78">
            <a:extLst>
              <a:ext uri="{FF2B5EF4-FFF2-40B4-BE49-F238E27FC236}">
                <a16:creationId xmlns:a16="http://schemas.microsoft.com/office/drawing/2014/main" id="{828BD256-CF45-49F4-80A9-35ED4C8CDFEC}"/>
              </a:ext>
            </a:extLst>
          </p:cNvPr>
          <p:cNvSpPr>
            <a:spLocks noGrp="1"/>
          </p:cNvSpPr>
          <p:nvPr>
            <p:ph type="body" sz="quarter" idx="10" hasCustomPrompt="1"/>
          </p:nvPr>
        </p:nvSpPr>
        <p:spPr>
          <a:xfrm>
            <a:off x="8584780" y="7974"/>
            <a:ext cx="3313596" cy="7285949"/>
          </a:xfrm>
        </p:spPr>
        <p:txBody>
          <a:bodyPr wrap="none">
            <a:noAutofit/>
          </a:bodyPr>
          <a:lstStyle>
            <a:lvl1pPr marL="0" indent="0" algn="r" defTabSz="945990" rtl="0" eaLnBrk="1" latinLnBrk="0" hangingPunct="1">
              <a:buNone/>
              <a:defRPr lang="en-AU" sz="47346" b="1" kern="1200" dirty="0">
                <a:ln w="22225">
                  <a:solidFill>
                    <a:srgbClr val="FFE600"/>
                  </a:solidFill>
                  <a:prstDash val="solid"/>
                </a:ln>
                <a:solidFill>
                  <a:srgbClr val="FFE600"/>
                </a:solidFill>
                <a:latin typeface="EYInterstate" panose="02000503020000020004" pitchFamily="2" charset="0"/>
                <a:ea typeface="+mn-ea"/>
                <a:cs typeface="Calibri" panose="020F0502020204030204" pitchFamily="34" charset="0"/>
              </a:defRPr>
            </a:lvl1pPr>
          </a:lstStyle>
          <a:p>
            <a:pPr lvl="0"/>
            <a:r>
              <a:rPr lang="en-US"/>
              <a:t>#</a:t>
            </a:r>
            <a:endParaRPr lang="en-AU"/>
          </a:p>
        </p:txBody>
      </p:sp>
      <p:sp>
        <p:nvSpPr>
          <p:cNvPr id="86" name="Title 84">
            <a:extLst>
              <a:ext uri="{FF2B5EF4-FFF2-40B4-BE49-F238E27FC236}">
                <a16:creationId xmlns:a16="http://schemas.microsoft.com/office/drawing/2014/main" id="{AEF156D8-C05A-46A3-9B93-98B9317B3B18}"/>
              </a:ext>
            </a:extLst>
          </p:cNvPr>
          <p:cNvSpPr>
            <a:spLocks noGrp="1"/>
          </p:cNvSpPr>
          <p:nvPr>
            <p:ph type="title"/>
          </p:nvPr>
        </p:nvSpPr>
        <p:spPr>
          <a:xfrm>
            <a:off x="619471" y="1961374"/>
            <a:ext cx="4159840" cy="533400"/>
          </a:xfrm>
        </p:spPr>
        <p:txBody>
          <a:bodyPr anchor="ctr"/>
          <a:lstStyle>
            <a:lvl1pPr marL="0" algn="l" defTabSz="634779" rtl="0" eaLnBrk="1" fontAlgn="base" latinLnBrk="0" hangingPunct="1">
              <a:lnSpc>
                <a:spcPct val="90000"/>
              </a:lnSpc>
              <a:spcBef>
                <a:spcPct val="0"/>
              </a:spcBef>
              <a:spcAft>
                <a:spcPts val="0"/>
              </a:spcAft>
              <a:buClr>
                <a:srgbClr val="FFE600"/>
              </a:buClr>
              <a:buSzPct val="80000"/>
              <a:defRPr lang="en-AU" sz="2177" b="1" kern="1200" dirty="0" smtClean="0">
                <a:solidFill>
                  <a:srgbClr val="000000"/>
                </a:solidFill>
                <a:latin typeface="EYInterstate" panose="02000503020000020004" pitchFamily="2" charset="0"/>
                <a:ea typeface="+mn-ea"/>
                <a:cs typeface="Calibri" panose="020F0502020204030204" pitchFamily="34" charset="0"/>
              </a:defRPr>
            </a:lvl1pPr>
          </a:lstStyle>
          <a:p>
            <a:r>
              <a:rPr lang="en-US"/>
              <a:t>Click to edit Master title style</a:t>
            </a:r>
            <a:endParaRPr lang="en-AU"/>
          </a:p>
        </p:txBody>
      </p:sp>
    </p:spTree>
    <p:extLst>
      <p:ext uri="{BB962C8B-B14F-4D97-AF65-F5344CB8AC3E}">
        <p14:creationId xmlns:p14="http://schemas.microsoft.com/office/powerpoint/2010/main" val="130656035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93535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553456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814" y="1447"/>
          <a:ext cx="1810" cy="1439"/>
        </p:xfrm>
        <a:graphic>
          <a:graphicData uri="http://schemas.openxmlformats.org/presentationml/2006/ole">
            <mc:AlternateContent xmlns:mc="http://schemas.openxmlformats.org/markup-compatibility/2006">
              <mc:Choice xmlns:v="urn:schemas-microsoft-com:vml" Requires="v">
                <p:oleObj spid="_x0000_s182281"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814" y="1447"/>
                        <a:ext cx="1810"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23D3E99-B4C6-474E-BF3A-077A546D2989}"/>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defRPr>
            </a:lvl1pPr>
          </a:lstStyle>
          <a:p>
            <a:r>
              <a:rPr lang="en-US"/>
              <a:t>Click to edit Master title style</a:t>
            </a:r>
            <a:endParaRPr lang="en-GB"/>
          </a:p>
        </p:txBody>
      </p:sp>
      <p:sp>
        <p:nvSpPr>
          <p:cNvPr id="5" name="Rectangle 4"/>
          <p:cNvSpPr/>
          <p:nvPr userDrawn="1"/>
        </p:nvSpPr>
        <p:spPr>
          <a:xfrm>
            <a:off x="3"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Tree>
    <p:extLst>
      <p:ext uri="{BB962C8B-B14F-4D97-AF65-F5344CB8AC3E}">
        <p14:creationId xmlns:p14="http://schemas.microsoft.com/office/powerpoint/2010/main" val="20316158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20" y="201168"/>
            <a:ext cx="10978515" cy="804672"/>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a:xfrm>
            <a:off x="432026" y="6500925"/>
            <a:ext cx="8860746" cy="239713"/>
          </a:xfrm>
          <a:prstGeom prst="rect">
            <a:avLst/>
          </a:prstGeom>
        </p:spPr>
        <p:txBody>
          <a:bodyPr/>
          <a:lstStyle/>
          <a:p>
            <a:r>
              <a:rPr lang="en-AU"/>
              <a:t>© 2019 EY Australia. Liability limited by a scheme approved under Professional Standards Legislation.</a:t>
            </a:r>
            <a:endParaRPr lang="en-US"/>
          </a:p>
        </p:txBody>
      </p:sp>
      <p:sp>
        <p:nvSpPr>
          <p:cNvPr id="4102" name="Freeform 6"/>
          <p:cNvSpPr>
            <a:spLocks/>
          </p:cNvSpPr>
          <p:nvPr userDrawn="1"/>
        </p:nvSpPr>
        <p:spPr bwMode="gray">
          <a:xfrm>
            <a:off x="598490" y="1057276"/>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8" tIns="45699" rIns="91398" bIns="45699" numCol="1" anchor="t" anchorCtr="0" compatLnSpc="1">
            <a:prstTxWarp prst="textNoShape">
              <a:avLst/>
            </a:prstTxWarp>
          </a:bodyPr>
          <a:lstStyle/>
          <a:p>
            <a:endParaRPr lang="en-GB" sz="2099"/>
          </a:p>
        </p:txBody>
      </p:sp>
    </p:spTree>
    <p:extLst>
      <p:ext uri="{BB962C8B-B14F-4D97-AF65-F5344CB8AC3E}">
        <p14:creationId xmlns:p14="http://schemas.microsoft.com/office/powerpoint/2010/main" val="33825567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6" y="1025528"/>
            <a:ext cx="10978516"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2400"/>
            <a:ext cx="10978516"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50097372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ontent - 4.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85353"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5. Managed Services</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spTree>
    <p:extLst>
      <p:ext uri="{BB962C8B-B14F-4D97-AF65-F5344CB8AC3E}">
        <p14:creationId xmlns:p14="http://schemas.microsoft.com/office/powerpoint/2010/main" val="29207090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8594627"/>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17417"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80"/>
            </a:lvl1pPr>
          </a:lstStyle>
          <a:p>
            <a:r>
              <a:rPr lang="en-US"/>
              <a:t>CLICK TO EDIT MASTER TITLE STYLE</a:t>
            </a:r>
            <a:endParaRPr lang="en-GB"/>
          </a:p>
        </p:txBody>
      </p:sp>
    </p:spTree>
    <p:extLst>
      <p:ext uri="{BB962C8B-B14F-4D97-AF65-F5344CB8AC3E}">
        <p14:creationId xmlns:p14="http://schemas.microsoft.com/office/powerpoint/2010/main" val="167978302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Content - 3. (New)">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C471E4-B8D5-4B3E-8F97-4164CCFF1C0B}"/>
              </a:ext>
            </a:extLst>
          </p:cNvPr>
          <p:cNvGraphicFramePr>
            <a:graphicFrameLocks noChangeAspect="1"/>
          </p:cNvGraphicFramePr>
          <p:nvPr userDrawn="1">
            <p:custDataLst>
              <p:tags r:id="rId2"/>
            </p:custDataLst>
          </p:nvPr>
        </p:nvGraphicFramePr>
        <p:xfrm>
          <a:off x="1441" y="1440"/>
          <a:ext cx="1441" cy="1440"/>
        </p:xfrm>
        <a:graphic>
          <a:graphicData uri="http://schemas.openxmlformats.org/presentationml/2006/ole">
            <mc:AlternateContent xmlns:mc="http://schemas.openxmlformats.org/markup-compatibility/2006">
              <mc:Choice xmlns:v="urn:schemas-microsoft-com:vml" Requires="v">
                <p:oleObj spid="_x0000_s186377"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C471E4-B8D5-4B3E-8F97-4164CCFF1C0B}"/>
                          </a:ext>
                        </a:extLst>
                      </p:cNvPr>
                      <p:cNvPicPr/>
                      <p:nvPr/>
                    </p:nvPicPr>
                    <p:blipFill>
                      <a:blip r:embed="rId6"/>
                      <a:stretch>
                        <a:fillRect/>
                      </a:stretch>
                    </p:blipFill>
                    <p:spPr>
                      <a:xfrm>
                        <a:off x="1441" y="1440"/>
                        <a:ext cx="144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EC5B44C-20D1-4683-B746-BEC01B907177}"/>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432030" y="400057"/>
            <a:ext cx="11156407" cy="657225"/>
          </a:xfrm>
        </p:spPr>
        <p:txBody>
          <a:bodyPr/>
          <a:lstStyle>
            <a:lvl1pPr>
              <a:defRPr>
                <a:solidFill>
                  <a:schemeClr val="tx1">
                    <a:lumMod val="75000"/>
                    <a:lumOff val="25000"/>
                  </a:schemeClr>
                </a:solidFill>
                <a:latin typeface="+mj-lt"/>
              </a:defRPr>
            </a:lvl1pPr>
          </a:lstStyle>
          <a:p>
            <a:r>
              <a:rPr lang="en-US"/>
              <a:t>Click to edit Master title style</a:t>
            </a:r>
            <a:endParaRPr lang="en-GB"/>
          </a:p>
        </p:txBody>
      </p:sp>
      <p:sp>
        <p:nvSpPr>
          <p:cNvPr id="3" name="Content Placeholder 2"/>
          <p:cNvSpPr>
            <a:spLocks noGrp="1"/>
          </p:cNvSpPr>
          <p:nvPr>
            <p:ph idx="1"/>
          </p:nvPr>
        </p:nvSpPr>
        <p:spPr>
          <a:xfrm>
            <a:off x="432030" y="1181104"/>
            <a:ext cx="11156407" cy="5028225"/>
          </a:xfrm>
        </p:spPr>
        <p:txBody>
          <a:bodyPr/>
          <a:lstStyle>
            <a:lvl1pPr>
              <a:defRPr>
                <a:solidFill>
                  <a:schemeClr val="tx1">
                    <a:lumMod val="75000"/>
                    <a:lumOff val="25000"/>
                  </a:schemeClr>
                </a:solidFill>
                <a:latin typeface="+mn-lt"/>
              </a:defRPr>
            </a:lvl1pPr>
            <a:lvl2pPr>
              <a:defRPr>
                <a:solidFill>
                  <a:schemeClr val="tx1">
                    <a:lumMod val="75000"/>
                    <a:lumOff val="25000"/>
                  </a:schemeClr>
                </a:solidFill>
                <a:latin typeface="+mn-lt"/>
              </a:defRPr>
            </a:lvl2pPr>
            <a:lvl3pPr>
              <a:defRPr>
                <a:solidFill>
                  <a:schemeClr val="tx1">
                    <a:lumMod val="75000"/>
                    <a:lumOff val="25000"/>
                  </a:schemeClr>
                </a:solidFill>
                <a:latin typeface="+mn-lt"/>
              </a:defRPr>
            </a:lvl3pPr>
            <a:lvl4pPr>
              <a:defRPr>
                <a:solidFill>
                  <a:schemeClr val="tx1">
                    <a:lumMod val="75000"/>
                    <a:lumOff val="25000"/>
                  </a:schemeClr>
                </a:solidFill>
                <a:latin typeface="+mn-lt"/>
              </a:defRPr>
            </a:lvl4pPr>
            <a:lvl5pPr>
              <a:defRPr>
                <a:solidFill>
                  <a:schemeClr val="tx1">
                    <a:lumMod val="75000"/>
                    <a:lumOff val="2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p:nvPr userDrawn="1"/>
        </p:nvSpPr>
        <p:spPr>
          <a:xfrm>
            <a:off x="0" y="0"/>
            <a:ext cx="12198350" cy="304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4606" tIns="47302" rIns="94606" bIns="47302" rtlCol="0" anchor="t" anchorCtr="0"/>
          <a:lstStyle/>
          <a:p>
            <a:pPr algn="ctr"/>
            <a:endParaRPr lang="en-AU" sz="1270">
              <a:solidFill>
                <a:srgbClr val="000000"/>
              </a:solidFill>
            </a:endParaRPr>
          </a:p>
        </p:txBody>
      </p:sp>
      <p:sp>
        <p:nvSpPr>
          <p:cNvPr id="7" name="Footer Placeholder 4"/>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75000"/>
                    <a:lumOff val="25000"/>
                  </a:schemeClr>
                </a:solidFill>
                <a:latin typeface="EYInterstate Light" panose="02000506000000020004" pitchFamily="2" charset="0"/>
                <a:cs typeface="+mn-cs"/>
              </a:defRPr>
            </a:lvl1pPr>
          </a:lstStyle>
          <a:p>
            <a:pPr>
              <a:defRPr/>
            </a:pPr>
            <a:r>
              <a:rPr lang="en-AU">
                <a:solidFill>
                  <a:srgbClr val="000000">
                    <a:lumMod val="75000"/>
                    <a:lumOff val="25000"/>
                  </a:srgbClr>
                </a:solidFill>
              </a:rPr>
              <a:t>© 2019 EY Australia. Liability limited by a scheme approved under Professional Standards Legislation.</a:t>
            </a:r>
          </a:p>
        </p:txBody>
      </p:sp>
      <p:sp>
        <p:nvSpPr>
          <p:cNvPr id="13" name="Rectangle 12">
            <a:extLst>
              <a:ext uri="{FF2B5EF4-FFF2-40B4-BE49-F238E27FC236}">
                <a16:creationId xmlns:a16="http://schemas.microsoft.com/office/drawing/2014/main" id="{CE505AD6-0764-46E1-96DD-0137B66D1152}"/>
              </a:ext>
            </a:extLst>
          </p:cNvPr>
          <p:cNvSpPr/>
          <p:nvPr userDrawn="1"/>
        </p:nvSpPr>
        <p:spPr>
          <a:xfrm>
            <a:off x="0" y="-11371"/>
            <a:ext cx="3489523" cy="30652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7955" rtlCol="0" anchor="ctr" anchorCtr="0"/>
          <a:lstStyle/>
          <a:p>
            <a:pPr algn="l"/>
            <a:r>
              <a:rPr lang="en-AU" sz="907" b="1">
                <a:solidFill>
                  <a:schemeClr val="tx1"/>
                </a:solidFill>
              </a:rPr>
              <a:t>3. Platform as an Accelerator</a:t>
            </a:r>
            <a:endParaRPr lang="en-AU" sz="907" b="1" i="1">
              <a:solidFill>
                <a:schemeClr val="tx1"/>
              </a:solidFill>
            </a:endParaRPr>
          </a:p>
        </p:txBody>
      </p:sp>
      <p:sp>
        <p:nvSpPr>
          <p:cNvPr id="14" name="Right Triangle 13">
            <a:extLst>
              <a:ext uri="{FF2B5EF4-FFF2-40B4-BE49-F238E27FC236}">
                <a16:creationId xmlns:a16="http://schemas.microsoft.com/office/drawing/2014/main" id="{E8B462CA-F465-49CD-A9D3-FF65B1BA5FA2}"/>
              </a:ext>
            </a:extLst>
          </p:cNvPr>
          <p:cNvSpPr/>
          <p:nvPr userDrawn="1"/>
        </p:nvSpPr>
        <p:spPr>
          <a:xfrm rot="5400000">
            <a:off x="3488154" y="-8275"/>
            <a:ext cx="304800" cy="302061"/>
          </a:xfrm>
          <a:prstGeom prst="r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088">
              <a:solidFill>
                <a:schemeClr val="tx1"/>
              </a:solidFill>
            </a:endParaRPr>
          </a:p>
        </p:txBody>
      </p:sp>
    </p:spTree>
    <p:extLst>
      <p:ext uri="{BB962C8B-B14F-4D97-AF65-F5344CB8AC3E}">
        <p14:creationId xmlns:p14="http://schemas.microsoft.com/office/powerpoint/2010/main" val="37662024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441" y="1441"/>
          <a:ext cx="1440" cy="1439"/>
        </p:xfrm>
        <a:graphic>
          <a:graphicData uri="http://schemas.openxmlformats.org/presentationml/2006/ole">
            <mc:AlternateContent xmlns:mc="http://schemas.openxmlformats.org/markup-compatibility/2006">
              <mc:Choice xmlns:v="urn:schemas-microsoft-com:vml" Requires="v">
                <p:oleObj spid="_x0000_s187401"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441" y="1441"/>
                        <a:ext cx="1440"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0A56C7-801B-4C14-A167-7C8AB83ADBC9}"/>
              </a:ext>
            </a:extLst>
          </p:cNvPr>
          <p:cNvSpPr/>
          <p:nvPr userDrawn="1">
            <p:custDataLst>
              <p:tags r:id="rId3"/>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a:xfrm>
            <a:off x="677290" y="666150"/>
            <a:ext cx="10309346" cy="292388"/>
          </a:xfrm>
        </p:spPr>
        <p:txBody>
          <a:bodyPr/>
          <a:lstStyle>
            <a:lvl1pPr>
              <a:defRPr/>
            </a:lvl1pPr>
          </a:lstStyle>
          <a:p>
            <a:r>
              <a:rPr lang="en-US"/>
              <a:t>Click to edit Master title style</a:t>
            </a:r>
          </a:p>
        </p:txBody>
      </p:sp>
      <p:sp>
        <p:nvSpPr>
          <p:cNvPr id="3" name="Slide Number Placeholder 12"/>
          <p:cNvSpPr>
            <a:spLocks noGrp="1"/>
          </p:cNvSpPr>
          <p:nvPr>
            <p:ph type="sldNum" sz="quarter" idx="4"/>
          </p:nvPr>
        </p:nvSpPr>
        <p:spPr>
          <a:xfrm>
            <a:off x="8741310" y="6302715"/>
            <a:ext cx="2846765" cy="364281"/>
          </a:xfrm>
          <a:prstGeom prst="rect">
            <a:avLst/>
          </a:prstGeom>
        </p:spPr>
        <p:txBody>
          <a:bodyPr vert="horz" lIns="79684" tIns="39843" rIns="79684" bIns="39843" rtlCol="0" anchor="ctr"/>
          <a:lstStyle>
            <a:lvl1pPr algn="r">
              <a:defRPr lang="de-DE" sz="477" kern="1200" noProof="0" smtClean="0">
                <a:solidFill>
                  <a:schemeClr val="bg2"/>
                </a:solidFill>
                <a:latin typeface="EYInterstate Light" pitchFamily="2" charset="0"/>
                <a:ea typeface="+mn-ea"/>
                <a:cs typeface="+mn-cs"/>
              </a:defRPr>
            </a:lvl1pPr>
          </a:lstStyle>
          <a:p>
            <a:pPr defTabSz="723844">
              <a:spcAft>
                <a:spcPct val="50000"/>
              </a:spcAft>
              <a:buClr>
                <a:srgbClr val="FFE600"/>
              </a:buClr>
              <a:buSzPct val="80000"/>
            </a:pPr>
            <a:fld id="{A66BAC9C-55BC-4EF7-A173-D4508113CB23}" type="slidenum">
              <a:rPr lang="en-US" smtClean="0">
                <a:solidFill>
                  <a:srgbClr val="808080"/>
                </a:solidFill>
              </a:rPr>
              <a:pPr defTabSz="723844">
                <a:spcAft>
                  <a:spcPct val="50000"/>
                </a:spcAft>
                <a:buClr>
                  <a:srgbClr val="FFE600"/>
                </a:buClr>
                <a:buSzPct val="80000"/>
              </a:pPr>
              <a:t>‹#›</a:t>
            </a:fld>
            <a:endParaRPr lang="en-US">
              <a:solidFill>
                <a:srgbClr val="808080"/>
              </a:solidFill>
            </a:endParaRPr>
          </a:p>
        </p:txBody>
      </p:sp>
    </p:spTree>
    <p:extLst>
      <p:ext uri="{BB962C8B-B14F-4D97-AF65-F5344CB8AC3E}">
        <p14:creationId xmlns:p14="http://schemas.microsoft.com/office/powerpoint/2010/main" val="425666128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3299028"/>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90473"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9537" y="0"/>
            <a:ext cx="12283986" cy="6858000"/>
          </a:xfrm>
          <a:prstGeom prst="rect">
            <a:avLst/>
          </a:prstGeom>
        </p:spPr>
      </p:pic>
    </p:spTree>
    <p:extLst>
      <p:ext uri="{BB962C8B-B14F-4D97-AF65-F5344CB8AC3E}">
        <p14:creationId xmlns:p14="http://schemas.microsoft.com/office/powerpoint/2010/main" val="118129639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04077732"/>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91497"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4"/>
            <a:ext cx="10616769" cy="672625"/>
          </a:xfrm>
          <a:prstGeom prst="rect">
            <a:avLst/>
          </a:prstGeom>
        </p:spPr>
        <p:txBody>
          <a:bodyPr/>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35258725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31"/>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968291539"/>
      </p:ext>
    </p:extLst>
  </p:cSld>
  <p:clrMapOvr>
    <a:overrideClrMapping bg1="dk1" tx1="lt1" bg2="dk2" tx2="lt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073699"/>
      </p:ext>
    </p:extLst>
  </p:cSld>
  <p:clrMapOvr>
    <a:overrideClrMapping bg1="dk1" tx1="lt1" bg2="dk2" tx2="lt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5"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0"/>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5"/>
            <a:ext cx="10801405" cy="503999"/>
          </a:xfrm>
          <a:prstGeom prst="rect">
            <a:avLst/>
          </a:prstGeom>
        </p:spPr>
        <p:txBody>
          <a:bodyPr vert="horz" wrap="square" lIns="0" tIns="0" rIns="0" bIns="0" rtlCol="0">
            <a:noAutofit/>
          </a:bodyPr>
          <a:lstStyle>
            <a:lvl1pPr>
              <a:defRPr lang="en-US" sz="1999" spc="-49" dirty="0">
                <a:solidFill>
                  <a:srgbClr val="575756"/>
                </a:solidFill>
                <a:latin typeface="EYInterstate Light" panose="02000506000000020004" pitchFamily="2" charset="0"/>
                <a:ea typeface="+mn-ea"/>
                <a:cs typeface="EYInterstate Light" panose="02000506000000020004" pitchFamily="2" charset="0"/>
              </a:defRPr>
            </a:lvl1pPr>
          </a:lstStyle>
          <a:p>
            <a:pPr marL="11200" lvl="0" defTabSz="806438">
              <a:lnSpc>
                <a:spcPct val="100000"/>
              </a:lnSpc>
            </a:pPr>
            <a:r>
              <a:rPr lang="en-US"/>
              <a:t>CLICK TO EDIT MASTER TITLE STYLE</a:t>
            </a:r>
          </a:p>
        </p:txBody>
      </p:sp>
    </p:spTree>
    <p:extLst>
      <p:ext uri="{BB962C8B-B14F-4D97-AF65-F5344CB8AC3E}">
        <p14:creationId xmlns:p14="http://schemas.microsoft.com/office/powerpoint/2010/main" val="24309733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88587720"/>
              </p:ext>
            </p:extLst>
          </p:nvPr>
        </p:nvGraphicFramePr>
        <p:xfrm>
          <a:off x="1443" y="1446"/>
          <a:ext cx="1441" cy="1439"/>
        </p:xfrm>
        <a:graphic>
          <a:graphicData uri="http://schemas.openxmlformats.org/presentationml/2006/ole">
            <mc:AlternateContent xmlns:mc="http://schemas.openxmlformats.org/markup-compatibility/2006">
              <mc:Choice xmlns:v="urn:schemas-microsoft-com:vml" Requires="v">
                <p:oleObj spid="_x0000_s308233"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3" y="1446"/>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21605713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97168142"/>
              </p:ext>
            </p:extLst>
          </p:nvPr>
        </p:nvGraphicFramePr>
        <p:xfrm>
          <a:off x="1443" y="1446"/>
          <a:ext cx="1441" cy="1439"/>
        </p:xfrm>
        <a:graphic>
          <a:graphicData uri="http://schemas.openxmlformats.org/presentationml/2006/ole">
            <mc:AlternateContent xmlns:mc="http://schemas.openxmlformats.org/markup-compatibility/2006">
              <mc:Choice xmlns:v="urn:schemas-microsoft-com:vml" Requires="v">
                <p:oleObj spid="_x0000_s309257"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3" y="1446"/>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4"/>
            <a:ext cx="10616769" cy="672625"/>
          </a:xfrm>
          <a:prstGeom prst="rect">
            <a:avLst/>
          </a:prstGeom>
        </p:spPr>
        <p:txBody>
          <a:bodyPr/>
          <a:lstStyle>
            <a:lvl1pPr>
              <a:defRPr sz="2178"/>
            </a:lvl1pPr>
          </a:lstStyle>
          <a:p>
            <a:r>
              <a:rPr lang="en-US"/>
              <a:t>CLICK TO EDIT MASTER TITLE STYLE</a:t>
            </a:r>
            <a:endParaRPr lang="en-GB"/>
          </a:p>
        </p:txBody>
      </p:sp>
    </p:spTree>
    <p:extLst>
      <p:ext uri="{BB962C8B-B14F-4D97-AF65-F5344CB8AC3E}">
        <p14:creationId xmlns:p14="http://schemas.microsoft.com/office/powerpoint/2010/main" val="215150596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32"/>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5"/>
            </a:lvl1pPr>
          </a:lstStyle>
          <a:p>
            <a:r>
              <a:rPr lang="en-US"/>
              <a:t>Click to edit Master title style</a:t>
            </a:r>
            <a:endParaRPr lang="en-GB"/>
          </a:p>
        </p:txBody>
      </p:sp>
    </p:spTree>
    <p:extLst>
      <p:ext uri="{BB962C8B-B14F-4D97-AF65-F5344CB8AC3E}">
        <p14:creationId xmlns:p14="http://schemas.microsoft.com/office/powerpoint/2010/main" val="1491117879"/>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rgbClr val="050B0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AE5C10A-4473-1140-BEFA-793C713147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239923" y="396573"/>
            <a:ext cx="10967866" cy="6178392"/>
          </a:xfrm>
          <a:prstGeom prst="rect">
            <a:avLst/>
          </a:prstGeom>
          <a:effectLst>
            <a:reflection endPos="0" dir="5400000" sy="-100000" algn="bl" rotWithShape="0"/>
            <a:softEdge rad="520700"/>
          </a:effectLst>
        </p:spPr>
      </p:pic>
      <p:grpSp>
        <p:nvGrpSpPr>
          <p:cNvPr id="156" name="Group 155">
            <a:extLst>
              <a:ext uri="{FF2B5EF4-FFF2-40B4-BE49-F238E27FC236}">
                <a16:creationId xmlns:a16="http://schemas.microsoft.com/office/drawing/2014/main" id="{DD33176D-0333-4FAD-8826-C6EC185B4F15}"/>
              </a:ext>
            </a:extLst>
          </p:cNvPr>
          <p:cNvGrpSpPr/>
          <p:nvPr userDrawn="1"/>
        </p:nvGrpSpPr>
        <p:grpSpPr>
          <a:xfrm>
            <a:off x="447709" y="5944375"/>
            <a:ext cx="3516734" cy="517053"/>
            <a:chOff x="498115" y="5951018"/>
            <a:chExt cx="3878023" cy="570195"/>
          </a:xfrm>
        </p:grpSpPr>
        <p:sp>
          <p:nvSpPr>
            <p:cNvPr id="157" name="Rectangle 156">
              <a:extLst>
                <a:ext uri="{FF2B5EF4-FFF2-40B4-BE49-F238E27FC236}">
                  <a16:creationId xmlns:a16="http://schemas.microsoft.com/office/drawing/2014/main" id="{3291E56F-1DC0-4E13-B3F8-FC4121578D2B}"/>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631"/>
            </a:p>
          </p:txBody>
        </p:sp>
        <p:sp>
          <p:nvSpPr>
            <p:cNvPr id="158" name="Rectangle 6">
              <a:extLst>
                <a:ext uri="{FF2B5EF4-FFF2-40B4-BE49-F238E27FC236}">
                  <a16:creationId xmlns:a16="http://schemas.microsoft.com/office/drawing/2014/main" id="{D86C5AAD-A873-494C-B37A-2AFD6A6C93BB}"/>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631"/>
            </a:p>
          </p:txBody>
        </p:sp>
        <p:sp>
          <p:nvSpPr>
            <p:cNvPr id="159" name="Rectangle 7">
              <a:extLst>
                <a:ext uri="{FF2B5EF4-FFF2-40B4-BE49-F238E27FC236}">
                  <a16:creationId xmlns:a16="http://schemas.microsoft.com/office/drawing/2014/main" id="{A07E9F40-594A-4559-8A41-E956C9C121E8}"/>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631"/>
            </a:p>
          </p:txBody>
        </p:sp>
        <p:sp>
          <p:nvSpPr>
            <p:cNvPr id="160" name="Freeform 8">
              <a:extLst>
                <a:ext uri="{FF2B5EF4-FFF2-40B4-BE49-F238E27FC236}">
                  <a16:creationId xmlns:a16="http://schemas.microsoft.com/office/drawing/2014/main" id="{7A1DB30A-F73A-4109-BA99-AC5E01455697}"/>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61" name="Freeform 9">
              <a:extLst>
                <a:ext uri="{FF2B5EF4-FFF2-40B4-BE49-F238E27FC236}">
                  <a16:creationId xmlns:a16="http://schemas.microsoft.com/office/drawing/2014/main" id="{5FD62654-56CC-4B5C-9370-61AB6E12CE55}"/>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62" name="Freeform 10">
              <a:extLst>
                <a:ext uri="{FF2B5EF4-FFF2-40B4-BE49-F238E27FC236}">
                  <a16:creationId xmlns:a16="http://schemas.microsoft.com/office/drawing/2014/main" id="{220D20C0-D4C6-4E62-AA90-C11DF09EE32B}"/>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63" name="Freeform 11">
              <a:extLst>
                <a:ext uri="{FF2B5EF4-FFF2-40B4-BE49-F238E27FC236}">
                  <a16:creationId xmlns:a16="http://schemas.microsoft.com/office/drawing/2014/main" id="{6459FE38-CD12-4E9F-A9D0-CA73C8201C67}"/>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64" name="Freeform 12">
              <a:extLst>
                <a:ext uri="{FF2B5EF4-FFF2-40B4-BE49-F238E27FC236}">
                  <a16:creationId xmlns:a16="http://schemas.microsoft.com/office/drawing/2014/main" id="{08A9258E-9BA7-48BD-940B-364CDCFBBED1}"/>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65" name="Freeform 13">
              <a:extLst>
                <a:ext uri="{FF2B5EF4-FFF2-40B4-BE49-F238E27FC236}">
                  <a16:creationId xmlns:a16="http://schemas.microsoft.com/office/drawing/2014/main" id="{9B033082-A4E6-48BB-9A13-B46038DC7FE2}"/>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66" name="Freeform 14">
              <a:extLst>
                <a:ext uri="{FF2B5EF4-FFF2-40B4-BE49-F238E27FC236}">
                  <a16:creationId xmlns:a16="http://schemas.microsoft.com/office/drawing/2014/main" id="{CA858B9F-208C-4009-8E8B-59C48FE1C9F9}"/>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67" name="Freeform 15">
              <a:extLst>
                <a:ext uri="{FF2B5EF4-FFF2-40B4-BE49-F238E27FC236}">
                  <a16:creationId xmlns:a16="http://schemas.microsoft.com/office/drawing/2014/main" id="{D55DDB6A-BAB0-41EA-AB2E-7EE5EDA1DB9D}"/>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68" name="Freeform 16">
              <a:extLst>
                <a:ext uri="{FF2B5EF4-FFF2-40B4-BE49-F238E27FC236}">
                  <a16:creationId xmlns:a16="http://schemas.microsoft.com/office/drawing/2014/main" id="{C12B83C0-22EC-4B96-B6FE-21483C88BAB6}"/>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69" name="Freeform 17">
              <a:extLst>
                <a:ext uri="{FF2B5EF4-FFF2-40B4-BE49-F238E27FC236}">
                  <a16:creationId xmlns:a16="http://schemas.microsoft.com/office/drawing/2014/main" id="{E96BB14D-4091-49BB-983A-839B80D42E71}"/>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0" name="Freeform 18">
              <a:extLst>
                <a:ext uri="{FF2B5EF4-FFF2-40B4-BE49-F238E27FC236}">
                  <a16:creationId xmlns:a16="http://schemas.microsoft.com/office/drawing/2014/main" id="{80924E25-2FA0-4F4B-9D0A-C0D6F8EE6EF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1" name="Freeform 19">
              <a:extLst>
                <a:ext uri="{FF2B5EF4-FFF2-40B4-BE49-F238E27FC236}">
                  <a16:creationId xmlns:a16="http://schemas.microsoft.com/office/drawing/2014/main" id="{30BA6206-B298-402F-8A8B-8A35FCCC01D2}"/>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2" name="Freeform 20">
              <a:extLst>
                <a:ext uri="{FF2B5EF4-FFF2-40B4-BE49-F238E27FC236}">
                  <a16:creationId xmlns:a16="http://schemas.microsoft.com/office/drawing/2014/main" id="{488A66CF-DE6D-4C31-95DD-A6C123575C39}"/>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3" name="Freeform 21">
              <a:extLst>
                <a:ext uri="{FF2B5EF4-FFF2-40B4-BE49-F238E27FC236}">
                  <a16:creationId xmlns:a16="http://schemas.microsoft.com/office/drawing/2014/main" id="{8276FB92-6012-4117-804C-C64075BF7A3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4" name="Freeform 22">
              <a:extLst>
                <a:ext uri="{FF2B5EF4-FFF2-40B4-BE49-F238E27FC236}">
                  <a16:creationId xmlns:a16="http://schemas.microsoft.com/office/drawing/2014/main" id="{40697BCB-41DB-46A2-AAB1-5F040148A0F2}"/>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5" name="Freeform 23">
              <a:extLst>
                <a:ext uri="{FF2B5EF4-FFF2-40B4-BE49-F238E27FC236}">
                  <a16:creationId xmlns:a16="http://schemas.microsoft.com/office/drawing/2014/main" id="{62ACEBFD-E741-4633-99D2-E10D869686A8}"/>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6" name="Freeform 24">
              <a:extLst>
                <a:ext uri="{FF2B5EF4-FFF2-40B4-BE49-F238E27FC236}">
                  <a16:creationId xmlns:a16="http://schemas.microsoft.com/office/drawing/2014/main" id="{7415BF94-5D2D-465C-92EF-50F9FBCC5CE2}"/>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7" name="Freeform 25">
              <a:extLst>
                <a:ext uri="{FF2B5EF4-FFF2-40B4-BE49-F238E27FC236}">
                  <a16:creationId xmlns:a16="http://schemas.microsoft.com/office/drawing/2014/main" id="{E7C461AD-1F6C-43E7-A271-1218381734A6}"/>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8" name="Freeform 26">
              <a:extLst>
                <a:ext uri="{FF2B5EF4-FFF2-40B4-BE49-F238E27FC236}">
                  <a16:creationId xmlns:a16="http://schemas.microsoft.com/office/drawing/2014/main" id="{0631E6B9-1BE3-462D-A2BE-083D2D89BE3A}"/>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79" name="Freeform 27">
              <a:extLst>
                <a:ext uri="{FF2B5EF4-FFF2-40B4-BE49-F238E27FC236}">
                  <a16:creationId xmlns:a16="http://schemas.microsoft.com/office/drawing/2014/main" id="{DD7844A0-F4FF-4935-8D48-AD98469C4BA2}"/>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0" name="Freeform 28">
              <a:extLst>
                <a:ext uri="{FF2B5EF4-FFF2-40B4-BE49-F238E27FC236}">
                  <a16:creationId xmlns:a16="http://schemas.microsoft.com/office/drawing/2014/main" id="{CAA36F94-B386-41AB-9ADD-76EFE407F31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1" name="Freeform 29">
              <a:extLst>
                <a:ext uri="{FF2B5EF4-FFF2-40B4-BE49-F238E27FC236}">
                  <a16:creationId xmlns:a16="http://schemas.microsoft.com/office/drawing/2014/main" id="{B9D71935-1BBA-4A9C-B63A-9230824E398F}"/>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2" name="Freeform 30">
              <a:extLst>
                <a:ext uri="{FF2B5EF4-FFF2-40B4-BE49-F238E27FC236}">
                  <a16:creationId xmlns:a16="http://schemas.microsoft.com/office/drawing/2014/main" id="{F21B2DE6-3E1B-4B21-8020-674C36107996}"/>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3" name="Freeform 31">
              <a:extLst>
                <a:ext uri="{FF2B5EF4-FFF2-40B4-BE49-F238E27FC236}">
                  <a16:creationId xmlns:a16="http://schemas.microsoft.com/office/drawing/2014/main" id="{0A8D0102-D64D-4317-BF10-9C8AB38CD209}"/>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4" name="Freeform 32">
              <a:extLst>
                <a:ext uri="{FF2B5EF4-FFF2-40B4-BE49-F238E27FC236}">
                  <a16:creationId xmlns:a16="http://schemas.microsoft.com/office/drawing/2014/main" id="{F48638CB-21B1-4C8D-BFE1-0972A648708A}"/>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5" name="Freeform 33">
              <a:extLst>
                <a:ext uri="{FF2B5EF4-FFF2-40B4-BE49-F238E27FC236}">
                  <a16:creationId xmlns:a16="http://schemas.microsoft.com/office/drawing/2014/main" id="{93531D29-68C2-4840-81E9-459B8E87E6C9}"/>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6" name="Freeform 34">
              <a:extLst>
                <a:ext uri="{FF2B5EF4-FFF2-40B4-BE49-F238E27FC236}">
                  <a16:creationId xmlns:a16="http://schemas.microsoft.com/office/drawing/2014/main" id="{46544582-06F4-4D8C-BA35-DE36CF81FB4E}"/>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7" name="Freeform 35">
              <a:extLst>
                <a:ext uri="{FF2B5EF4-FFF2-40B4-BE49-F238E27FC236}">
                  <a16:creationId xmlns:a16="http://schemas.microsoft.com/office/drawing/2014/main" id="{68FD22EE-478C-4049-86CF-B3D0CE7603C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8" name="Freeform 36">
              <a:extLst>
                <a:ext uri="{FF2B5EF4-FFF2-40B4-BE49-F238E27FC236}">
                  <a16:creationId xmlns:a16="http://schemas.microsoft.com/office/drawing/2014/main" id="{C8AAAAF4-0D18-4D3A-B513-24E0923BF3ED}"/>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89" name="Freeform 37">
              <a:extLst>
                <a:ext uri="{FF2B5EF4-FFF2-40B4-BE49-F238E27FC236}">
                  <a16:creationId xmlns:a16="http://schemas.microsoft.com/office/drawing/2014/main" id="{5F909668-E36C-4E44-A8AD-43752FE32B7D}"/>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0" name="Freeform 38">
              <a:extLst>
                <a:ext uri="{FF2B5EF4-FFF2-40B4-BE49-F238E27FC236}">
                  <a16:creationId xmlns:a16="http://schemas.microsoft.com/office/drawing/2014/main" id="{67F99E3F-4CCC-4ACA-B861-F6EBCBFB6381}"/>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1" name="Freeform 39">
              <a:extLst>
                <a:ext uri="{FF2B5EF4-FFF2-40B4-BE49-F238E27FC236}">
                  <a16:creationId xmlns:a16="http://schemas.microsoft.com/office/drawing/2014/main" id="{495C243B-8596-4338-B352-EEAC84D71091}"/>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2" name="Freeform 40">
              <a:extLst>
                <a:ext uri="{FF2B5EF4-FFF2-40B4-BE49-F238E27FC236}">
                  <a16:creationId xmlns:a16="http://schemas.microsoft.com/office/drawing/2014/main" id="{CCAAEBD1-A826-479B-90F1-E07E32BDE6A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3" name="Freeform 41">
              <a:extLst>
                <a:ext uri="{FF2B5EF4-FFF2-40B4-BE49-F238E27FC236}">
                  <a16:creationId xmlns:a16="http://schemas.microsoft.com/office/drawing/2014/main" id="{5CDE2B0D-8D61-4C4A-A65E-6363019D1BF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4" name="Freeform 42">
              <a:extLst>
                <a:ext uri="{FF2B5EF4-FFF2-40B4-BE49-F238E27FC236}">
                  <a16:creationId xmlns:a16="http://schemas.microsoft.com/office/drawing/2014/main" id="{B90D590D-B481-44A1-B1E9-A369BB1E33CE}"/>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5" name="Freeform 43">
              <a:extLst>
                <a:ext uri="{FF2B5EF4-FFF2-40B4-BE49-F238E27FC236}">
                  <a16:creationId xmlns:a16="http://schemas.microsoft.com/office/drawing/2014/main" id="{C52247AC-67F6-4801-A222-F8BEBC2BD3AA}"/>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6" name="Freeform 44">
              <a:extLst>
                <a:ext uri="{FF2B5EF4-FFF2-40B4-BE49-F238E27FC236}">
                  <a16:creationId xmlns:a16="http://schemas.microsoft.com/office/drawing/2014/main" id="{AE06F7D2-CE6B-4FCA-B6FB-2876B5C53A2B}"/>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7" name="Freeform 45">
              <a:extLst>
                <a:ext uri="{FF2B5EF4-FFF2-40B4-BE49-F238E27FC236}">
                  <a16:creationId xmlns:a16="http://schemas.microsoft.com/office/drawing/2014/main" id="{50726AF8-E564-4162-8451-03908A5C6150}"/>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8" name="Freeform 46">
              <a:extLst>
                <a:ext uri="{FF2B5EF4-FFF2-40B4-BE49-F238E27FC236}">
                  <a16:creationId xmlns:a16="http://schemas.microsoft.com/office/drawing/2014/main" id="{0EDC02B4-E4BC-4659-9083-C952B21393FE}"/>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199" name="Freeform 47">
              <a:extLst>
                <a:ext uri="{FF2B5EF4-FFF2-40B4-BE49-F238E27FC236}">
                  <a16:creationId xmlns:a16="http://schemas.microsoft.com/office/drawing/2014/main" id="{B78B424C-5807-4823-8532-40B7F2991363}"/>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0" name="Freeform 48">
              <a:extLst>
                <a:ext uri="{FF2B5EF4-FFF2-40B4-BE49-F238E27FC236}">
                  <a16:creationId xmlns:a16="http://schemas.microsoft.com/office/drawing/2014/main" id="{DB2A628F-7F2E-495E-9429-15DC5691F47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1" name="Freeform 49">
              <a:extLst>
                <a:ext uri="{FF2B5EF4-FFF2-40B4-BE49-F238E27FC236}">
                  <a16:creationId xmlns:a16="http://schemas.microsoft.com/office/drawing/2014/main" id="{8D4A1B43-7900-4193-855B-BDE9DD2DACA1}"/>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2" name="Freeform 50">
              <a:extLst>
                <a:ext uri="{FF2B5EF4-FFF2-40B4-BE49-F238E27FC236}">
                  <a16:creationId xmlns:a16="http://schemas.microsoft.com/office/drawing/2014/main" id="{A04C6EB3-B69F-4B08-8C90-07F064DFB32B}"/>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3" name="Freeform 51">
              <a:extLst>
                <a:ext uri="{FF2B5EF4-FFF2-40B4-BE49-F238E27FC236}">
                  <a16:creationId xmlns:a16="http://schemas.microsoft.com/office/drawing/2014/main" id="{4A656995-46A7-4010-8F4D-DD3455E28426}"/>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4" name="Freeform 52">
              <a:extLst>
                <a:ext uri="{FF2B5EF4-FFF2-40B4-BE49-F238E27FC236}">
                  <a16:creationId xmlns:a16="http://schemas.microsoft.com/office/drawing/2014/main" id="{2C0410DC-2562-45B1-8D35-D1D88AA93223}"/>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5" name="Freeform 53">
              <a:extLst>
                <a:ext uri="{FF2B5EF4-FFF2-40B4-BE49-F238E27FC236}">
                  <a16:creationId xmlns:a16="http://schemas.microsoft.com/office/drawing/2014/main" id="{C10218F8-67DF-4BE6-AC7A-C865B6BAA329}"/>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6" name="Freeform 54">
              <a:extLst>
                <a:ext uri="{FF2B5EF4-FFF2-40B4-BE49-F238E27FC236}">
                  <a16:creationId xmlns:a16="http://schemas.microsoft.com/office/drawing/2014/main" id="{59AF7005-701F-42EE-8BB1-DCEE0DC36744}"/>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7" name="Freeform 55">
              <a:extLst>
                <a:ext uri="{FF2B5EF4-FFF2-40B4-BE49-F238E27FC236}">
                  <a16:creationId xmlns:a16="http://schemas.microsoft.com/office/drawing/2014/main" id="{D42C6B3B-6F03-489D-9B3D-4E74CBF727BE}"/>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8" name="Freeform 56">
              <a:extLst>
                <a:ext uri="{FF2B5EF4-FFF2-40B4-BE49-F238E27FC236}">
                  <a16:creationId xmlns:a16="http://schemas.microsoft.com/office/drawing/2014/main" id="{C58F7A35-BFC6-41BD-BD14-E758E84D15FF}"/>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09" name="Freeform 57">
              <a:extLst>
                <a:ext uri="{FF2B5EF4-FFF2-40B4-BE49-F238E27FC236}">
                  <a16:creationId xmlns:a16="http://schemas.microsoft.com/office/drawing/2014/main" id="{F29124BF-755C-4B9B-9696-CFE7A696F03C}"/>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0" name="Freeform 58">
              <a:extLst>
                <a:ext uri="{FF2B5EF4-FFF2-40B4-BE49-F238E27FC236}">
                  <a16:creationId xmlns:a16="http://schemas.microsoft.com/office/drawing/2014/main" id="{D3C01B5E-DFA0-4CB9-9CA9-CEABFE733C5B}"/>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1" name="Freeform 59">
              <a:extLst>
                <a:ext uri="{FF2B5EF4-FFF2-40B4-BE49-F238E27FC236}">
                  <a16:creationId xmlns:a16="http://schemas.microsoft.com/office/drawing/2014/main" id="{FA23E15F-BB18-464E-B3B5-DEF7FE324E90}"/>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2" name="Freeform 60">
              <a:extLst>
                <a:ext uri="{FF2B5EF4-FFF2-40B4-BE49-F238E27FC236}">
                  <a16:creationId xmlns:a16="http://schemas.microsoft.com/office/drawing/2014/main" id="{8C9A1AC7-3FFF-4C97-803C-5A69363E1A9B}"/>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3" name="Freeform 61">
              <a:extLst>
                <a:ext uri="{FF2B5EF4-FFF2-40B4-BE49-F238E27FC236}">
                  <a16:creationId xmlns:a16="http://schemas.microsoft.com/office/drawing/2014/main" id="{FF640A61-C648-48C4-8B1C-A2C4BFEF74B3}"/>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4" name="Freeform 62">
              <a:extLst>
                <a:ext uri="{FF2B5EF4-FFF2-40B4-BE49-F238E27FC236}">
                  <a16:creationId xmlns:a16="http://schemas.microsoft.com/office/drawing/2014/main" id="{1E32B172-D350-4C2B-A492-223794C0E12E}"/>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5" name="Freeform 63">
              <a:extLst>
                <a:ext uri="{FF2B5EF4-FFF2-40B4-BE49-F238E27FC236}">
                  <a16:creationId xmlns:a16="http://schemas.microsoft.com/office/drawing/2014/main" id="{412708E8-67C6-4615-B993-4A9005A4690A}"/>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6" name="Freeform 64">
              <a:extLst>
                <a:ext uri="{FF2B5EF4-FFF2-40B4-BE49-F238E27FC236}">
                  <a16:creationId xmlns:a16="http://schemas.microsoft.com/office/drawing/2014/main" id="{ACE756C9-DF71-4496-8EA6-F08A62BEE30D}"/>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7" name="Freeform 65">
              <a:extLst>
                <a:ext uri="{FF2B5EF4-FFF2-40B4-BE49-F238E27FC236}">
                  <a16:creationId xmlns:a16="http://schemas.microsoft.com/office/drawing/2014/main" id="{5E29C646-4EB3-4544-B195-D9D46F217ACB}"/>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8" name="Freeform 66">
              <a:extLst>
                <a:ext uri="{FF2B5EF4-FFF2-40B4-BE49-F238E27FC236}">
                  <a16:creationId xmlns:a16="http://schemas.microsoft.com/office/drawing/2014/main" id="{32E98C89-5927-48E0-8AF5-009E986A017C}"/>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19" name="Freeform 67">
              <a:extLst>
                <a:ext uri="{FF2B5EF4-FFF2-40B4-BE49-F238E27FC236}">
                  <a16:creationId xmlns:a16="http://schemas.microsoft.com/office/drawing/2014/main" id="{D7343FAC-0504-4279-8D9D-86C909A2BEF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20" name="Freeform 68">
              <a:extLst>
                <a:ext uri="{FF2B5EF4-FFF2-40B4-BE49-F238E27FC236}">
                  <a16:creationId xmlns:a16="http://schemas.microsoft.com/office/drawing/2014/main" id="{C4A38F8A-9FFE-4CAF-8629-1C1B3618C01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21" name="Freeform 69">
              <a:extLst>
                <a:ext uri="{FF2B5EF4-FFF2-40B4-BE49-F238E27FC236}">
                  <a16:creationId xmlns:a16="http://schemas.microsoft.com/office/drawing/2014/main" id="{651955C4-2F6F-4B6F-A0E3-ED5E52A1FA05}"/>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sp>
          <p:nvSpPr>
            <p:cNvPr id="222" name="Freeform 70">
              <a:extLst>
                <a:ext uri="{FF2B5EF4-FFF2-40B4-BE49-F238E27FC236}">
                  <a16:creationId xmlns:a16="http://schemas.microsoft.com/office/drawing/2014/main" id="{132751C5-9823-4CB9-A168-5BA1FA9E08B3}"/>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631">
                <a:solidFill>
                  <a:schemeClr val="bg1"/>
                </a:solidFill>
              </a:endParaRPr>
            </a:p>
          </p:txBody>
        </p:sp>
      </p:grpSp>
      <p:grpSp>
        <p:nvGrpSpPr>
          <p:cNvPr id="153" name="Gruppieren 8">
            <a:extLst>
              <a:ext uri="{FF2B5EF4-FFF2-40B4-BE49-F238E27FC236}">
                <a16:creationId xmlns:a16="http://schemas.microsoft.com/office/drawing/2014/main" id="{81BDA7C2-9BCA-4C38-92F8-734198560F05}"/>
              </a:ext>
            </a:extLst>
          </p:cNvPr>
          <p:cNvGrpSpPr/>
          <p:nvPr userDrawn="1"/>
        </p:nvGrpSpPr>
        <p:grpSpPr>
          <a:xfrm>
            <a:off x="11003941" y="5528355"/>
            <a:ext cx="863657" cy="1009134"/>
            <a:chOff x="9178925" y="5894388"/>
            <a:chExt cx="1089025" cy="1273176"/>
          </a:xfrm>
        </p:grpSpPr>
        <p:sp>
          <p:nvSpPr>
            <p:cNvPr id="154" name="Freeform 7">
              <a:extLst>
                <a:ext uri="{FF2B5EF4-FFF2-40B4-BE49-F238E27FC236}">
                  <a16:creationId xmlns:a16="http://schemas.microsoft.com/office/drawing/2014/main" id="{D4A1D681-64F1-49D1-8015-9DE2DE7FC881}"/>
                </a:ext>
              </a:extLst>
            </p:cNvPr>
            <p:cNvSpPr>
              <a:spLocks/>
            </p:cNvSpPr>
            <p:nvPr/>
          </p:nvSpPr>
          <p:spPr bwMode="auto">
            <a:xfrm>
              <a:off x="9178925" y="5894388"/>
              <a:ext cx="873125" cy="317500"/>
            </a:xfrm>
            <a:custGeom>
              <a:avLst/>
              <a:gdLst>
                <a:gd name="T0" fmla="*/ 2747 w 2747"/>
                <a:gd name="T1" fmla="*/ 0 h 1001"/>
                <a:gd name="T2" fmla="*/ 0 w 2747"/>
                <a:gd name="T3" fmla="*/ 1001 h 1001"/>
                <a:gd name="T4" fmla="*/ 2747 w 2747"/>
                <a:gd name="T5" fmla="*/ 516 h 1001"/>
                <a:gd name="T6" fmla="*/ 2747 w 2747"/>
                <a:gd name="T7" fmla="*/ 0 h 1001"/>
              </a:gdLst>
              <a:ahLst/>
              <a:cxnLst>
                <a:cxn ang="0">
                  <a:pos x="T0" y="T1"/>
                </a:cxn>
                <a:cxn ang="0">
                  <a:pos x="T2" y="T3"/>
                </a:cxn>
                <a:cxn ang="0">
                  <a:pos x="T4" y="T5"/>
                </a:cxn>
                <a:cxn ang="0">
                  <a:pos x="T6" y="T7"/>
                </a:cxn>
              </a:cxnLst>
              <a:rect l="0" t="0" r="r" b="b"/>
              <a:pathLst>
                <a:path w="2747" h="1001">
                  <a:moveTo>
                    <a:pt x="2747" y="0"/>
                  </a:moveTo>
                  <a:lnTo>
                    <a:pt x="0" y="1001"/>
                  </a:lnTo>
                  <a:lnTo>
                    <a:pt x="2747" y="516"/>
                  </a:lnTo>
                  <a:lnTo>
                    <a:pt x="2747"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14575"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1">
                <a:ln>
                  <a:noFill/>
                </a:ln>
                <a:solidFill>
                  <a:srgbClr val="000000"/>
                </a:solidFill>
                <a:effectLst/>
                <a:uLnTx/>
                <a:uFillTx/>
                <a:latin typeface="EYInterstate Light"/>
              </a:endParaRPr>
            </a:p>
          </p:txBody>
        </p:sp>
        <p:sp>
          <p:nvSpPr>
            <p:cNvPr id="155" name="Freeform 9">
              <a:extLst>
                <a:ext uri="{FF2B5EF4-FFF2-40B4-BE49-F238E27FC236}">
                  <a16:creationId xmlns:a16="http://schemas.microsoft.com/office/drawing/2014/main" id="{C5526DC5-960F-40CD-9143-EC959AA52178}"/>
                </a:ext>
              </a:extLst>
            </p:cNvPr>
            <p:cNvSpPr>
              <a:spLocks noEditPoints="1"/>
            </p:cNvSpPr>
            <p:nvPr/>
          </p:nvSpPr>
          <p:spPr bwMode="auto">
            <a:xfrm>
              <a:off x="9178925" y="6343651"/>
              <a:ext cx="1089025" cy="823913"/>
            </a:xfrm>
            <a:custGeom>
              <a:avLst/>
              <a:gdLst>
                <a:gd name="T0" fmla="*/ 259 w 3430"/>
                <a:gd name="T1" fmla="*/ 1760 h 2593"/>
                <a:gd name="T2" fmla="*/ 281 w 3430"/>
                <a:gd name="T3" fmla="*/ 1990 h 2593"/>
                <a:gd name="T4" fmla="*/ 168 w 3430"/>
                <a:gd name="T5" fmla="*/ 2006 h 2593"/>
                <a:gd name="T6" fmla="*/ 390 w 3430"/>
                <a:gd name="T7" fmla="*/ 1952 h 2593"/>
                <a:gd name="T8" fmla="*/ 462 w 3430"/>
                <a:gd name="T9" fmla="*/ 2058 h 2593"/>
                <a:gd name="T10" fmla="*/ 1266 w 3430"/>
                <a:gd name="T11" fmla="*/ 1831 h 2593"/>
                <a:gd name="T12" fmla="*/ 1351 w 3430"/>
                <a:gd name="T13" fmla="*/ 1926 h 2593"/>
                <a:gd name="T14" fmla="*/ 774 w 3430"/>
                <a:gd name="T15" fmla="*/ 1713 h 2593"/>
                <a:gd name="T16" fmla="*/ 820 w 3430"/>
                <a:gd name="T17" fmla="*/ 1896 h 2593"/>
                <a:gd name="T18" fmla="*/ 955 w 3430"/>
                <a:gd name="T19" fmla="*/ 2055 h 2593"/>
                <a:gd name="T20" fmla="*/ 924 w 3430"/>
                <a:gd name="T21" fmla="*/ 1866 h 2593"/>
                <a:gd name="T22" fmla="*/ 2245 w 3430"/>
                <a:gd name="T23" fmla="*/ 2062 h 2593"/>
                <a:gd name="T24" fmla="*/ 2397 w 3430"/>
                <a:gd name="T25" fmla="*/ 1936 h 2593"/>
                <a:gd name="T26" fmla="*/ 2333 w 3430"/>
                <a:gd name="T27" fmla="*/ 1918 h 2593"/>
                <a:gd name="T28" fmla="*/ 2287 w 3430"/>
                <a:gd name="T29" fmla="*/ 1866 h 2593"/>
                <a:gd name="T30" fmla="*/ 1454 w 3430"/>
                <a:gd name="T31" fmla="*/ 1923 h 2593"/>
                <a:gd name="T32" fmla="*/ 1605 w 3430"/>
                <a:gd name="T33" fmla="*/ 2044 h 2593"/>
                <a:gd name="T34" fmla="*/ 1637 w 3430"/>
                <a:gd name="T35" fmla="*/ 2132 h 2593"/>
                <a:gd name="T36" fmla="*/ 1520 w 3430"/>
                <a:gd name="T37" fmla="*/ 1974 h 2593"/>
                <a:gd name="T38" fmla="*/ 1918 w 3430"/>
                <a:gd name="T39" fmla="*/ 1859 h 2593"/>
                <a:gd name="T40" fmla="*/ 1813 w 3430"/>
                <a:gd name="T41" fmla="*/ 1970 h 2593"/>
                <a:gd name="T42" fmla="*/ 2024 w 3430"/>
                <a:gd name="T43" fmla="*/ 1896 h 2593"/>
                <a:gd name="T44" fmla="*/ 1873 w 3430"/>
                <a:gd name="T45" fmla="*/ 1980 h 2593"/>
                <a:gd name="T46" fmla="*/ 1898 w 3430"/>
                <a:gd name="T47" fmla="*/ 2014 h 2593"/>
                <a:gd name="T48" fmla="*/ 2489 w 3430"/>
                <a:gd name="T49" fmla="*/ 1958 h 2593"/>
                <a:gd name="T50" fmla="*/ 2474 w 3430"/>
                <a:gd name="T51" fmla="*/ 1832 h 2593"/>
                <a:gd name="T52" fmla="*/ 2544 w 3430"/>
                <a:gd name="T53" fmla="*/ 2068 h 2593"/>
                <a:gd name="T54" fmla="*/ 2578 w 3430"/>
                <a:gd name="T55" fmla="*/ 1894 h 2593"/>
                <a:gd name="T56" fmla="*/ 3230 w 3430"/>
                <a:gd name="T57" fmla="*/ 1940 h 2593"/>
                <a:gd name="T58" fmla="*/ 3033 w 3430"/>
                <a:gd name="T59" fmla="*/ 1865 h 2593"/>
                <a:gd name="T60" fmla="*/ 3168 w 3430"/>
                <a:gd name="T61" fmla="*/ 2062 h 2593"/>
                <a:gd name="T62" fmla="*/ 2931 w 3430"/>
                <a:gd name="T63" fmla="*/ 1976 h 2593"/>
                <a:gd name="T64" fmla="*/ 2893 w 3430"/>
                <a:gd name="T65" fmla="*/ 2054 h 2593"/>
                <a:gd name="T66" fmla="*/ 2737 w 3430"/>
                <a:gd name="T67" fmla="*/ 2063 h 2593"/>
                <a:gd name="T68" fmla="*/ 2772 w 3430"/>
                <a:gd name="T69" fmla="*/ 2008 h 2593"/>
                <a:gd name="T70" fmla="*/ 3329 w 3430"/>
                <a:gd name="T71" fmla="*/ 1816 h 2593"/>
                <a:gd name="T72" fmla="*/ 1082 w 3430"/>
                <a:gd name="T73" fmla="*/ 2062 h 2593"/>
                <a:gd name="T74" fmla="*/ 2683 w 3430"/>
                <a:gd name="T75" fmla="*/ 2293 h 2593"/>
                <a:gd name="T76" fmla="*/ 2788 w 3430"/>
                <a:gd name="T77" fmla="*/ 2495 h 2593"/>
                <a:gd name="T78" fmla="*/ 2761 w 3430"/>
                <a:gd name="T79" fmla="*/ 2299 h 2593"/>
                <a:gd name="T80" fmla="*/ 696 w 3430"/>
                <a:gd name="T81" fmla="*/ 2303 h 2593"/>
                <a:gd name="T82" fmla="*/ 747 w 3430"/>
                <a:gd name="T83" fmla="*/ 2315 h 2593"/>
                <a:gd name="T84" fmla="*/ 224 w 3430"/>
                <a:gd name="T85" fmla="*/ 2367 h 2593"/>
                <a:gd name="T86" fmla="*/ 344 w 3430"/>
                <a:gd name="T87" fmla="*/ 2410 h 2593"/>
                <a:gd name="T88" fmla="*/ 559 w 3430"/>
                <a:gd name="T89" fmla="*/ 2410 h 2593"/>
                <a:gd name="T90" fmla="*/ 416 w 3430"/>
                <a:gd name="T91" fmla="*/ 2422 h 2593"/>
                <a:gd name="T92" fmla="*/ 488 w 3430"/>
                <a:gd name="T93" fmla="*/ 2422 h 2593"/>
                <a:gd name="T94" fmla="*/ 2441 w 3430"/>
                <a:gd name="T95" fmla="*/ 2261 h 2593"/>
                <a:gd name="T96" fmla="*/ 1774 w 3430"/>
                <a:gd name="T97" fmla="*/ 2247 h 2593"/>
                <a:gd name="T98" fmla="*/ 2151 w 3430"/>
                <a:gd name="T99" fmla="*/ 2269 h 2593"/>
                <a:gd name="T100" fmla="*/ 2224 w 3430"/>
                <a:gd name="T101" fmla="*/ 2499 h 2593"/>
                <a:gd name="T102" fmla="*/ 2289 w 3430"/>
                <a:gd name="T103" fmla="*/ 2263 h 2593"/>
                <a:gd name="T104" fmla="*/ 2224 w 3430"/>
                <a:gd name="T105" fmla="*/ 2298 h 2593"/>
                <a:gd name="T106" fmla="*/ 852 w 3430"/>
                <a:gd name="T107" fmla="*/ 2144 h 2593"/>
                <a:gd name="T108" fmla="*/ 1335 w 3430"/>
                <a:gd name="T109" fmla="*/ 2258 h 2593"/>
                <a:gd name="T110" fmla="*/ 1231 w 3430"/>
                <a:gd name="T111" fmla="*/ 2313 h 2593"/>
                <a:gd name="T112" fmla="*/ 1422 w 3430"/>
                <a:gd name="T113" fmla="*/ 2303 h 2593"/>
                <a:gd name="T114" fmla="*/ 1538 w 3430"/>
                <a:gd name="T115" fmla="*/ 2493 h 2593"/>
                <a:gd name="T116" fmla="*/ 1558 w 3430"/>
                <a:gd name="T117" fmla="*/ 2586 h 2593"/>
                <a:gd name="T118" fmla="*/ 1504 w 3430"/>
                <a:gd name="T119" fmla="*/ 2439 h 2593"/>
                <a:gd name="T120" fmla="*/ 1103 w 3430"/>
                <a:gd name="T121" fmla="*/ 2356 h 2593"/>
                <a:gd name="T122" fmla="*/ 441 w 3430"/>
                <a:gd name="T123" fmla="*/ 1068 h 2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30" h="2593">
                  <a:moveTo>
                    <a:pt x="286" y="1954"/>
                  </a:moveTo>
                  <a:lnTo>
                    <a:pt x="286" y="1954"/>
                  </a:lnTo>
                  <a:lnTo>
                    <a:pt x="286" y="1946"/>
                  </a:lnTo>
                  <a:lnTo>
                    <a:pt x="284" y="1939"/>
                  </a:lnTo>
                  <a:lnTo>
                    <a:pt x="281" y="1924"/>
                  </a:lnTo>
                  <a:lnTo>
                    <a:pt x="275" y="1912"/>
                  </a:lnTo>
                  <a:lnTo>
                    <a:pt x="267" y="1902"/>
                  </a:lnTo>
                  <a:lnTo>
                    <a:pt x="259" y="1894"/>
                  </a:lnTo>
                  <a:lnTo>
                    <a:pt x="250" y="1888"/>
                  </a:lnTo>
                  <a:lnTo>
                    <a:pt x="243" y="1883"/>
                  </a:lnTo>
                  <a:lnTo>
                    <a:pt x="235" y="1880"/>
                  </a:lnTo>
                  <a:lnTo>
                    <a:pt x="235" y="1880"/>
                  </a:lnTo>
                  <a:lnTo>
                    <a:pt x="244" y="1874"/>
                  </a:lnTo>
                  <a:lnTo>
                    <a:pt x="251" y="1868"/>
                  </a:lnTo>
                  <a:lnTo>
                    <a:pt x="257" y="1860"/>
                  </a:lnTo>
                  <a:lnTo>
                    <a:pt x="264" y="1852"/>
                  </a:lnTo>
                  <a:lnTo>
                    <a:pt x="268" y="1843"/>
                  </a:lnTo>
                  <a:lnTo>
                    <a:pt x="271" y="1833"/>
                  </a:lnTo>
                  <a:lnTo>
                    <a:pt x="273" y="1824"/>
                  </a:lnTo>
                  <a:lnTo>
                    <a:pt x="273" y="1813"/>
                  </a:lnTo>
                  <a:lnTo>
                    <a:pt x="273" y="1813"/>
                  </a:lnTo>
                  <a:lnTo>
                    <a:pt x="273" y="1803"/>
                  </a:lnTo>
                  <a:lnTo>
                    <a:pt x="272" y="1793"/>
                  </a:lnTo>
                  <a:lnTo>
                    <a:pt x="270" y="1784"/>
                  </a:lnTo>
                  <a:lnTo>
                    <a:pt x="267" y="1776"/>
                  </a:lnTo>
                  <a:lnTo>
                    <a:pt x="264" y="1767"/>
                  </a:lnTo>
                  <a:lnTo>
                    <a:pt x="259" y="1760"/>
                  </a:lnTo>
                  <a:lnTo>
                    <a:pt x="253" y="1754"/>
                  </a:lnTo>
                  <a:lnTo>
                    <a:pt x="246" y="1748"/>
                  </a:lnTo>
                  <a:lnTo>
                    <a:pt x="239" y="1743"/>
                  </a:lnTo>
                  <a:lnTo>
                    <a:pt x="232" y="1738"/>
                  </a:lnTo>
                  <a:lnTo>
                    <a:pt x="223" y="1734"/>
                  </a:lnTo>
                  <a:lnTo>
                    <a:pt x="213" y="1731"/>
                  </a:lnTo>
                  <a:lnTo>
                    <a:pt x="203" y="1728"/>
                  </a:lnTo>
                  <a:lnTo>
                    <a:pt x="192" y="1726"/>
                  </a:lnTo>
                  <a:lnTo>
                    <a:pt x="181" y="1726"/>
                  </a:lnTo>
                  <a:lnTo>
                    <a:pt x="169" y="1724"/>
                  </a:lnTo>
                  <a:lnTo>
                    <a:pt x="25" y="1724"/>
                  </a:lnTo>
                  <a:lnTo>
                    <a:pt x="25" y="2062"/>
                  </a:lnTo>
                  <a:lnTo>
                    <a:pt x="168" y="2062"/>
                  </a:lnTo>
                  <a:lnTo>
                    <a:pt x="168" y="2062"/>
                  </a:lnTo>
                  <a:lnTo>
                    <a:pt x="181" y="2062"/>
                  </a:lnTo>
                  <a:lnTo>
                    <a:pt x="194" y="2061"/>
                  </a:lnTo>
                  <a:lnTo>
                    <a:pt x="206" y="2058"/>
                  </a:lnTo>
                  <a:lnTo>
                    <a:pt x="217" y="2055"/>
                  </a:lnTo>
                  <a:lnTo>
                    <a:pt x="228" y="2051"/>
                  </a:lnTo>
                  <a:lnTo>
                    <a:pt x="238" y="2046"/>
                  </a:lnTo>
                  <a:lnTo>
                    <a:pt x="246" y="2040"/>
                  </a:lnTo>
                  <a:lnTo>
                    <a:pt x="254" y="2034"/>
                  </a:lnTo>
                  <a:lnTo>
                    <a:pt x="261" y="2027"/>
                  </a:lnTo>
                  <a:lnTo>
                    <a:pt x="267" y="2018"/>
                  </a:lnTo>
                  <a:lnTo>
                    <a:pt x="273" y="2009"/>
                  </a:lnTo>
                  <a:lnTo>
                    <a:pt x="277" y="2000"/>
                  </a:lnTo>
                  <a:lnTo>
                    <a:pt x="281" y="1990"/>
                  </a:lnTo>
                  <a:lnTo>
                    <a:pt x="283" y="1979"/>
                  </a:lnTo>
                  <a:lnTo>
                    <a:pt x="284" y="1967"/>
                  </a:lnTo>
                  <a:lnTo>
                    <a:pt x="286" y="1954"/>
                  </a:lnTo>
                  <a:lnTo>
                    <a:pt x="286" y="1954"/>
                  </a:lnTo>
                  <a:close/>
                  <a:moveTo>
                    <a:pt x="168" y="2006"/>
                  </a:moveTo>
                  <a:lnTo>
                    <a:pt x="87" y="2006"/>
                  </a:lnTo>
                  <a:lnTo>
                    <a:pt x="87" y="1909"/>
                  </a:lnTo>
                  <a:lnTo>
                    <a:pt x="168" y="1909"/>
                  </a:lnTo>
                  <a:lnTo>
                    <a:pt x="168" y="1909"/>
                  </a:lnTo>
                  <a:lnTo>
                    <a:pt x="180" y="1910"/>
                  </a:lnTo>
                  <a:lnTo>
                    <a:pt x="190" y="1912"/>
                  </a:lnTo>
                  <a:lnTo>
                    <a:pt x="199" y="1915"/>
                  </a:lnTo>
                  <a:lnTo>
                    <a:pt x="206" y="1921"/>
                  </a:lnTo>
                  <a:lnTo>
                    <a:pt x="212" y="1928"/>
                  </a:lnTo>
                  <a:lnTo>
                    <a:pt x="216" y="1936"/>
                  </a:lnTo>
                  <a:lnTo>
                    <a:pt x="218" y="1946"/>
                  </a:lnTo>
                  <a:lnTo>
                    <a:pt x="219" y="1957"/>
                  </a:lnTo>
                  <a:lnTo>
                    <a:pt x="219" y="1957"/>
                  </a:lnTo>
                  <a:lnTo>
                    <a:pt x="218" y="1968"/>
                  </a:lnTo>
                  <a:lnTo>
                    <a:pt x="216" y="1978"/>
                  </a:lnTo>
                  <a:lnTo>
                    <a:pt x="211" y="1986"/>
                  </a:lnTo>
                  <a:lnTo>
                    <a:pt x="206" y="1992"/>
                  </a:lnTo>
                  <a:lnTo>
                    <a:pt x="199" y="1998"/>
                  </a:lnTo>
                  <a:lnTo>
                    <a:pt x="190" y="2002"/>
                  </a:lnTo>
                  <a:lnTo>
                    <a:pt x="179" y="2005"/>
                  </a:lnTo>
                  <a:lnTo>
                    <a:pt x="168" y="2006"/>
                  </a:lnTo>
                  <a:lnTo>
                    <a:pt x="168" y="2006"/>
                  </a:lnTo>
                  <a:close/>
                  <a:moveTo>
                    <a:pt x="167" y="1854"/>
                  </a:moveTo>
                  <a:lnTo>
                    <a:pt x="87" y="1854"/>
                  </a:lnTo>
                  <a:lnTo>
                    <a:pt x="87" y="1782"/>
                  </a:lnTo>
                  <a:lnTo>
                    <a:pt x="164" y="1782"/>
                  </a:lnTo>
                  <a:lnTo>
                    <a:pt x="164" y="1782"/>
                  </a:lnTo>
                  <a:lnTo>
                    <a:pt x="174" y="1783"/>
                  </a:lnTo>
                  <a:lnTo>
                    <a:pt x="184" y="1784"/>
                  </a:lnTo>
                  <a:lnTo>
                    <a:pt x="191" y="1787"/>
                  </a:lnTo>
                  <a:lnTo>
                    <a:pt x="197" y="1791"/>
                  </a:lnTo>
                  <a:lnTo>
                    <a:pt x="202" y="1797"/>
                  </a:lnTo>
                  <a:lnTo>
                    <a:pt x="206" y="1803"/>
                  </a:lnTo>
                  <a:lnTo>
                    <a:pt x="207" y="1810"/>
                  </a:lnTo>
                  <a:lnTo>
                    <a:pt x="208" y="1819"/>
                  </a:lnTo>
                  <a:lnTo>
                    <a:pt x="208" y="1819"/>
                  </a:lnTo>
                  <a:lnTo>
                    <a:pt x="208" y="1825"/>
                  </a:lnTo>
                  <a:lnTo>
                    <a:pt x="207" y="1831"/>
                  </a:lnTo>
                  <a:lnTo>
                    <a:pt x="205" y="1837"/>
                  </a:lnTo>
                  <a:lnTo>
                    <a:pt x="201" y="1842"/>
                  </a:lnTo>
                  <a:lnTo>
                    <a:pt x="195" y="1847"/>
                  </a:lnTo>
                  <a:lnTo>
                    <a:pt x="188" y="1850"/>
                  </a:lnTo>
                  <a:lnTo>
                    <a:pt x="179" y="1853"/>
                  </a:lnTo>
                  <a:lnTo>
                    <a:pt x="167" y="1854"/>
                  </a:lnTo>
                  <a:lnTo>
                    <a:pt x="167" y="1854"/>
                  </a:lnTo>
                  <a:close/>
                  <a:moveTo>
                    <a:pt x="329" y="1956"/>
                  </a:moveTo>
                  <a:lnTo>
                    <a:pt x="329" y="1816"/>
                  </a:lnTo>
                  <a:lnTo>
                    <a:pt x="390" y="1816"/>
                  </a:lnTo>
                  <a:lnTo>
                    <a:pt x="390" y="1952"/>
                  </a:lnTo>
                  <a:lnTo>
                    <a:pt x="390" y="1952"/>
                  </a:lnTo>
                  <a:lnTo>
                    <a:pt x="390" y="1965"/>
                  </a:lnTo>
                  <a:lnTo>
                    <a:pt x="392" y="1979"/>
                  </a:lnTo>
                  <a:lnTo>
                    <a:pt x="396" y="1989"/>
                  </a:lnTo>
                  <a:lnTo>
                    <a:pt x="401" y="1997"/>
                  </a:lnTo>
                  <a:lnTo>
                    <a:pt x="407" y="2003"/>
                  </a:lnTo>
                  <a:lnTo>
                    <a:pt x="414" y="2008"/>
                  </a:lnTo>
                  <a:lnTo>
                    <a:pt x="424" y="2011"/>
                  </a:lnTo>
                  <a:lnTo>
                    <a:pt x="435" y="2012"/>
                  </a:lnTo>
                  <a:lnTo>
                    <a:pt x="435" y="2012"/>
                  </a:lnTo>
                  <a:lnTo>
                    <a:pt x="446" y="2011"/>
                  </a:lnTo>
                  <a:lnTo>
                    <a:pt x="455" y="2008"/>
                  </a:lnTo>
                  <a:lnTo>
                    <a:pt x="463" y="2003"/>
                  </a:lnTo>
                  <a:lnTo>
                    <a:pt x="470" y="1997"/>
                  </a:lnTo>
                  <a:lnTo>
                    <a:pt x="474" y="1989"/>
                  </a:lnTo>
                  <a:lnTo>
                    <a:pt x="478" y="1978"/>
                  </a:lnTo>
                  <a:lnTo>
                    <a:pt x="481" y="1965"/>
                  </a:lnTo>
                  <a:lnTo>
                    <a:pt x="481" y="1952"/>
                  </a:lnTo>
                  <a:lnTo>
                    <a:pt x="481" y="1816"/>
                  </a:lnTo>
                  <a:lnTo>
                    <a:pt x="542" y="1816"/>
                  </a:lnTo>
                  <a:lnTo>
                    <a:pt x="542" y="2062"/>
                  </a:lnTo>
                  <a:lnTo>
                    <a:pt x="481" y="2062"/>
                  </a:lnTo>
                  <a:lnTo>
                    <a:pt x="481" y="2043"/>
                  </a:lnTo>
                  <a:lnTo>
                    <a:pt x="481" y="2043"/>
                  </a:lnTo>
                  <a:lnTo>
                    <a:pt x="476" y="2049"/>
                  </a:lnTo>
                  <a:lnTo>
                    <a:pt x="468" y="2054"/>
                  </a:lnTo>
                  <a:lnTo>
                    <a:pt x="462" y="2058"/>
                  </a:lnTo>
                  <a:lnTo>
                    <a:pt x="455" y="2061"/>
                  </a:lnTo>
                  <a:lnTo>
                    <a:pt x="447" y="2065"/>
                  </a:lnTo>
                  <a:lnTo>
                    <a:pt x="439" y="2066"/>
                  </a:lnTo>
                  <a:lnTo>
                    <a:pt x="430" y="2067"/>
                  </a:lnTo>
                  <a:lnTo>
                    <a:pt x="422" y="2068"/>
                  </a:lnTo>
                  <a:lnTo>
                    <a:pt x="422" y="2068"/>
                  </a:lnTo>
                  <a:lnTo>
                    <a:pt x="407" y="2067"/>
                  </a:lnTo>
                  <a:lnTo>
                    <a:pt x="395" y="2065"/>
                  </a:lnTo>
                  <a:lnTo>
                    <a:pt x="384" y="2061"/>
                  </a:lnTo>
                  <a:lnTo>
                    <a:pt x="373" y="2056"/>
                  </a:lnTo>
                  <a:lnTo>
                    <a:pt x="364" y="2050"/>
                  </a:lnTo>
                  <a:lnTo>
                    <a:pt x="357" y="2044"/>
                  </a:lnTo>
                  <a:lnTo>
                    <a:pt x="351" y="2035"/>
                  </a:lnTo>
                  <a:lnTo>
                    <a:pt x="344" y="2027"/>
                  </a:lnTo>
                  <a:lnTo>
                    <a:pt x="341" y="2018"/>
                  </a:lnTo>
                  <a:lnTo>
                    <a:pt x="337" y="2009"/>
                  </a:lnTo>
                  <a:lnTo>
                    <a:pt x="332" y="1990"/>
                  </a:lnTo>
                  <a:lnTo>
                    <a:pt x="330" y="1972"/>
                  </a:lnTo>
                  <a:lnTo>
                    <a:pt x="329" y="1956"/>
                  </a:lnTo>
                  <a:lnTo>
                    <a:pt x="329" y="1956"/>
                  </a:lnTo>
                  <a:close/>
                  <a:moveTo>
                    <a:pt x="1260" y="2062"/>
                  </a:moveTo>
                  <a:lnTo>
                    <a:pt x="1199" y="2062"/>
                  </a:lnTo>
                  <a:lnTo>
                    <a:pt x="1199" y="1816"/>
                  </a:lnTo>
                  <a:lnTo>
                    <a:pt x="1260" y="1816"/>
                  </a:lnTo>
                  <a:lnTo>
                    <a:pt x="1260" y="1837"/>
                  </a:lnTo>
                  <a:lnTo>
                    <a:pt x="1260" y="1837"/>
                  </a:lnTo>
                  <a:lnTo>
                    <a:pt x="1266" y="1831"/>
                  </a:lnTo>
                  <a:lnTo>
                    <a:pt x="1272" y="1825"/>
                  </a:lnTo>
                  <a:lnTo>
                    <a:pt x="1280" y="1821"/>
                  </a:lnTo>
                  <a:lnTo>
                    <a:pt x="1287" y="1817"/>
                  </a:lnTo>
                  <a:lnTo>
                    <a:pt x="1296" y="1814"/>
                  </a:lnTo>
                  <a:lnTo>
                    <a:pt x="1303" y="1813"/>
                  </a:lnTo>
                  <a:lnTo>
                    <a:pt x="1313" y="1811"/>
                  </a:lnTo>
                  <a:lnTo>
                    <a:pt x="1321" y="1810"/>
                  </a:lnTo>
                  <a:lnTo>
                    <a:pt x="1321" y="1810"/>
                  </a:lnTo>
                  <a:lnTo>
                    <a:pt x="1333" y="1811"/>
                  </a:lnTo>
                  <a:lnTo>
                    <a:pt x="1342" y="1813"/>
                  </a:lnTo>
                  <a:lnTo>
                    <a:pt x="1352" y="1815"/>
                  </a:lnTo>
                  <a:lnTo>
                    <a:pt x="1361" y="1817"/>
                  </a:lnTo>
                  <a:lnTo>
                    <a:pt x="1369" y="1821"/>
                  </a:lnTo>
                  <a:lnTo>
                    <a:pt x="1377" y="1827"/>
                  </a:lnTo>
                  <a:lnTo>
                    <a:pt x="1383" y="1832"/>
                  </a:lnTo>
                  <a:lnTo>
                    <a:pt x="1389" y="1839"/>
                  </a:lnTo>
                  <a:lnTo>
                    <a:pt x="1395" y="1847"/>
                  </a:lnTo>
                  <a:lnTo>
                    <a:pt x="1399" y="1855"/>
                  </a:lnTo>
                  <a:lnTo>
                    <a:pt x="1404" y="1864"/>
                  </a:lnTo>
                  <a:lnTo>
                    <a:pt x="1406" y="1874"/>
                  </a:lnTo>
                  <a:lnTo>
                    <a:pt x="1409" y="1885"/>
                  </a:lnTo>
                  <a:lnTo>
                    <a:pt x="1411" y="1897"/>
                  </a:lnTo>
                  <a:lnTo>
                    <a:pt x="1412" y="1909"/>
                  </a:lnTo>
                  <a:lnTo>
                    <a:pt x="1412" y="1923"/>
                  </a:lnTo>
                  <a:lnTo>
                    <a:pt x="1412" y="2062"/>
                  </a:lnTo>
                  <a:lnTo>
                    <a:pt x="1351" y="2062"/>
                  </a:lnTo>
                  <a:lnTo>
                    <a:pt x="1351" y="1926"/>
                  </a:lnTo>
                  <a:lnTo>
                    <a:pt x="1351" y="1926"/>
                  </a:lnTo>
                  <a:lnTo>
                    <a:pt x="1351" y="1912"/>
                  </a:lnTo>
                  <a:lnTo>
                    <a:pt x="1348" y="1899"/>
                  </a:lnTo>
                  <a:lnTo>
                    <a:pt x="1345" y="1890"/>
                  </a:lnTo>
                  <a:lnTo>
                    <a:pt x="1340" y="1881"/>
                  </a:lnTo>
                  <a:lnTo>
                    <a:pt x="1334" y="1875"/>
                  </a:lnTo>
                  <a:lnTo>
                    <a:pt x="1326" y="1870"/>
                  </a:lnTo>
                  <a:lnTo>
                    <a:pt x="1318" y="1868"/>
                  </a:lnTo>
                  <a:lnTo>
                    <a:pt x="1307" y="1866"/>
                  </a:lnTo>
                  <a:lnTo>
                    <a:pt x="1307" y="1866"/>
                  </a:lnTo>
                  <a:lnTo>
                    <a:pt x="1296" y="1868"/>
                  </a:lnTo>
                  <a:lnTo>
                    <a:pt x="1286" y="1870"/>
                  </a:lnTo>
                  <a:lnTo>
                    <a:pt x="1279" y="1875"/>
                  </a:lnTo>
                  <a:lnTo>
                    <a:pt x="1272" y="1881"/>
                  </a:lnTo>
                  <a:lnTo>
                    <a:pt x="1266" y="1890"/>
                  </a:lnTo>
                  <a:lnTo>
                    <a:pt x="1263" y="1901"/>
                  </a:lnTo>
                  <a:lnTo>
                    <a:pt x="1260" y="1913"/>
                  </a:lnTo>
                  <a:lnTo>
                    <a:pt x="1260" y="1926"/>
                  </a:lnTo>
                  <a:lnTo>
                    <a:pt x="1260" y="2062"/>
                  </a:lnTo>
                  <a:close/>
                  <a:moveTo>
                    <a:pt x="658" y="1939"/>
                  </a:moveTo>
                  <a:lnTo>
                    <a:pt x="658" y="2062"/>
                  </a:lnTo>
                  <a:lnTo>
                    <a:pt x="597" y="2062"/>
                  </a:lnTo>
                  <a:lnTo>
                    <a:pt x="597" y="1816"/>
                  </a:lnTo>
                  <a:lnTo>
                    <a:pt x="658" y="1816"/>
                  </a:lnTo>
                  <a:lnTo>
                    <a:pt x="658" y="1939"/>
                  </a:lnTo>
                  <a:close/>
                  <a:moveTo>
                    <a:pt x="712" y="1744"/>
                  </a:moveTo>
                  <a:lnTo>
                    <a:pt x="774" y="1713"/>
                  </a:lnTo>
                  <a:lnTo>
                    <a:pt x="774" y="1936"/>
                  </a:lnTo>
                  <a:lnTo>
                    <a:pt x="774" y="2062"/>
                  </a:lnTo>
                  <a:lnTo>
                    <a:pt x="712" y="2062"/>
                  </a:lnTo>
                  <a:lnTo>
                    <a:pt x="712" y="1744"/>
                  </a:lnTo>
                  <a:close/>
                  <a:moveTo>
                    <a:pt x="967" y="1833"/>
                  </a:moveTo>
                  <a:lnTo>
                    <a:pt x="967" y="1833"/>
                  </a:lnTo>
                  <a:lnTo>
                    <a:pt x="962" y="1827"/>
                  </a:lnTo>
                  <a:lnTo>
                    <a:pt x="956" y="1824"/>
                  </a:lnTo>
                  <a:lnTo>
                    <a:pt x="949" y="1819"/>
                  </a:lnTo>
                  <a:lnTo>
                    <a:pt x="943" y="1816"/>
                  </a:lnTo>
                  <a:lnTo>
                    <a:pt x="935" y="1814"/>
                  </a:lnTo>
                  <a:lnTo>
                    <a:pt x="928" y="1811"/>
                  </a:lnTo>
                  <a:lnTo>
                    <a:pt x="913" y="1810"/>
                  </a:lnTo>
                  <a:lnTo>
                    <a:pt x="913" y="1810"/>
                  </a:lnTo>
                  <a:lnTo>
                    <a:pt x="902" y="1811"/>
                  </a:lnTo>
                  <a:lnTo>
                    <a:pt x="891" y="1813"/>
                  </a:lnTo>
                  <a:lnTo>
                    <a:pt x="881" y="1815"/>
                  </a:lnTo>
                  <a:lnTo>
                    <a:pt x="873" y="1819"/>
                  </a:lnTo>
                  <a:lnTo>
                    <a:pt x="864" y="1824"/>
                  </a:lnTo>
                  <a:lnTo>
                    <a:pt x="856" y="1830"/>
                  </a:lnTo>
                  <a:lnTo>
                    <a:pt x="848" y="1837"/>
                  </a:lnTo>
                  <a:lnTo>
                    <a:pt x="842" y="1844"/>
                  </a:lnTo>
                  <a:lnTo>
                    <a:pt x="836" y="1853"/>
                  </a:lnTo>
                  <a:lnTo>
                    <a:pt x="831" y="1863"/>
                  </a:lnTo>
                  <a:lnTo>
                    <a:pt x="826" y="1872"/>
                  </a:lnTo>
                  <a:lnTo>
                    <a:pt x="823" y="1883"/>
                  </a:lnTo>
                  <a:lnTo>
                    <a:pt x="820" y="1896"/>
                  </a:lnTo>
                  <a:lnTo>
                    <a:pt x="818" y="1909"/>
                  </a:lnTo>
                  <a:lnTo>
                    <a:pt x="816" y="1923"/>
                  </a:lnTo>
                  <a:lnTo>
                    <a:pt x="816" y="1936"/>
                  </a:lnTo>
                  <a:lnTo>
                    <a:pt x="816" y="1936"/>
                  </a:lnTo>
                  <a:lnTo>
                    <a:pt x="816" y="1952"/>
                  </a:lnTo>
                  <a:lnTo>
                    <a:pt x="818" y="1965"/>
                  </a:lnTo>
                  <a:lnTo>
                    <a:pt x="820" y="1979"/>
                  </a:lnTo>
                  <a:lnTo>
                    <a:pt x="823" y="1991"/>
                  </a:lnTo>
                  <a:lnTo>
                    <a:pt x="826" y="2003"/>
                  </a:lnTo>
                  <a:lnTo>
                    <a:pt x="830" y="2014"/>
                  </a:lnTo>
                  <a:lnTo>
                    <a:pt x="835" y="2024"/>
                  </a:lnTo>
                  <a:lnTo>
                    <a:pt x="841" y="2033"/>
                  </a:lnTo>
                  <a:lnTo>
                    <a:pt x="848" y="2041"/>
                  </a:lnTo>
                  <a:lnTo>
                    <a:pt x="854" y="2047"/>
                  </a:lnTo>
                  <a:lnTo>
                    <a:pt x="863" y="2054"/>
                  </a:lnTo>
                  <a:lnTo>
                    <a:pt x="872" y="2058"/>
                  </a:lnTo>
                  <a:lnTo>
                    <a:pt x="880" y="2062"/>
                  </a:lnTo>
                  <a:lnTo>
                    <a:pt x="890" y="2066"/>
                  </a:lnTo>
                  <a:lnTo>
                    <a:pt x="901" y="2067"/>
                  </a:lnTo>
                  <a:lnTo>
                    <a:pt x="912" y="2068"/>
                  </a:lnTo>
                  <a:lnTo>
                    <a:pt x="912" y="2068"/>
                  </a:lnTo>
                  <a:lnTo>
                    <a:pt x="919" y="2067"/>
                  </a:lnTo>
                  <a:lnTo>
                    <a:pt x="927" y="2066"/>
                  </a:lnTo>
                  <a:lnTo>
                    <a:pt x="934" y="2065"/>
                  </a:lnTo>
                  <a:lnTo>
                    <a:pt x="941" y="2062"/>
                  </a:lnTo>
                  <a:lnTo>
                    <a:pt x="948" y="2058"/>
                  </a:lnTo>
                  <a:lnTo>
                    <a:pt x="955" y="2055"/>
                  </a:lnTo>
                  <a:lnTo>
                    <a:pt x="961" y="2050"/>
                  </a:lnTo>
                  <a:lnTo>
                    <a:pt x="967" y="2044"/>
                  </a:lnTo>
                  <a:lnTo>
                    <a:pt x="967" y="2062"/>
                  </a:lnTo>
                  <a:lnTo>
                    <a:pt x="1029" y="2062"/>
                  </a:lnTo>
                  <a:lnTo>
                    <a:pt x="1029" y="1713"/>
                  </a:lnTo>
                  <a:lnTo>
                    <a:pt x="967" y="1744"/>
                  </a:lnTo>
                  <a:lnTo>
                    <a:pt x="967" y="1833"/>
                  </a:lnTo>
                  <a:close/>
                  <a:moveTo>
                    <a:pt x="924" y="2012"/>
                  </a:moveTo>
                  <a:lnTo>
                    <a:pt x="924" y="2012"/>
                  </a:lnTo>
                  <a:lnTo>
                    <a:pt x="917" y="2011"/>
                  </a:lnTo>
                  <a:lnTo>
                    <a:pt x="908" y="2008"/>
                  </a:lnTo>
                  <a:lnTo>
                    <a:pt x="901" y="2005"/>
                  </a:lnTo>
                  <a:lnTo>
                    <a:pt x="894" y="1997"/>
                  </a:lnTo>
                  <a:lnTo>
                    <a:pt x="888" y="1987"/>
                  </a:lnTo>
                  <a:lnTo>
                    <a:pt x="883" y="1974"/>
                  </a:lnTo>
                  <a:lnTo>
                    <a:pt x="879" y="1957"/>
                  </a:lnTo>
                  <a:lnTo>
                    <a:pt x="878" y="1935"/>
                  </a:lnTo>
                  <a:lnTo>
                    <a:pt x="878" y="1935"/>
                  </a:lnTo>
                  <a:lnTo>
                    <a:pt x="879" y="1915"/>
                  </a:lnTo>
                  <a:lnTo>
                    <a:pt x="883" y="1901"/>
                  </a:lnTo>
                  <a:lnTo>
                    <a:pt x="888" y="1888"/>
                  </a:lnTo>
                  <a:lnTo>
                    <a:pt x="894" y="1880"/>
                  </a:lnTo>
                  <a:lnTo>
                    <a:pt x="900" y="1872"/>
                  </a:lnTo>
                  <a:lnTo>
                    <a:pt x="908" y="1869"/>
                  </a:lnTo>
                  <a:lnTo>
                    <a:pt x="916" y="1866"/>
                  </a:lnTo>
                  <a:lnTo>
                    <a:pt x="924" y="1866"/>
                  </a:lnTo>
                  <a:lnTo>
                    <a:pt x="924" y="1866"/>
                  </a:lnTo>
                  <a:lnTo>
                    <a:pt x="932" y="1866"/>
                  </a:lnTo>
                  <a:lnTo>
                    <a:pt x="939" y="1869"/>
                  </a:lnTo>
                  <a:lnTo>
                    <a:pt x="946" y="1871"/>
                  </a:lnTo>
                  <a:lnTo>
                    <a:pt x="951" y="1875"/>
                  </a:lnTo>
                  <a:lnTo>
                    <a:pt x="956" y="1879"/>
                  </a:lnTo>
                  <a:lnTo>
                    <a:pt x="961" y="1882"/>
                  </a:lnTo>
                  <a:lnTo>
                    <a:pt x="967" y="1891"/>
                  </a:lnTo>
                  <a:lnTo>
                    <a:pt x="967" y="1987"/>
                  </a:lnTo>
                  <a:lnTo>
                    <a:pt x="967" y="1987"/>
                  </a:lnTo>
                  <a:lnTo>
                    <a:pt x="960" y="1996"/>
                  </a:lnTo>
                  <a:lnTo>
                    <a:pt x="951" y="2003"/>
                  </a:lnTo>
                  <a:lnTo>
                    <a:pt x="946" y="2007"/>
                  </a:lnTo>
                  <a:lnTo>
                    <a:pt x="939" y="2009"/>
                  </a:lnTo>
                  <a:lnTo>
                    <a:pt x="933" y="2011"/>
                  </a:lnTo>
                  <a:lnTo>
                    <a:pt x="924" y="2012"/>
                  </a:lnTo>
                  <a:lnTo>
                    <a:pt x="924" y="2012"/>
                  </a:lnTo>
                  <a:close/>
                  <a:moveTo>
                    <a:pt x="2299" y="1810"/>
                  </a:moveTo>
                  <a:lnTo>
                    <a:pt x="2299" y="1810"/>
                  </a:lnTo>
                  <a:lnTo>
                    <a:pt x="2292" y="1811"/>
                  </a:lnTo>
                  <a:lnTo>
                    <a:pt x="2285" y="1813"/>
                  </a:lnTo>
                  <a:lnTo>
                    <a:pt x="2270" y="1816"/>
                  </a:lnTo>
                  <a:lnTo>
                    <a:pt x="2257" y="1824"/>
                  </a:lnTo>
                  <a:lnTo>
                    <a:pt x="2245" y="1833"/>
                  </a:lnTo>
                  <a:lnTo>
                    <a:pt x="2245" y="1720"/>
                  </a:lnTo>
                  <a:lnTo>
                    <a:pt x="2183" y="1750"/>
                  </a:lnTo>
                  <a:lnTo>
                    <a:pt x="2183" y="2062"/>
                  </a:lnTo>
                  <a:lnTo>
                    <a:pt x="2245" y="2062"/>
                  </a:lnTo>
                  <a:lnTo>
                    <a:pt x="2245" y="2044"/>
                  </a:lnTo>
                  <a:lnTo>
                    <a:pt x="2245" y="2044"/>
                  </a:lnTo>
                  <a:lnTo>
                    <a:pt x="2249" y="2050"/>
                  </a:lnTo>
                  <a:lnTo>
                    <a:pt x="2257" y="2055"/>
                  </a:lnTo>
                  <a:lnTo>
                    <a:pt x="2263" y="2058"/>
                  </a:lnTo>
                  <a:lnTo>
                    <a:pt x="2270" y="2062"/>
                  </a:lnTo>
                  <a:lnTo>
                    <a:pt x="2276" y="2065"/>
                  </a:lnTo>
                  <a:lnTo>
                    <a:pt x="2285" y="2066"/>
                  </a:lnTo>
                  <a:lnTo>
                    <a:pt x="2292" y="2067"/>
                  </a:lnTo>
                  <a:lnTo>
                    <a:pt x="2300" y="2068"/>
                  </a:lnTo>
                  <a:lnTo>
                    <a:pt x="2300" y="2068"/>
                  </a:lnTo>
                  <a:lnTo>
                    <a:pt x="2311" y="2067"/>
                  </a:lnTo>
                  <a:lnTo>
                    <a:pt x="2322" y="2066"/>
                  </a:lnTo>
                  <a:lnTo>
                    <a:pt x="2332" y="2063"/>
                  </a:lnTo>
                  <a:lnTo>
                    <a:pt x="2341" y="2058"/>
                  </a:lnTo>
                  <a:lnTo>
                    <a:pt x="2350" y="2054"/>
                  </a:lnTo>
                  <a:lnTo>
                    <a:pt x="2357" y="2049"/>
                  </a:lnTo>
                  <a:lnTo>
                    <a:pt x="2365" y="2041"/>
                  </a:lnTo>
                  <a:lnTo>
                    <a:pt x="2371" y="2034"/>
                  </a:lnTo>
                  <a:lnTo>
                    <a:pt x="2377" y="2024"/>
                  </a:lnTo>
                  <a:lnTo>
                    <a:pt x="2382" y="2014"/>
                  </a:lnTo>
                  <a:lnTo>
                    <a:pt x="2386" y="2003"/>
                  </a:lnTo>
                  <a:lnTo>
                    <a:pt x="2389" y="1992"/>
                  </a:lnTo>
                  <a:lnTo>
                    <a:pt x="2393" y="1980"/>
                  </a:lnTo>
                  <a:lnTo>
                    <a:pt x="2394" y="1967"/>
                  </a:lnTo>
                  <a:lnTo>
                    <a:pt x="2395" y="1952"/>
                  </a:lnTo>
                  <a:lnTo>
                    <a:pt x="2397" y="1936"/>
                  </a:lnTo>
                  <a:lnTo>
                    <a:pt x="2397" y="1936"/>
                  </a:lnTo>
                  <a:lnTo>
                    <a:pt x="2395" y="1923"/>
                  </a:lnTo>
                  <a:lnTo>
                    <a:pt x="2394" y="1909"/>
                  </a:lnTo>
                  <a:lnTo>
                    <a:pt x="2392" y="1896"/>
                  </a:lnTo>
                  <a:lnTo>
                    <a:pt x="2389" y="1883"/>
                  </a:lnTo>
                  <a:lnTo>
                    <a:pt x="2386" y="1872"/>
                  </a:lnTo>
                  <a:lnTo>
                    <a:pt x="2381" y="1863"/>
                  </a:lnTo>
                  <a:lnTo>
                    <a:pt x="2376" y="1853"/>
                  </a:lnTo>
                  <a:lnTo>
                    <a:pt x="2370" y="1844"/>
                  </a:lnTo>
                  <a:lnTo>
                    <a:pt x="2363" y="1837"/>
                  </a:lnTo>
                  <a:lnTo>
                    <a:pt x="2356" y="1830"/>
                  </a:lnTo>
                  <a:lnTo>
                    <a:pt x="2348" y="1824"/>
                  </a:lnTo>
                  <a:lnTo>
                    <a:pt x="2339" y="1819"/>
                  </a:lnTo>
                  <a:lnTo>
                    <a:pt x="2330" y="1815"/>
                  </a:lnTo>
                  <a:lnTo>
                    <a:pt x="2321" y="1813"/>
                  </a:lnTo>
                  <a:lnTo>
                    <a:pt x="2310" y="1811"/>
                  </a:lnTo>
                  <a:lnTo>
                    <a:pt x="2299" y="1810"/>
                  </a:lnTo>
                  <a:lnTo>
                    <a:pt x="2299" y="1810"/>
                  </a:lnTo>
                  <a:close/>
                  <a:moveTo>
                    <a:pt x="2287" y="1866"/>
                  </a:moveTo>
                  <a:lnTo>
                    <a:pt x="2287" y="1866"/>
                  </a:lnTo>
                  <a:lnTo>
                    <a:pt x="2296" y="1868"/>
                  </a:lnTo>
                  <a:lnTo>
                    <a:pt x="2305" y="1870"/>
                  </a:lnTo>
                  <a:lnTo>
                    <a:pt x="2312" y="1875"/>
                  </a:lnTo>
                  <a:lnTo>
                    <a:pt x="2319" y="1882"/>
                  </a:lnTo>
                  <a:lnTo>
                    <a:pt x="2325" y="1891"/>
                  </a:lnTo>
                  <a:lnTo>
                    <a:pt x="2329" y="1903"/>
                  </a:lnTo>
                  <a:lnTo>
                    <a:pt x="2333" y="1918"/>
                  </a:lnTo>
                  <a:lnTo>
                    <a:pt x="2334" y="1935"/>
                  </a:lnTo>
                  <a:lnTo>
                    <a:pt x="2334" y="1935"/>
                  </a:lnTo>
                  <a:lnTo>
                    <a:pt x="2333" y="1953"/>
                  </a:lnTo>
                  <a:lnTo>
                    <a:pt x="2330" y="1969"/>
                  </a:lnTo>
                  <a:lnTo>
                    <a:pt x="2328" y="1981"/>
                  </a:lnTo>
                  <a:lnTo>
                    <a:pt x="2323" y="1992"/>
                  </a:lnTo>
                  <a:lnTo>
                    <a:pt x="2316" y="2001"/>
                  </a:lnTo>
                  <a:lnTo>
                    <a:pt x="2308" y="2007"/>
                  </a:lnTo>
                  <a:lnTo>
                    <a:pt x="2300" y="2011"/>
                  </a:lnTo>
                  <a:lnTo>
                    <a:pt x="2289" y="2012"/>
                  </a:lnTo>
                  <a:lnTo>
                    <a:pt x="2289" y="2012"/>
                  </a:lnTo>
                  <a:lnTo>
                    <a:pt x="2280" y="2011"/>
                  </a:lnTo>
                  <a:lnTo>
                    <a:pt x="2273" y="2009"/>
                  </a:lnTo>
                  <a:lnTo>
                    <a:pt x="2267" y="2006"/>
                  </a:lnTo>
                  <a:lnTo>
                    <a:pt x="2261" y="2003"/>
                  </a:lnTo>
                  <a:lnTo>
                    <a:pt x="2251" y="1995"/>
                  </a:lnTo>
                  <a:lnTo>
                    <a:pt x="2245" y="1989"/>
                  </a:lnTo>
                  <a:lnTo>
                    <a:pt x="2245" y="1891"/>
                  </a:lnTo>
                  <a:lnTo>
                    <a:pt x="2245" y="1891"/>
                  </a:lnTo>
                  <a:lnTo>
                    <a:pt x="2248" y="1886"/>
                  </a:lnTo>
                  <a:lnTo>
                    <a:pt x="2253" y="1881"/>
                  </a:lnTo>
                  <a:lnTo>
                    <a:pt x="2258" y="1876"/>
                  </a:lnTo>
                  <a:lnTo>
                    <a:pt x="2263" y="1872"/>
                  </a:lnTo>
                  <a:lnTo>
                    <a:pt x="2269" y="1870"/>
                  </a:lnTo>
                  <a:lnTo>
                    <a:pt x="2275" y="1868"/>
                  </a:lnTo>
                  <a:lnTo>
                    <a:pt x="2281" y="1866"/>
                  </a:lnTo>
                  <a:lnTo>
                    <a:pt x="2287" y="1866"/>
                  </a:lnTo>
                  <a:lnTo>
                    <a:pt x="2287" y="1866"/>
                  </a:lnTo>
                  <a:close/>
                  <a:moveTo>
                    <a:pt x="1605" y="1833"/>
                  </a:moveTo>
                  <a:lnTo>
                    <a:pt x="1605" y="1833"/>
                  </a:lnTo>
                  <a:lnTo>
                    <a:pt x="1600" y="1828"/>
                  </a:lnTo>
                  <a:lnTo>
                    <a:pt x="1594" y="1824"/>
                  </a:lnTo>
                  <a:lnTo>
                    <a:pt x="1586" y="1820"/>
                  </a:lnTo>
                  <a:lnTo>
                    <a:pt x="1580" y="1816"/>
                  </a:lnTo>
                  <a:lnTo>
                    <a:pt x="1573" y="1814"/>
                  </a:lnTo>
                  <a:lnTo>
                    <a:pt x="1565" y="1811"/>
                  </a:lnTo>
                  <a:lnTo>
                    <a:pt x="1558" y="1811"/>
                  </a:lnTo>
                  <a:lnTo>
                    <a:pt x="1551" y="1810"/>
                  </a:lnTo>
                  <a:lnTo>
                    <a:pt x="1551" y="1810"/>
                  </a:lnTo>
                  <a:lnTo>
                    <a:pt x="1540" y="1811"/>
                  </a:lnTo>
                  <a:lnTo>
                    <a:pt x="1529" y="1813"/>
                  </a:lnTo>
                  <a:lnTo>
                    <a:pt x="1519" y="1815"/>
                  </a:lnTo>
                  <a:lnTo>
                    <a:pt x="1510" y="1819"/>
                  </a:lnTo>
                  <a:lnTo>
                    <a:pt x="1502" y="1824"/>
                  </a:lnTo>
                  <a:lnTo>
                    <a:pt x="1493" y="1830"/>
                  </a:lnTo>
                  <a:lnTo>
                    <a:pt x="1486" y="1837"/>
                  </a:lnTo>
                  <a:lnTo>
                    <a:pt x="1480" y="1844"/>
                  </a:lnTo>
                  <a:lnTo>
                    <a:pt x="1474" y="1853"/>
                  </a:lnTo>
                  <a:lnTo>
                    <a:pt x="1469" y="1863"/>
                  </a:lnTo>
                  <a:lnTo>
                    <a:pt x="1464" y="1872"/>
                  </a:lnTo>
                  <a:lnTo>
                    <a:pt x="1460" y="1883"/>
                  </a:lnTo>
                  <a:lnTo>
                    <a:pt x="1458" y="1896"/>
                  </a:lnTo>
                  <a:lnTo>
                    <a:pt x="1455" y="1909"/>
                  </a:lnTo>
                  <a:lnTo>
                    <a:pt x="1454" y="1923"/>
                  </a:lnTo>
                  <a:lnTo>
                    <a:pt x="1454" y="1936"/>
                  </a:lnTo>
                  <a:lnTo>
                    <a:pt x="1454" y="1936"/>
                  </a:lnTo>
                  <a:lnTo>
                    <a:pt x="1454" y="1952"/>
                  </a:lnTo>
                  <a:lnTo>
                    <a:pt x="1455" y="1965"/>
                  </a:lnTo>
                  <a:lnTo>
                    <a:pt x="1458" y="1979"/>
                  </a:lnTo>
                  <a:lnTo>
                    <a:pt x="1460" y="1991"/>
                  </a:lnTo>
                  <a:lnTo>
                    <a:pt x="1464" y="2003"/>
                  </a:lnTo>
                  <a:lnTo>
                    <a:pt x="1467" y="2014"/>
                  </a:lnTo>
                  <a:lnTo>
                    <a:pt x="1474" y="2024"/>
                  </a:lnTo>
                  <a:lnTo>
                    <a:pt x="1478" y="2033"/>
                  </a:lnTo>
                  <a:lnTo>
                    <a:pt x="1486" y="2041"/>
                  </a:lnTo>
                  <a:lnTo>
                    <a:pt x="1492" y="2047"/>
                  </a:lnTo>
                  <a:lnTo>
                    <a:pt x="1500" y="2054"/>
                  </a:lnTo>
                  <a:lnTo>
                    <a:pt x="1509" y="2058"/>
                  </a:lnTo>
                  <a:lnTo>
                    <a:pt x="1518" y="2062"/>
                  </a:lnTo>
                  <a:lnTo>
                    <a:pt x="1527" y="2066"/>
                  </a:lnTo>
                  <a:lnTo>
                    <a:pt x="1538" y="2067"/>
                  </a:lnTo>
                  <a:lnTo>
                    <a:pt x="1550" y="2067"/>
                  </a:lnTo>
                  <a:lnTo>
                    <a:pt x="1550" y="2067"/>
                  </a:lnTo>
                  <a:lnTo>
                    <a:pt x="1557" y="2067"/>
                  </a:lnTo>
                  <a:lnTo>
                    <a:pt x="1564" y="2066"/>
                  </a:lnTo>
                  <a:lnTo>
                    <a:pt x="1572" y="2065"/>
                  </a:lnTo>
                  <a:lnTo>
                    <a:pt x="1579" y="2062"/>
                  </a:lnTo>
                  <a:lnTo>
                    <a:pt x="1586" y="2058"/>
                  </a:lnTo>
                  <a:lnTo>
                    <a:pt x="1592" y="2054"/>
                  </a:lnTo>
                  <a:lnTo>
                    <a:pt x="1599" y="2050"/>
                  </a:lnTo>
                  <a:lnTo>
                    <a:pt x="1605" y="2044"/>
                  </a:lnTo>
                  <a:lnTo>
                    <a:pt x="1605" y="2050"/>
                  </a:lnTo>
                  <a:lnTo>
                    <a:pt x="1605" y="2050"/>
                  </a:lnTo>
                  <a:lnTo>
                    <a:pt x="1605" y="2060"/>
                  </a:lnTo>
                  <a:lnTo>
                    <a:pt x="1603" y="2071"/>
                  </a:lnTo>
                  <a:lnTo>
                    <a:pt x="1601" y="2082"/>
                  </a:lnTo>
                  <a:lnTo>
                    <a:pt x="1599" y="2087"/>
                  </a:lnTo>
                  <a:lnTo>
                    <a:pt x="1595" y="2091"/>
                  </a:lnTo>
                  <a:lnTo>
                    <a:pt x="1591" y="2096"/>
                  </a:lnTo>
                  <a:lnTo>
                    <a:pt x="1586" y="2101"/>
                  </a:lnTo>
                  <a:lnTo>
                    <a:pt x="1579" y="2105"/>
                  </a:lnTo>
                  <a:lnTo>
                    <a:pt x="1572" y="2107"/>
                  </a:lnTo>
                  <a:lnTo>
                    <a:pt x="1563" y="2111"/>
                  </a:lnTo>
                  <a:lnTo>
                    <a:pt x="1552" y="2112"/>
                  </a:lnTo>
                  <a:lnTo>
                    <a:pt x="1540" y="2115"/>
                  </a:lnTo>
                  <a:lnTo>
                    <a:pt x="1526" y="2115"/>
                  </a:lnTo>
                  <a:lnTo>
                    <a:pt x="1524" y="2115"/>
                  </a:lnTo>
                  <a:lnTo>
                    <a:pt x="1545" y="2162"/>
                  </a:lnTo>
                  <a:lnTo>
                    <a:pt x="1546" y="2162"/>
                  </a:lnTo>
                  <a:lnTo>
                    <a:pt x="1546" y="2162"/>
                  </a:lnTo>
                  <a:lnTo>
                    <a:pt x="1561" y="2162"/>
                  </a:lnTo>
                  <a:lnTo>
                    <a:pt x="1574" y="2160"/>
                  </a:lnTo>
                  <a:lnTo>
                    <a:pt x="1588" y="2158"/>
                  </a:lnTo>
                  <a:lnTo>
                    <a:pt x="1599" y="2154"/>
                  </a:lnTo>
                  <a:lnTo>
                    <a:pt x="1610" y="2150"/>
                  </a:lnTo>
                  <a:lnTo>
                    <a:pt x="1619" y="2145"/>
                  </a:lnTo>
                  <a:lnTo>
                    <a:pt x="1628" y="2138"/>
                  </a:lnTo>
                  <a:lnTo>
                    <a:pt x="1637" y="2132"/>
                  </a:lnTo>
                  <a:lnTo>
                    <a:pt x="1644" y="2123"/>
                  </a:lnTo>
                  <a:lnTo>
                    <a:pt x="1649" y="2113"/>
                  </a:lnTo>
                  <a:lnTo>
                    <a:pt x="1655" y="2104"/>
                  </a:lnTo>
                  <a:lnTo>
                    <a:pt x="1659" y="2093"/>
                  </a:lnTo>
                  <a:lnTo>
                    <a:pt x="1662" y="2080"/>
                  </a:lnTo>
                  <a:lnTo>
                    <a:pt x="1665" y="2068"/>
                  </a:lnTo>
                  <a:lnTo>
                    <a:pt x="1666" y="2055"/>
                  </a:lnTo>
                  <a:lnTo>
                    <a:pt x="1666" y="2039"/>
                  </a:lnTo>
                  <a:lnTo>
                    <a:pt x="1666" y="1816"/>
                  </a:lnTo>
                  <a:lnTo>
                    <a:pt x="1605" y="1816"/>
                  </a:lnTo>
                  <a:lnTo>
                    <a:pt x="1605" y="1833"/>
                  </a:lnTo>
                  <a:close/>
                  <a:moveTo>
                    <a:pt x="1605" y="1891"/>
                  </a:moveTo>
                  <a:lnTo>
                    <a:pt x="1605" y="1987"/>
                  </a:lnTo>
                  <a:lnTo>
                    <a:pt x="1605" y="1987"/>
                  </a:lnTo>
                  <a:lnTo>
                    <a:pt x="1597" y="1996"/>
                  </a:lnTo>
                  <a:lnTo>
                    <a:pt x="1588" y="2005"/>
                  </a:lnTo>
                  <a:lnTo>
                    <a:pt x="1583" y="2007"/>
                  </a:lnTo>
                  <a:lnTo>
                    <a:pt x="1576" y="2009"/>
                  </a:lnTo>
                  <a:lnTo>
                    <a:pt x="1569" y="2011"/>
                  </a:lnTo>
                  <a:lnTo>
                    <a:pt x="1562" y="2012"/>
                  </a:lnTo>
                  <a:lnTo>
                    <a:pt x="1562" y="2012"/>
                  </a:lnTo>
                  <a:lnTo>
                    <a:pt x="1553" y="2011"/>
                  </a:lnTo>
                  <a:lnTo>
                    <a:pt x="1546" y="2008"/>
                  </a:lnTo>
                  <a:lnTo>
                    <a:pt x="1537" y="2003"/>
                  </a:lnTo>
                  <a:lnTo>
                    <a:pt x="1531" y="1997"/>
                  </a:lnTo>
                  <a:lnTo>
                    <a:pt x="1525" y="1987"/>
                  </a:lnTo>
                  <a:lnTo>
                    <a:pt x="1520" y="1974"/>
                  </a:lnTo>
                  <a:lnTo>
                    <a:pt x="1516" y="1957"/>
                  </a:lnTo>
                  <a:lnTo>
                    <a:pt x="1515" y="1935"/>
                  </a:lnTo>
                  <a:lnTo>
                    <a:pt x="1515" y="1935"/>
                  </a:lnTo>
                  <a:lnTo>
                    <a:pt x="1516" y="1915"/>
                  </a:lnTo>
                  <a:lnTo>
                    <a:pt x="1520" y="1901"/>
                  </a:lnTo>
                  <a:lnTo>
                    <a:pt x="1525" y="1888"/>
                  </a:lnTo>
                  <a:lnTo>
                    <a:pt x="1531" y="1880"/>
                  </a:lnTo>
                  <a:lnTo>
                    <a:pt x="1537" y="1872"/>
                  </a:lnTo>
                  <a:lnTo>
                    <a:pt x="1546" y="1869"/>
                  </a:lnTo>
                  <a:lnTo>
                    <a:pt x="1553" y="1866"/>
                  </a:lnTo>
                  <a:lnTo>
                    <a:pt x="1562" y="1866"/>
                  </a:lnTo>
                  <a:lnTo>
                    <a:pt x="1562" y="1866"/>
                  </a:lnTo>
                  <a:lnTo>
                    <a:pt x="1569" y="1866"/>
                  </a:lnTo>
                  <a:lnTo>
                    <a:pt x="1576" y="1869"/>
                  </a:lnTo>
                  <a:lnTo>
                    <a:pt x="1584" y="1871"/>
                  </a:lnTo>
                  <a:lnTo>
                    <a:pt x="1589" y="1874"/>
                  </a:lnTo>
                  <a:lnTo>
                    <a:pt x="1594" y="1879"/>
                  </a:lnTo>
                  <a:lnTo>
                    <a:pt x="1599" y="1882"/>
                  </a:lnTo>
                  <a:lnTo>
                    <a:pt x="1605" y="1891"/>
                  </a:lnTo>
                  <a:lnTo>
                    <a:pt x="1605" y="1891"/>
                  </a:lnTo>
                  <a:close/>
                  <a:moveTo>
                    <a:pt x="1856" y="1876"/>
                  </a:moveTo>
                  <a:lnTo>
                    <a:pt x="1856" y="1876"/>
                  </a:lnTo>
                  <a:lnTo>
                    <a:pt x="1871" y="1869"/>
                  </a:lnTo>
                  <a:lnTo>
                    <a:pt x="1885" y="1864"/>
                  </a:lnTo>
                  <a:lnTo>
                    <a:pt x="1901" y="1860"/>
                  </a:lnTo>
                  <a:lnTo>
                    <a:pt x="1918" y="1859"/>
                  </a:lnTo>
                  <a:lnTo>
                    <a:pt x="1918" y="1859"/>
                  </a:lnTo>
                  <a:lnTo>
                    <a:pt x="1930" y="1860"/>
                  </a:lnTo>
                  <a:lnTo>
                    <a:pt x="1938" y="1861"/>
                  </a:lnTo>
                  <a:lnTo>
                    <a:pt x="1945" y="1864"/>
                  </a:lnTo>
                  <a:lnTo>
                    <a:pt x="1952" y="1869"/>
                  </a:lnTo>
                  <a:lnTo>
                    <a:pt x="1956" y="1874"/>
                  </a:lnTo>
                  <a:lnTo>
                    <a:pt x="1960" y="1880"/>
                  </a:lnTo>
                  <a:lnTo>
                    <a:pt x="1963" y="1886"/>
                  </a:lnTo>
                  <a:lnTo>
                    <a:pt x="1963" y="1894"/>
                  </a:lnTo>
                  <a:lnTo>
                    <a:pt x="1963" y="1912"/>
                  </a:lnTo>
                  <a:lnTo>
                    <a:pt x="1963" y="1912"/>
                  </a:lnTo>
                  <a:lnTo>
                    <a:pt x="1952" y="1907"/>
                  </a:lnTo>
                  <a:lnTo>
                    <a:pt x="1938" y="1903"/>
                  </a:lnTo>
                  <a:lnTo>
                    <a:pt x="1925" y="1901"/>
                  </a:lnTo>
                  <a:lnTo>
                    <a:pt x="1910" y="1899"/>
                  </a:lnTo>
                  <a:lnTo>
                    <a:pt x="1910" y="1899"/>
                  </a:lnTo>
                  <a:lnTo>
                    <a:pt x="1893" y="1901"/>
                  </a:lnTo>
                  <a:lnTo>
                    <a:pt x="1876" y="1904"/>
                  </a:lnTo>
                  <a:lnTo>
                    <a:pt x="1860" y="1909"/>
                  </a:lnTo>
                  <a:lnTo>
                    <a:pt x="1851" y="1913"/>
                  </a:lnTo>
                  <a:lnTo>
                    <a:pt x="1844" y="1918"/>
                  </a:lnTo>
                  <a:lnTo>
                    <a:pt x="1838" y="1923"/>
                  </a:lnTo>
                  <a:lnTo>
                    <a:pt x="1831" y="1929"/>
                  </a:lnTo>
                  <a:lnTo>
                    <a:pt x="1825" y="1935"/>
                  </a:lnTo>
                  <a:lnTo>
                    <a:pt x="1820" y="1942"/>
                  </a:lnTo>
                  <a:lnTo>
                    <a:pt x="1817" y="1951"/>
                  </a:lnTo>
                  <a:lnTo>
                    <a:pt x="1814" y="1961"/>
                  </a:lnTo>
                  <a:lnTo>
                    <a:pt x="1813" y="1970"/>
                  </a:lnTo>
                  <a:lnTo>
                    <a:pt x="1812" y="1980"/>
                  </a:lnTo>
                  <a:lnTo>
                    <a:pt x="1812" y="1980"/>
                  </a:lnTo>
                  <a:lnTo>
                    <a:pt x="1813" y="1992"/>
                  </a:lnTo>
                  <a:lnTo>
                    <a:pt x="1814" y="2003"/>
                  </a:lnTo>
                  <a:lnTo>
                    <a:pt x="1817" y="2012"/>
                  </a:lnTo>
                  <a:lnTo>
                    <a:pt x="1820" y="2022"/>
                  </a:lnTo>
                  <a:lnTo>
                    <a:pt x="1824" y="2029"/>
                  </a:lnTo>
                  <a:lnTo>
                    <a:pt x="1830" y="2036"/>
                  </a:lnTo>
                  <a:lnTo>
                    <a:pt x="1835" y="2043"/>
                  </a:lnTo>
                  <a:lnTo>
                    <a:pt x="1842" y="2049"/>
                  </a:lnTo>
                  <a:lnTo>
                    <a:pt x="1849" y="2054"/>
                  </a:lnTo>
                  <a:lnTo>
                    <a:pt x="1856" y="2057"/>
                  </a:lnTo>
                  <a:lnTo>
                    <a:pt x="1872" y="2063"/>
                  </a:lnTo>
                  <a:lnTo>
                    <a:pt x="1888" y="2067"/>
                  </a:lnTo>
                  <a:lnTo>
                    <a:pt x="1904" y="2068"/>
                  </a:lnTo>
                  <a:lnTo>
                    <a:pt x="1904" y="2068"/>
                  </a:lnTo>
                  <a:lnTo>
                    <a:pt x="1917" y="2066"/>
                  </a:lnTo>
                  <a:lnTo>
                    <a:pt x="1926" y="2065"/>
                  </a:lnTo>
                  <a:lnTo>
                    <a:pt x="1933" y="2062"/>
                  </a:lnTo>
                  <a:lnTo>
                    <a:pt x="1942" y="2058"/>
                  </a:lnTo>
                  <a:lnTo>
                    <a:pt x="1949" y="2054"/>
                  </a:lnTo>
                  <a:lnTo>
                    <a:pt x="1956" y="2049"/>
                  </a:lnTo>
                  <a:lnTo>
                    <a:pt x="1963" y="2043"/>
                  </a:lnTo>
                  <a:lnTo>
                    <a:pt x="1963" y="2062"/>
                  </a:lnTo>
                  <a:lnTo>
                    <a:pt x="2024" y="2062"/>
                  </a:lnTo>
                  <a:lnTo>
                    <a:pt x="2024" y="1896"/>
                  </a:lnTo>
                  <a:lnTo>
                    <a:pt x="2024" y="1896"/>
                  </a:lnTo>
                  <a:lnTo>
                    <a:pt x="2024" y="1886"/>
                  </a:lnTo>
                  <a:lnTo>
                    <a:pt x="2023" y="1877"/>
                  </a:lnTo>
                  <a:lnTo>
                    <a:pt x="2020" y="1869"/>
                  </a:lnTo>
                  <a:lnTo>
                    <a:pt x="2018" y="1860"/>
                  </a:lnTo>
                  <a:lnTo>
                    <a:pt x="2013" y="1853"/>
                  </a:lnTo>
                  <a:lnTo>
                    <a:pt x="2009" y="1846"/>
                  </a:lnTo>
                  <a:lnTo>
                    <a:pt x="2003" y="1839"/>
                  </a:lnTo>
                  <a:lnTo>
                    <a:pt x="1997" y="1833"/>
                  </a:lnTo>
                  <a:lnTo>
                    <a:pt x="1991" y="1828"/>
                  </a:lnTo>
                  <a:lnTo>
                    <a:pt x="1983" y="1824"/>
                  </a:lnTo>
                  <a:lnTo>
                    <a:pt x="1975" y="1820"/>
                  </a:lnTo>
                  <a:lnTo>
                    <a:pt x="1966" y="1816"/>
                  </a:lnTo>
                  <a:lnTo>
                    <a:pt x="1956" y="1814"/>
                  </a:lnTo>
                  <a:lnTo>
                    <a:pt x="1947" y="1813"/>
                  </a:lnTo>
                  <a:lnTo>
                    <a:pt x="1936" y="1811"/>
                  </a:lnTo>
                  <a:lnTo>
                    <a:pt x="1925" y="1810"/>
                  </a:lnTo>
                  <a:lnTo>
                    <a:pt x="1925" y="1810"/>
                  </a:lnTo>
                  <a:lnTo>
                    <a:pt x="1911" y="1811"/>
                  </a:lnTo>
                  <a:lnTo>
                    <a:pt x="1900" y="1811"/>
                  </a:lnTo>
                  <a:lnTo>
                    <a:pt x="1888" y="1814"/>
                  </a:lnTo>
                  <a:lnTo>
                    <a:pt x="1876" y="1816"/>
                  </a:lnTo>
                  <a:lnTo>
                    <a:pt x="1865" y="1820"/>
                  </a:lnTo>
                  <a:lnTo>
                    <a:pt x="1854" y="1824"/>
                  </a:lnTo>
                  <a:lnTo>
                    <a:pt x="1842" y="1828"/>
                  </a:lnTo>
                  <a:lnTo>
                    <a:pt x="1831" y="1835"/>
                  </a:lnTo>
                  <a:lnTo>
                    <a:pt x="1856" y="1876"/>
                  </a:lnTo>
                  <a:close/>
                  <a:moveTo>
                    <a:pt x="1873" y="1980"/>
                  </a:moveTo>
                  <a:lnTo>
                    <a:pt x="1873" y="1980"/>
                  </a:lnTo>
                  <a:lnTo>
                    <a:pt x="1873" y="1973"/>
                  </a:lnTo>
                  <a:lnTo>
                    <a:pt x="1876" y="1965"/>
                  </a:lnTo>
                  <a:lnTo>
                    <a:pt x="1879" y="1959"/>
                  </a:lnTo>
                  <a:lnTo>
                    <a:pt x="1884" y="1954"/>
                  </a:lnTo>
                  <a:lnTo>
                    <a:pt x="1890" y="1951"/>
                  </a:lnTo>
                  <a:lnTo>
                    <a:pt x="1898" y="1948"/>
                  </a:lnTo>
                  <a:lnTo>
                    <a:pt x="1906" y="1946"/>
                  </a:lnTo>
                  <a:lnTo>
                    <a:pt x="1915" y="1946"/>
                  </a:lnTo>
                  <a:lnTo>
                    <a:pt x="1915" y="1946"/>
                  </a:lnTo>
                  <a:lnTo>
                    <a:pt x="1928" y="1946"/>
                  </a:lnTo>
                  <a:lnTo>
                    <a:pt x="1941" y="1948"/>
                  </a:lnTo>
                  <a:lnTo>
                    <a:pt x="1952" y="1952"/>
                  </a:lnTo>
                  <a:lnTo>
                    <a:pt x="1963" y="1958"/>
                  </a:lnTo>
                  <a:lnTo>
                    <a:pt x="1963" y="1991"/>
                  </a:lnTo>
                  <a:lnTo>
                    <a:pt x="1963" y="1991"/>
                  </a:lnTo>
                  <a:lnTo>
                    <a:pt x="1960" y="1996"/>
                  </a:lnTo>
                  <a:lnTo>
                    <a:pt x="1955" y="2001"/>
                  </a:lnTo>
                  <a:lnTo>
                    <a:pt x="1950" y="2006"/>
                  </a:lnTo>
                  <a:lnTo>
                    <a:pt x="1944" y="2009"/>
                  </a:lnTo>
                  <a:lnTo>
                    <a:pt x="1938" y="2013"/>
                  </a:lnTo>
                  <a:lnTo>
                    <a:pt x="1931" y="2016"/>
                  </a:lnTo>
                  <a:lnTo>
                    <a:pt x="1923" y="2017"/>
                  </a:lnTo>
                  <a:lnTo>
                    <a:pt x="1915" y="2018"/>
                  </a:lnTo>
                  <a:lnTo>
                    <a:pt x="1915" y="2018"/>
                  </a:lnTo>
                  <a:lnTo>
                    <a:pt x="1906" y="2017"/>
                  </a:lnTo>
                  <a:lnTo>
                    <a:pt x="1898" y="2014"/>
                  </a:lnTo>
                  <a:lnTo>
                    <a:pt x="1890" y="2012"/>
                  </a:lnTo>
                  <a:lnTo>
                    <a:pt x="1884" y="2007"/>
                  </a:lnTo>
                  <a:lnTo>
                    <a:pt x="1879" y="2002"/>
                  </a:lnTo>
                  <a:lnTo>
                    <a:pt x="1876" y="1996"/>
                  </a:lnTo>
                  <a:lnTo>
                    <a:pt x="1874" y="1989"/>
                  </a:lnTo>
                  <a:lnTo>
                    <a:pt x="1873" y="1980"/>
                  </a:lnTo>
                  <a:lnTo>
                    <a:pt x="1873" y="1980"/>
                  </a:lnTo>
                  <a:close/>
                  <a:moveTo>
                    <a:pt x="2592" y="1991"/>
                  </a:moveTo>
                  <a:lnTo>
                    <a:pt x="2592" y="1991"/>
                  </a:lnTo>
                  <a:lnTo>
                    <a:pt x="2583" y="1998"/>
                  </a:lnTo>
                  <a:lnTo>
                    <a:pt x="2572" y="2005"/>
                  </a:lnTo>
                  <a:lnTo>
                    <a:pt x="2566" y="2007"/>
                  </a:lnTo>
                  <a:lnTo>
                    <a:pt x="2558" y="2009"/>
                  </a:lnTo>
                  <a:lnTo>
                    <a:pt x="2551" y="2011"/>
                  </a:lnTo>
                  <a:lnTo>
                    <a:pt x="2544" y="2012"/>
                  </a:lnTo>
                  <a:lnTo>
                    <a:pt x="2544" y="2012"/>
                  </a:lnTo>
                  <a:lnTo>
                    <a:pt x="2538" y="2011"/>
                  </a:lnTo>
                  <a:lnTo>
                    <a:pt x="2530" y="2011"/>
                  </a:lnTo>
                  <a:lnTo>
                    <a:pt x="2522" y="2008"/>
                  </a:lnTo>
                  <a:lnTo>
                    <a:pt x="2512" y="2003"/>
                  </a:lnTo>
                  <a:lnTo>
                    <a:pt x="2503" y="1997"/>
                  </a:lnTo>
                  <a:lnTo>
                    <a:pt x="2500" y="1992"/>
                  </a:lnTo>
                  <a:lnTo>
                    <a:pt x="2496" y="1987"/>
                  </a:lnTo>
                  <a:lnTo>
                    <a:pt x="2493" y="1981"/>
                  </a:lnTo>
                  <a:lnTo>
                    <a:pt x="2491" y="1974"/>
                  </a:lnTo>
                  <a:lnTo>
                    <a:pt x="2490" y="1967"/>
                  </a:lnTo>
                  <a:lnTo>
                    <a:pt x="2489" y="1958"/>
                  </a:lnTo>
                  <a:lnTo>
                    <a:pt x="2639" y="1958"/>
                  </a:lnTo>
                  <a:lnTo>
                    <a:pt x="2639" y="1958"/>
                  </a:lnTo>
                  <a:lnTo>
                    <a:pt x="2641" y="1940"/>
                  </a:lnTo>
                  <a:lnTo>
                    <a:pt x="2641" y="1940"/>
                  </a:lnTo>
                  <a:lnTo>
                    <a:pt x="2641" y="1925"/>
                  </a:lnTo>
                  <a:lnTo>
                    <a:pt x="2638" y="1912"/>
                  </a:lnTo>
                  <a:lnTo>
                    <a:pt x="2637" y="1898"/>
                  </a:lnTo>
                  <a:lnTo>
                    <a:pt x="2633" y="1886"/>
                  </a:lnTo>
                  <a:lnTo>
                    <a:pt x="2630" y="1875"/>
                  </a:lnTo>
                  <a:lnTo>
                    <a:pt x="2625" y="1864"/>
                  </a:lnTo>
                  <a:lnTo>
                    <a:pt x="2618" y="1854"/>
                  </a:lnTo>
                  <a:lnTo>
                    <a:pt x="2612" y="1846"/>
                  </a:lnTo>
                  <a:lnTo>
                    <a:pt x="2605" y="1837"/>
                  </a:lnTo>
                  <a:lnTo>
                    <a:pt x="2598" y="1831"/>
                  </a:lnTo>
                  <a:lnTo>
                    <a:pt x="2589" y="1825"/>
                  </a:lnTo>
                  <a:lnTo>
                    <a:pt x="2579" y="1820"/>
                  </a:lnTo>
                  <a:lnTo>
                    <a:pt x="2569" y="1816"/>
                  </a:lnTo>
                  <a:lnTo>
                    <a:pt x="2560" y="1813"/>
                  </a:lnTo>
                  <a:lnTo>
                    <a:pt x="2549" y="1811"/>
                  </a:lnTo>
                  <a:lnTo>
                    <a:pt x="2536" y="1810"/>
                  </a:lnTo>
                  <a:lnTo>
                    <a:pt x="2536" y="1810"/>
                  </a:lnTo>
                  <a:lnTo>
                    <a:pt x="2525" y="1811"/>
                  </a:lnTo>
                  <a:lnTo>
                    <a:pt x="2514" y="1813"/>
                  </a:lnTo>
                  <a:lnTo>
                    <a:pt x="2503" y="1816"/>
                  </a:lnTo>
                  <a:lnTo>
                    <a:pt x="2492" y="1820"/>
                  </a:lnTo>
                  <a:lnTo>
                    <a:pt x="2482" y="1825"/>
                  </a:lnTo>
                  <a:lnTo>
                    <a:pt x="2474" y="1832"/>
                  </a:lnTo>
                  <a:lnTo>
                    <a:pt x="2465" y="1838"/>
                  </a:lnTo>
                  <a:lnTo>
                    <a:pt x="2458" y="1847"/>
                  </a:lnTo>
                  <a:lnTo>
                    <a:pt x="2451" y="1855"/>
                  </a:lnTo>
                  <a:lnTo>
                    <a:pt x="2444" y="1865"/>
                  </a:lnTo>
                  <a:lnTo>
                    <a:pt x="2439" y="1876"/>
                  </a:lnTo>
                  <a:lnTo>
                    <a:pt x="2435" y="1887"/>
                  </a:lnTo>
                  <a:lnTo>
                    <a:pt x="2431" y="1899"/>
                  </a:lnTo>
                  <a:lnTo>
                    <a:pt x="2428" y="1913"/>
                  </a:lnTo>
                  <a:lnTo>
                    <a:pt x="2427" y="1925"/>
                  </a:lnTo>
                  <a:lnTo>
                    <a:pt x="2426" y="1940"/>
                  </a:lnTo>
                  <a:lnTo>
                    <a:pt x="2426" y="1940"/>
                  </a:lnTo>
                  <a:lnTo>
                    <a:pt x="2427" y="1953"/>
                  </a:lnTo>
                  <a:lnTo>
                    <a:pt x="2428" y="1967"/>
                  </a:lnTo>
                  <a:lnTo>
                    <a:pt x="2431" y="1980"/>
                  </a:lnTo>
                  <a:lnTo>
                    <a:pt x="2435" y="1992"/>
                  </a:lnTo>
                  <a:lnTo>
                    <a:pt x="2439" y="2003"/>
                  </a:lnTo>
                  <a:lnTo>
                    <a:pt x="2444" y="2014"/>
                  </a:lnTo>
                  <a:lnTo>
                    <a:pt x="2451" y="2024"/>
                  </a:lnTo>
                  <a:lnTo>
                    <a:pt x="2458" y="2033"/>
                  </a:lnTo>
                  <a:lnTo>
                    <a:pt x="2466" y="2040"/>
                  </a:lnTo>
                  <a:lnTo>
                    <a:pt x="2475" y="2047"/>
                  </a:lnTo>
                  <a:lnTo>
                    <a:pt x="2485" y="2054"/>
                  </a:lnTo>
                  <a:lnTo>
                    <a:pt x="2495" y="2058"/>
                  </a:lnTo>
                  <a:lnTo>
                    <a:pt x="2506" y="2062"/>
                  </a:lnTo>
                  <a:lnTo>
                    <a:pt x="2518" y="2066"/>
                  </a:lnTo>
                  <a:lnTo>
                    <a:pt x="2530" y="2067"/>
                  </a:lnTo>
                  <a:lnTo>
                    <a:pt x="2544" y="2068"/>
                  </a:lnTo>
                  <a:lnTo>
                    <a:pt x="2544" y="2068"/>
                  </a:lnTo>
                  <a:lnTo>
                    <a:pt x="2556" y="2067"/>
                  </a:lnTo>
                  <a:lnTo>
                    <a:pt x="2567" y="2066"/>
                  </a:lnTo>
                  <a:lnTo>
                    <a:pt x="2579" y="2062"/>
                  </a:lnTo>
                  <a:lnTo>
                    <a:pt x="2590" y="2058"/>
                  </a:lnTo>
                  <a:lnTo>
                    <a:pt x="2601" y="2052"/>
                  </a:lnTo>
                  <a:lnTo>
                    <a:pt x="2611" y="2046"/>
                  </a:lnTo>
                  <a:lnTo>
                    <a:pt x="2621" y="2038"/>
                  </a:lnTo>
                  <a:lnTo>
                    <a:pt x="2631" y="2029"/>
                  </a:lnTo>
                  <a:lnTo>
                    <a:pt x="2592" y="1991"/>
                  </a:lnTo>
                  <a:close/>
                  <a:moveTo>
                    <a:pt x="2490" y="1913"/>
                  </a:moveTo>
                  <a:lnTo>
                    <a:pt x="2490" y="1913"/>
                  </a:lnTo>
                  <a:lnTo>
                    <a:pt x="2491" y="1902"/>
                  </a:lnTo>
                  <a:lnTo>
                    <a:pt x="2493" y="1892"/>
                  </a:lnTo>
                  <a:lnTo>
                    <a:pt x="2497" y="1883"/>
                  </a:lnTo>
                  <a:lnTo>
                    <a:pt x="2503" y="1876"/>
                  </a:lnTo>
                  <a:lnTo>
                    <a:pt x="2509" y="1870"/>
                  </a:lnTo>
                  <a:lnTo>
                    <a:pt x="2517" y="1866"/>
                  </a:lnTo>
                  <a:lnTo>
                    <a:pt x="2525" y="1863"/>
                  </a:lnTo>
                  <a:lnTo>
                    <a:pt x="2535" y="1863"/>
                  </a:lnTo>
                  <a:lnTo>
                    <a:pt x="2535" y="1863"/>
                  </a:lnTo>
                  <a:lnTo>
                    <a:pt x="2546" y="1864"/>
                  </a:lnTo>
                  <a:lnTo>
                    <a:pt x="2556" y="1866"/>
                  </a:lnTo>
                  <a:lnTo>
                    <a:pt x="2563" y="1871"/>
                  </a:lnTo>
                  <a:lnTo>
                    <a:pt x="2569" y="1879"/>
                  </a:lnTo>
                  <a:lnTo>
                    <a:pt x="2574" y="1886"/>
                  </a:lnTo>
                  <a:lnTo>
                    <a:pt x="2578" y="1894"/>
                  </a:lnTo>
                  <a:lnTo>
                    <a:pt x="2580" y="1904"/>
                  </a:lnTo>
                  <a:lnTo>
                    <a:pt x="2582" y="1913"/>
                  </a:lnTo>
                  <a:lnTo>
                    <a:pt x="2490" y="1913"/>
                  </a:lnTo>
                  <a:close/>
                  <a:moveTo>
                    <a:pt x="3181" y="1991"/>
                  </a:moveTo>
                  <a:lnTo>
                    <a:pt x="3181" y="1991"/>
                  </a:lnTo>
                  <a:lnTo>
                    <a:pt x="3171" y="1998"/>
                  </a:lnTo>
                  <a:lnTo>
                    <a:pt x="3162" y="2005"/>
                  </a:lnTo>
                  <a:lnTo>
                    <a:pt x="3154" y="2007"/>
                  </a:lnTo>
                  <a:lnTo>
                    <a:pt x="3148" y="2009"/>
                  </a:lnTo>
                  <a:lnTo>
                    <a:pt x="3141" y="2011"/>
                  </a:lnTo>
                  <a:lnTo>
                    <a:pt x="3132" y="2012"/>
                  </a:lnTo>
                  <a:lnTo>
                    <a:pt x="3132" y="2012"/>
                  </a:lnTo>
                  <a:lnTo>
                    <a:pt x="3126" y="2011"/>
                  </a:lnTo>
                  <a:lnTo>
                    <a:pt x="3119" y="2011"/>
                  </a:lnTo>
                  <a:lnTo>
                    <a:pt x="3110" y="2008"/>
                  </a:lnTo>
                  <a:lnTo>
                    <a:pt x="3101" y="2003"/>
                  </a:lnTo>
                  <a:lnTo>
                    <a:pt x="3093" y="1997"/>
                  </a:lnTo>
                  <a:lnTo>
                    <a:pt x="3089" y="1992"/>
                  </a:lnTo>
                  <a:lnTo>
                    <a:pt x="3086" y="1987"/>
                  </a:lnTo>
                  <a:lnTo>
                    <a:pt x="3083" y="1981"/>
                  </a:lnTo>
                  <a:lnTo>
                    <a:pt x="3081" y="1974"/>
                  </a:lnTo>
                  <a:lnTo>
                    <a:pt x="3078" y="1967"/>
                  </a:lnTo>
                  <a:lnTo>
                    <a:pt x="3077" y="1958"/>
                  </a:lnTo>
                  <a:lnTo>
                    <a:pt x="3229" y="1958"/>
                  </a:lnTo>
                  <a:lnTo>
                    <a:pt x="3229" y="1958"/>
                  </a:lnTo>
                  <a:lnTo>
                    <a:pt x="3230" y="1940"/>
                  </a:lnTo>
                  <a:lnTo>
                    <a:pt x="3230" y="1940"/>
                  </a:lnTo>
                  <a:lnTo>
                    <a:pt x="3229" y="1925"/>
                  </a:lnTo>
                  <a:lnTo>
                    <a:pt x="3228" y="1912"/>
                  </a:lnTo>
                  <a:lnTo>
                    <a:pt x="3225" y="1898"/>
                  </a:lnTo>
                  <a:lnTo>
                    <a:pt x="3223" y="1886"/>
                  </a:lnTo>
                  <a:lnTo>
                    <a:pt x="3218" y="1875"/>
                  </a:lnTo>
                  <a:lnTo>
                    <a:pt x="3213" y="1864"/>
                  </a:lnTo>
                  <a:lnTo>
                    <a:pt x="3208" y="1854"/>
                  </a:lnTo>
                  <a:lnTo>
                    <a:pt x="3202" y="1846"/>
                  </a:lnTo>
                  <a:lnTo>
                    <a:pt x="3195" y="1837"/>
                  </a:lnTo>
                  <a:lnTo>
                    <a:pt x="3186" y="1831"/>
                  </a:lnTo>
                  <a:lnTo>
                    <a:pt x="3177" y="1825"/>
                  </a:lnTo>
                  <a:lnTo>
                    <a:pt x="3169" y="1820"/>
                  </a:lnTo>
                  <a:lnTo>
                    <a:pt x="3159" y="1816"/>
                  </a:lnTo>
                  <a:lnTo>
                    <a:pt x="3148" y="1813"/>
                  </a:lnTo>
                  <a:lnTo>
                    <a:pt x="3137" y="1811"/>
                  </a:lnTo>
                  <a:lnTo>
                    <a:pt x="3126" y="1810"/>
                  </a:lnTo>
                  <a:lnTo>
                    <a:pt x="3126" y="1810"/>
                  </a:lnTo>
                  <a:lnTo>
                    <a:pt x="3114" y="1811"/>
                  </a:lnTo>
                  <a:lnTo>
                    <a:pt x="3103" y="1813"/>
                  </a:lnTo>
                  <a:lnTo>
                    <a:pt x="3092" y="1816"/>
                  </a:lnTo>
                  <a:lnTo>
                    <a:pt x="3082" y="1820"/>
                  </a:lnTo>
                  <a:lnTo>
                    <a:pt x="3072" y="1825"/>
                  </a:lnTo>
                  <a:lnTo>
                    <a:pt x="3062" y="1832"/>
                  </a:lnTo>
                  <a:lnTo>
                    <a:pt x="3055" y="1838"/>
                  </a:lnTo>
                  <a:lnTo>
                    <a:pt x="3046" y="1847"/>
                  </a:lnTo>
                  <a:lnTo>
                    <a:pt x="3039" y="1855"/>
                  </a:lnTo>
                  <a:lnTo>
                    <a:pt x="3033" y="1865"/>
                  </a:lnTo>
                  <a:lnTo>
                    <a:pt x="3028" y="1876"/>
                  </a:lnTo>
                  <a:lnTo>
                    <a:pt x="3023" y="1887"/>
                  </a:lnTo>
                  <a:lnTo>
                    <a:pt x="3021" y="1899"/>
                  </a:lnTo>
                  <a:lnTo>
                    <a:pt x="3017" y="1913"/>
                  </a:lnTo>
                  <a:lnTo>
                    <a:pt x="3016" y="1925"/>
                  </a:lnTo>
                  <a:lnTo>
                    <a:pt x="3016" y="1940"/>
                  </a:lnTo>
                  <a:lnTo>
                    <a:pt x="3016" y="1940"/>
                  </a:lnTo>
                  <a:lnTo>
                    <a:pt x="3016" y="1953"/>
                  </a:lnTo>
                  <a:lnTo>
                    <a:pt x="3017" y="1967"/>
                  </a:lnTo>
                  <a:lnTo>
                    <a:pt x="3019" y="1980"/>
                  </a:lnTo>
                  <a:lnTo>
                    <a:pt x="3023" y="1992"/>
                  </a:lnTo>
                  <a:lnTo>
                    <a:pt x="3028" y="2003"/>
                  </a:lnTo>
                  <a:lnTo>
                    <a:pt x="3034" y="2014"/>
                  </a:lnTo>
                  <a:lnTo>
                    <a:pt x="3040" y="2024"/>
                  </a:lnTo>
                  <a:lnTo>
                    <a:pt x="3048" y="2033"/>
                  </a:lnTo>
                  <a:lnTo>
                    <a:pt x="3055" y="2040"/>
                  </a:lnTo>
                  <a:lnTo>
                    <a:pt x="3063" y="2047"/>
                  </a:lnTo>
                  <a:lnTo>
                    <a:pt x="3073" y="2054"/>
                  </a:lnTo>
                  <a:lnTo>
                    <a:pt x="3084" y="2058"/>
                  </a:lnTo>
                  <a:lnTo>
                    <a:pt x="3095" y="2062"/>
                  </a:lnTo>
                  <a:lnTo>
                    <a:pt x="3106" y="2066"/>
                  </a:lnTo>
                  <a:lnTo>
                    <a:pt x="3120" y="2067"/>
                  </a:lnTo>
                  <a:lnTo>
                    <a:pt x="3132" y="2068"/>
                  </a:lnTo>
                  <a:lnTo>
                    <a:pt x="3132" y="2068"/>
                  </a:lnTo>
                  <a:lnTo>
                    <a:pt x="3144" y="2067"/>
                  </a:lnTo>
                  <a:lnTo>
                    <a:pt x="3157" y="2066"/>
                  </a:lnTo>
                  <a:lnTo>
                    <a:pt x="3168" y="2062"/>
                  </a:lnTo>
                  <a:lnTo>
                    <a:pt x="3179" y="2058"/>
                  </a:lnTo>
                  <a:lnTo>
                    <a:pt x="3190" y="2052"/>
                  </a:lnTo>
                  <a:lnTo>
                    <a:pt x="3201" y="2046"/>
                  </a:lnTo>
                  <a:lnTo>
                    <a:pt x="3211" y="2038"/>
                  </a:lnTo>
                  <a:lnTo>
                    <a:pt x="3219" y="2029"/>
                  </a:lnTo>
                  <a:lnTo>
                    <a:pt x="3181" y="1991"/>
                  </a:lnTo>
                  <a:close/>
                  <a:moveTo>
                    <a:pt x="3078" y="1913"/>
                  </a:moveTo>
                  <a:lnTo>
                    <a:pt x="3078" y="1913"/>
                  </a:lnTo>
                  <a:lnTo>
                    <a:pt x="3079" y="1902"/>
                  </a:lnTo>
                  <a:lnTo>
                    <a:pt x="3083" y="1892"/>
                  </a:lnTo>
                  <a:lnTo>
                    <a:pt x="3087" y="1883"/>
                  </a:lnTo>
                  <a:lnTo>
                    <a:pt x="3092" y="1876"/>
                  </a:lnTo>
                  <a:lnTo>
                    <a:pt x="3099" y="1870"/>
                  </a:lnTo>
                  <a:lnTo>
                    <a:pt x="3106" y="1866"/>
                  </a:lnTo>
                  <a:lnTo>
                    <a:pt x="3115" y="1863"/>
                  </a:lnTo>
                  <a:lnTo>
                    <a:pt x="3125" y="1863"/>
                  </a:lnTo>
                  <a:lnTo>
                    <a:pt x="3125" y="1863"/>
                  </a:lnTo>
                  <a:lnTo>
                    <a:pt x="3136" y="1864"/>
                  </a:lnTo>
                  <a:lnTo>
                    <a:pt x="3144" y="1866"/>
                  </a:lnTo>
                  <a:lnTo>
                    <a:pt x="3153" y="1871"/>
                  </a:lnTo>
                  <a:lnTo>
                    <a:pt x="3159" y="1879"/>
                  </a:lnTo>
                  <a:lnTo>
                    <a:pt x="3164" y="1886"/>
                  </a:lnTo>
                  <a:lnTo>
                    <a:pt x="3168" y="1894"/>
                  </a:lnTo>
                  <a:lnTo>
                    <a:pt x="3170" y="1904"/>
                  </a:lnTo>
                  <a:lnTo>
                    <a:pt x="3171" y="1913"/>
                  </a:lnTo>
                  <a:lnTo>
                    <a:pt x="3078" y="1913"/>
                  </a:lnTo>
                  <a:close/>
                  <a:moveTo>
                    <a:pt x="2931" y="1976"/>
                  </a:moveTo>
                  <a:lnTo>
                    <a:pt x="2931" y="1976"/>
                  </a:lnTo>
                  <a:lnTo>
                    <a:pt x="2931" y="1985"/>
                  </a:lnTo>
                  <a:lnTo>
                    <a:pt x="2932" y="1991"/>
                  </a:lnTo>
                  <a:lnTo>
                    <a:pt x="2935" y="1997"/>
                  </a:lnTo>
                  <a:lnTo>
                    <a:pt x="2937" y="2002"/>
                  </a:lnTo>
                  <a:lnTo>
                    <a:pt x="2941" y="2006"/>
                  </a:lnTo>
                  <a:lnTo>
                    <a:pt x="2946" y="2008"/>
                  </a:lnTo>
                  <a:lnTo>
                    <a:pt x="2951" y="2009"/>
                  </a:lnTo>
                  <a:lnTo>
                    <a:pt x="2958" y="2009"/>
                  </a:lnTo>
                  <a:lnTo>
                    <a:pt x="2958" y="2009"/>
                  </a:lnTo>
                  <a:lnTo>
                    <a:pt x="2967" y="2009"/>
                  </a:lnTo>
                  <a:lnTo>
                    <a:pt x="2976" y="2007"/>
                  </a:lnTo>
                  <a:lnTo>
                    <a:pt x="2986" y="2003"/>
                  </a:lnTo>
                  <a:lnTo>
                    <a:pt x="2995" y="1998"/>
                  </a:lnTo>
                  <a:lnTo>
                    <a:pt x="2987" y="2056"/>
                  </a:lnTo>
                  <a:lnTo>
                    <a:pt x="2987" y="2056"/>
                  </a:lnTo>
                  <a:lnTo>
                    <a:pt x="2976" y="2061"/>
                  </a:lnTo>
                  <a:lnTo>
                    <a:pt x="2963" y="2065"/>
                  </a:lnTo>
                  <a:lnTo>
                    <a:pt x="2949" y="2067"/>
                  </a:lnTo>
                  <a:lnTo>
                    <a:pt x="2936" y="2068"/>
                  </a:lnTo>
                  <a:lnTo>
                    <a:pt x="2936" y="2068"/>
                  </a:lnTo>
                  <a:lnTo>
                    <a:pt x="2927" y="2067"/>
                  </a:lnTo>
                  <a:lnTo>
                    <a:pt x="2919" y="2066"/>
                  </a:lnTo>
                  <a:lnTo>
                    <a:pt x="2911" y="2063"/>
                  </a:lnTo>
                  <a:lnTo>
                    <a:pt x="2905" y="2061"/>
                  </a:lnTo>
                  <a:lnTo>
                    <a:pt x="2899" y="2057"/>
                  </a:lnTo>
                  <a:lnTo>
                    <a:pt x="2893" y="2054"/>
                  </a:lnTo>
                  <a:lnTo>
                    <a:pt x="2889" y="2049"/>
                  </a:lnTo>
                  <a:lnTo>
                    <a:pt x="2884" y="2043"/>
                  </a:lnTo>
                  <a:lnTo>
                    <a:pt x="2878" y="2032"/>
                  </a:lnTo>
                  <a:lnTo>
                    <a:pt x="2873" y="2018"/>
                  </a:lnTo>
                  <a:lnTo>
                    <a:pt x="2871" y="2006"/>
                  </a:lnTo>
                  <a:lnTo>
                    <a:pt x="2870" y="1992"/>
                  </a:lnTo>
                  <a:lnTo>
                    <a:pt x="2870" y="1872"/>
                  </a:lnTo>
                  <a:lnTo>
                    <a:pt x="2832" y="1872"/>
                  </a:lnTo>
                  <a:lnTo>
                    <a:pt x="2832" y="1816"/>
                  </a:lnTo>
                  <a:lnTo>
                    <a:pt x="2870" y="1816"/>
                  </a:lnTo>
                  <a:lnTo>
                    <a:pt x="2870" y="1753"/>
                  </a:lnTo>
                  <a:lnTo>
                    <a:pt x="2931" y="1722"/>
                  </a:lnTo>
                  <a:lnTo>
                    <a:pt x="2931" y="1816"/>
                  </a:lnTo>
                  <a:lnTo>
                    <a:pt x="2986" y="1816"/>
                  </a:lnTo>
                  <a:lnTo>
                    <a:pt x="2986" y="1872"/>
                  </a:lnTo>
                  <a:lnTo>
                    <a:pt x="2931" y="1872"/>
                  </a:lnTo>
                  <a:lnTo>
                    <a:pt x="2931" y="1976"/>
                  </a:lnTo>
                  <a:close/>
                  <a:moveTo>
                    <a:pt x="2812" y="2056"/>
                  </a:moveTo>
                  <a:lnTo>
                    <a:pt x="2812" y="2056"/>
                  </a:lnTo>
                  <a:lnTo>
                    <a:pt x="2801" y="2061"/>
                  </a:lnTo>
                  <a:lnTo>
                    <a:pt x="2789" y="2065"/>
                  </a:lnTo>
                  <a:lnTo>
                    <a:pt x="2775" y="2067"/>
                  </a:lnTo>
                  <a:lnTo>
                    <a:pt x="2762" y="2068"/>
                  </a:lnTo>
                  <a:lnTo>
                    <a:pt x="2762" y="2068"/>
                  </a:lnTo>
                  <a:lnTo>
                    <a:pt x="2752" y="2067"/>
                  </a:lnTo>
                  <a:lnTo>
                    <a:pt x="2745" y="2066"/>
                  </a:lnTo>
                  <a:lnTo>
                    <a:pt x="2737" y="2063"/>
                  </a:lnTo>
                  <a:lnTo>
                    <a:pt x="2730" y="2061"/>
                  </a:lnTo>
                  <a:lnTo>
                    <a:pt x="2725" y="2057"/>
                  </a:lnTo>
                  <a:lnTo>
                    <a:pt x="2719" y="2054"/>
                  </a:lnTo>
                  <a:lnTo>
                    <a:pt x="2714" y="2049"/>
                  </a:lnTo>
                  <a:lnTo>
                    <a:pt x="2710" y="2043"/>
                  </a:lnTo>
                  <a:lnTo>
                    <a:pt x="2703" y="2032"/>
                  </a:lnTo>
                  <a:lnTo>
                    <a:pt x="2699" y="2018"/>
                  </a:lnTo>
                  <a:lnTo>
                    <a:pt x="2696" y="2006"/>
                  </a:lnTo>
                  <a:lnTo>
                    <a:pt x="2696" y="1992"/>
                  </a:lnTo>
                  <a:lnTo>
                    <a:pt x="2696" y="1872"/>
                  </a:lnTo>
                  <a:lnTo>
                    <a:pt x="2658" y="1872"/>
                  </a:lnTo>
                  <a:lnTo>
                    <a:pt x="2658" y="1816"/>
                  </a:lnTo>
                  <a:lnTo>
                    <a:pt x="2696" y="1816"/>
                  </a:lnTo>
                  <a:lnTo>
                    <a:pt x="2696" y="1753"/>
                  </a:lnTo>
                  <a:lnTo>
                    <a:pt x="2757" y="1722"/>
                  </a:lnTo>
                  <a:lnTo>
                    <a:pt x="2757" y="1816"/>
                  </a:lnTo>
                  <a:lnTo>
                    <a:pt x="2808" y="1816"/>
                  </a:lnTo>
                  <a:lnTo>
                    <a:pt x="2808" y="1872"/>
                  </a:lnTo>
                  <a:lnTo>
                    <a:pt x="2757" y="1872"/>
                  </a:lnTo>
                  <a:lnTo>
                    <a:pt x="2757" y="1976"/>
                  </a:lnTo>
                  <a:lnTo>
                    <a:pt x="2757" y="1976"/>
                  </a:lnTo>
                  <a:lnTo>
                    <a:pt x="2757" y="1985"/>
                  </a:lnTo>
                  <a:lnTo>
                    <a:pt x="2758" y="1991"/>
                  </a:lnTo>
                  <a:lnTo>
                    <a:pt x="2761" y="1997"/>
                  </a:lnTo>
                  <a:lnTo>
                    <a:pt x="2763" y="2002"/>
                  </a:lnTo>
                  <a:lnTo>
                    <a:pt x="2767" y="2006"/>
                  </a:lnTo>
                  <a:lnTo>
                    <a:pt x="2772" y="2008"/>
                  </a:lnTo>
                  <a:lnTo>
                    <a:pt x="2777" y="2009"/>
                  </a:lnTo>
                  <a:lnTo>
                    <a:pt x="2783" y="2009"/>
                  </a:lnTo>
                  <a:lnTo>
                    <a:pt x="2783" y="2009"/>
                  </a:lnTo>
                  <a:lnTo>
                    <a:pt x="2793" y="2009"/>
                  </a:lnTo>
                  <a:lnTo>
                    <a:pt x="2802" y="2007"/>
                  </a:lnTo>
                  <a:lnTo>
                    <a:pt x="2811" y="2003"/>
                  </a:lnTo>
                  <a:lnTo>
                    <a:pt x="2820" y="1998"/>
                  </a:lnTo>
                  <a:lnTo>
                    <a:pt x="2812" y="2056"/>
                  </a:lnTo>
                  <a:close/>
                  <a:moveTo>
                    <a:pt x="3414" y="1885"/>
                  </a:moveTo>
                  <a:lnTo>
                    <a:pt x="3414" y="1885"/>
                  </a:lnTo>
                  <a:lnTo>
                    <a:pt x="3405" y="1879"/>
                  </a:lnTo>
                  <a:lnTo>
                    <a:pt x="3396" y="1875"/>
                  </a:lnTo>
                  <a:lnTo>
                    <a:pt x="3385" y="1872"/>
                  </a:lnTo>
                  <a:lnTo>
                    <a:pt x="3374" y="1871"/>
                  </a:lnTo>
                  <a:lnTo>
                    <a:pt x="3374" y="1871"/>
                  </a:lnTo>
                  <a:lnTo>
                    <a:pt x="3364" y="1872"/>
                  </a:lnTo>
                  <a:lnTo>
                    <a:pt x="3354" y="1875"/>
                  </a:lnTo>
                  <a:lnTo>
                    <a:pt x="3347" y="1880"/>
                  </a:lnTo>
                  <a:lnTo>
                    <a:pt x="3341" y="1886"/>
                  </a:lnTo>
                  <a:lnTo>
                    <a:pt x="3336" y="1893"/>
                  </a:lnTo>
                  <a:lnTo>
                    <a:pt x="3333" y="1903"/>
                  </a:lnTo>
                  <a:lnTo>
                    <a:pt x="3331" y="1915"/>
                  </a:lnTo>
                  <a:lnTo>
                    <a:pt x="3329" y="1929"/>
                  </a:lnTo>
                  <a:lnTo>
                    <a:pt x="3329" y="2062"/>
                  </a:lnTo>
                  <a:lnTo>
                    <a:pt x="3269" y="2062"/>
                  </a:lnTo>
                  <a:lnTo>
                    <a:pt x="3269" y="1816"/>
                  </a:lnTo>
                  <a:lnTo>
                    <a:pt x="3329" y="1816"/>
                  </a:lnTo>
                  <a:lnTo>
                    <a:pt x="3329" y="1837"/>
                  </a:lnTo>
                  <a:lnTo>
                    <a:pt x="3329" y="1837"/>
                  </a:lnTo>
                  <a:lnTo>
                    <a:pt x="3336" y="1831"/>
                  </a:lnTo>
                  <a:lnTo>
                    <a:pt x="3342" y="1825"/>
                  </a:lnTo>
                  <a:lnTo>
                    <a:pt x="3348" y="1821"/>
                  </a:lnTo>
                  <a:lnTo>
                    <a:pt x="3355" y="1817"/>
                  </a:lnTo>
                  <a:lnTo>
                    <a:pt x="3361" y="1814"/>
                  </a:lnTo>
                  <a:lnTo>
                    <a:pt x="3369" y="1813"/>
                  </a:lnTo>
                  <a:lnTo>
                    <a:pt x="3376" y="1811"/>
                  </a:lnTo>
                  <a:lnTo>
                    <a:pt x="3385" y="1810"/>
                  </a:lnTo>
                  <a:lnTo>
                    <a:pt x="3385" y="1810"/>
                  </a:lnTo>
                  <a:lnTo>
                    <a:pt x="3397" y="1811"/>
                  </a:lnTo>
                  <a:lnTo>
                    <a:pt x="3409" y="1815"/>
                  </a:lnTo>
                  <a:lnTo>
                    <a:pt x="3420" y="1819"/>
                  </a:lnTo>
                  <a:lnTo>
                    <a:pt x="3430" y="1825"/>
                  </a:lnTo>
                  <a:lnTo>
                    <a:pt x="3414" y="1885"/>
                  </a:lnTo>
                  <a:close/>
                  <a:moveTo>
                    <a:pt x="658" y="1757"/>
                  </a:moveTo>
                  <a:lnTo>
                    <a:pt x="658" y="1781"/>
                  </a:lnTo>
                  <a:lnTo>
                    <a:pt x="597" y="1781"/>
                  </a:lnTo>
                  <a:lnTo>
                    <a:pt x="597" y="1720"/>
                  </a:lnTo>
                  <a:lnTo>
                    <a:pt x="658" y="1720"/>
                  </a:lnTo>
                  <a:lnTo>
                    <a:pt x="658" y="1757"/>
                  </a:lnTo>
                  <a:close/>
                  <a:moveTo>
                    <a:pt x="1082" y="1816"/>
                  </a:moveTo>
                  <a:lnTo>
                    <a:pt x="1144" y="1816"/>
                  </a:lnTo>
                  <a:lnTo>
                    <a:pt x="1144" y="1942"/>
                  </a:lnTo>
                  <a:lnTo>
                    <a:pt x="1144" y="2062"/>
                  </a:lnTo>
                  <a:lnTo>
                    <a:pt x="1082" y="2062"/>
                  </a:lnTo>
                  <a:lnTo>
                    <a:pt x="1082" y="1816"/>
                  </a:lnTo>
                  <a:close/>
                  <a:moveTo>
                    <a:pt x="1144" y="1750"/>
                  </a:moveTo>
                  <a:lnTo>
                    <a:pt x="1144" y="1781"/>
                  </a:lnTo>
                  <a:lnTo>
                    <a:pt x="1082" y="1781"/>
                  </a:lnTo>
                  <a:lnTo>
                    <a:pt x="1082" y="1720"/>
                  </a:lnTo>
                  <a:lnTo>
                    <a:pt x="1144" y="1720"/>
                  </a:lnTo>
                  <a:lnTo>
                    <a:pt x="1144" y="1750"/>
                  </a:lnTo>
                  <a:close/>
                  <a:moveTo>
                    <a:pt x="2821" y="2264"/>
                  </a:moveTo>
                  <a:lnTo>
                    <a:pt x="2821" y="2264"/>
                  </a:lnTo>
                  <a:lnTo>
                    <a:pt x="2815" y="2259"/>
                  </a:lnTo>
                  <a:lnTo>
                    <a:pt x="2808" y="2254"/>
                  </a:lnTo>
                  <a:lnTo>
                    <a:pt x="2802" y="2250"/>
                  </a:lnTo>
                  <a:lnTo>
                    <a:pt x="2795" y="2247"/>
                  </a:lnTo>
                  <a:lnTo>
                    <a:pt x="2789" y="2244"/>
                  </a:lnTo>
                  <a:lnTo>
                    <a:pt x="2782" y="2243"/>
                  </a:lnTo>
                  <a:lnTo>
                    <a:pt x="2766" y="2241"/>
                  </a:lnTo>
                  <a:lnTo>
                    <a:pt x="2766" y="2241"/>
                  </a:lnTo>
                  <a:lnTo>
                    <a:pt x="2755" y="2242"/>
                  </a:lnTo>
                  <a:lnTo>
                    <a:pt x="2745" y="2243"/>
                  </a:lnTo>
                  <a:lnTo>
                    <a:pt x="2735" y="2247"/>
                  </a:lnTo>
                  <a:lnTo>
                    <a:pt x="2725" y="2250"/>
                  </a:lnTo>
                  <a:lnTo>
                    <a:pt x="2717" y="2255"/>
                  </a:lnTo>
                  <a:lnTo>
                    <a:pt x="2709" y="2260"/>
                  </a:lnTo>
                  <a:lnTo>
                    <a:pt x="2702" y="2268"/>
                  </a:lnTo>
                  <a:lnTo>
                    <a:pt x="2694" y="2275"/>
                  </a:lnTo>
                  <a:lnTo>
                    <a:pt x="2690" y="2284"/>
                  </a:lnTo>
                  <a:lnTo>
                    <a:pt x="2683" y="2293"/>
                  </a:lnTo>
                  <a:lnTo>
                    <a:pt x="2680" y="2303"/>
                  </a:lnTo>
                  <a:lnTo>
                    <a:pt x="2676" y="2315"/>
                  </a:lnTo>
                  <a:lnTo>
                    <a:pt x="2672" y="2326"/>
                  </a:lnTo>
                  <a:lnTo>
                    <a:pt x="2671" y="2340"/>
                  </a:lnTo>
                  <a:lnTo>
                    <a:pt x="2670" y="2353"/>
                  </a:lnTo>
                  <a:lnTo>
                    <a:pt x="2669" y="2368"/>
                  </a:lnTo>
                  <a:lnTo>
                    <a:pt x="2669" y="2368"/>
                  </a:lnTo>
                  <a:lnTo>
                    <a:pt x="2670" y="2383"/>
                  </a:lnTo>
                  <a:lnTo>
                    <a:pt x="2671" y="2396"/>
                  </a:lnTo>
                  <a:lnTo>
                    <a:pt x="2672" y="2410"/>
                  </a:lnTo>
                  <a:lnTo>
                    <a:pt x="2676" y="2423"/>
                  </a:lnTo>
                  <a:lnTo>
                    <a:pt x="2679" y="2434"/>
                  </a:lnTo>
                  <a:lnTo>
                    <a:pt x="2683" y="2445"/>
                  </a:lnTo>
                  <a:lnTo>
                    <a:pt x="2688" y="2455"/>
                  </a:lnTo>
                  <a:lnTo>
                    <a:pt x="2694" y="2463"/>
                  </a:lnTo>
                  <a:lnTo>
                    <a:pt x="2701" y="2472"/>
                  </a:lnTo>
                  <a:lnTo>
                    <a:pt x="2708" y="2478"/>
                  </a:lnTo>
                  <a:lnTo>
                    <a:pt x="2715" y="2484"/>
                  </a:lnTo>
                  <a:lnTo>
                    <a:pt x="2724" y="2489"/>
                  </a:lnTo>
                  <a:lnTo>
                    <a:pt x="2734" y="2494"/>
                  </a:lnTo>
                  <a:lnTo>
                    <a:pt x="2744" y="2496"/>
                  </a:lnTo>
                  <a:lnTo>
                    <a:pt x="2753" y="2498"/>
                  </a:lnTo>
                  <a:lnTo>
                    <a:pt x="2764" y="2499"/>
                  </a:lnTo>
                  <a:lnTo>
                    <a:pt x="2764" y="2499"/>
                  </a:lnTo>
                  <a:lnTo>
                    <a:pt x="2772" y="2498"/>
                  </a:lnTo>
                  <a:lnTo>
                    <a:pt x="2780" y="2496"/>
                  </a:lnTo>
                  <a:lnTo>
                    <a:pt x="2788" y="2495"/>
                  </a:lnTo>
                  <a:lnTo>
                    <a:pt x="2794" y="2493"/>
                  </a:lnTo>
                  <a:lnTo>
                    <a:pt x="2801" y="2489"/>
                  </a:lnTo>
                  <a:lnTo>
                    <a:pt x="2808" y="2485"/>
                  </a:lnTo>
                  <a:lnTo>
                    <a:pt x="2815" y="2480"/>
                  </a:lnTo>
                  <a:lnTo>
                    <a:pt x="2821" y="2474"/>
                  </a:lnTo>
                  <a:lnTo>
                    <a:pt x="2821" y="2493"/>
                  </a:lnTo>
                  <a:lnTo>
                    <a:pt x="2882" y="2493"/>
                  </a:lnTo>
                  <a:lnTo>
                    <a:pt x="2882" y="2144"/>
                  </a:lnTo>
                  <a:lnTo>
                    <a:pt x="2821" y="2175"/>
                  </a:lnTo>
                  <a:lnTo>
                    <a:pt x="2821" y="2264"/>
                  </a:lnTo>
                  <a:close/>
                  <a:moveTo>
                    <a:pt x="2778" y="2443"/>
                  </a:moveTo>
                  <a:lnTo>
                    <a:pt x="2778" y="2443"/>
                  </a:lnTo>
                  <a:lnTo>
                    <a:pt x="2769" y="2441"/>
                  </a:lnTo>
                  <a:lnTo>
                    <a:pt x="2762" y="2439"/>
                  </a:lnTo>
                  <a:lnTo>
                    <a:pt x="2753" y="2435"/>
                  </a:lnTo>
                  <a:lnTo>
                    <a:pt x="2746" y="2428"/>
                  </a:lnTo>
                  <a:lnTo>
                    <a:pt x="2740" y="2418"/>
                  </a:lnTo>
                  <a:lnTo>
                    <a:pt x="2735" y="2405"/>
                  </a:lnTo>
                  <a:lnTo>
                    <a:pt x="2732" y="2387"/>
                  </a:lnTo>
                  <a:lnTo>
                    <a:pt x="2731" y="2365"/>
                  </a:lnTo>
                  <a:lnTo>
                    <a:pt x="2731" y="2365"/>
                  </a:lnTo>
                  <a:lnTo>
                    <a:pt x="2732" y="2347"/>
                  </a:lnTo>
                  <a:lnTo>
                    <a:pt x="2735" y="2331"/>
                  </a:lnTo>
                  <a:lnTo>
                    <a:pt x="2740" y="2319"/>
                  </a:lnTo>
                  <a:lnTo>
                    <a:pt x="2746" y="2310"/>
                  </a:lnTo>
                  <a:lnTo>
                    <a:pt x="2753" y="2304"/>
                  </a:lnTo>
                  <a:lnTo>
                    <a:pt x="2761" y="2299"/>
                  </a:lnTo>
                  <a:lnTo>
                    <a:pt x="2769" y="2298"/>
                  </a:lnTo>
                  <a:lnTo>
                    <a:pt x="2777" y="2297"/>
                  </a:lnTo>
                  <a:lnTo>
                    <a:pt x="2777" y="2297"/>
                  </a:lnTo>
                  <a:lnTo>
                    <a:pt x="2785" y="2298"/>
                  </a:lnTo>
                  <a:lnTo>
                    <a:pt x="2793" y="2299"/>
                  </a:lnTo>
                  <a:lnTo>
                    <a:pt x="2799" y="2302"/>
                  </a:lnTo>
                  <a:lnTo>
                    <a:pt x="2805" y="2306"/>
                  </a:lnTo>
                  <a:lnTo>
                    <a:pt x="2810" y="2309"/>
                  </a:lnTo>
                  <a:lnTo>
                    <a:pt x="2815" y="2313"/>
                  </a:lnTo>
                  <a:lnTo>
                    <a:pt x="2821" y="2321"/>
                  </a:lnTo>
                  <a:lnTo>
                    <a:pt x="2821" y="2418"/>
                  </a:lnTo>
                  <a:lnTo>
                    <a:pt x="2821" y="2418"/>
                  </a:lnTo>
                  <a:lnTo>
                    <a:pt x="2813" y="2427"/>
                  </a:lnTo>
                  <a:lnTo>
                    <a:pt x="2805" y="2434"/>
                  </a:lnTo>
                  <a:lnTo>
                    <a:pt x="2799" y="2438"/>
                  </a:lnTo>
                  <a:lnTo>
                    <a:pt x="2793" y="2440"/>
                  </a:lnTo>
                  <a:lnTo>
                    <a:pt x="2785" y="2441"/>
                  </a:lnTo>
                  <a:lnTo>
                    <a:pt x="2778" y="2443"/>
                  </a:lnTo>
                  <a:lnTo>
                    <a:pt x="2778" y="2443"/>
                  </a:lnTo>
                  <a:close/>
                  <a:moveTo>
                    <a:pt x="747" y="2315"/>
                  </a:moveTo>
                  <a:lnTo>
                    <a:pt x="747" y="2315"/>
                  </a:lnTo>
                  <a:lnTo>
                    <a:pt x="738" y="2310"/>
                  </a:lnTo>
                  <a:lnTo>
                    <a:pt x="728" y="2306"/>
                  </a:lnTo>
                  <a:lnTo>
                    <a:pt x="717" y="2303"/>
                  </a:lnTo>
                  <a:lnTo>
                    <a:pt x="706" y="2302"/>
                  </a:lnTo>
                  <a:lnTo>
                    <a:pt x="706" y="2302"/>
                  </a:lnTo>
                  <a:lnTo>
                    <a:pt x="696" y="2303"/>
                  </a:lnTo>
                  <a:lnTo>
                    <a:pt x="686" y="2306"/>
                  </a:lnTo>
                  <a:lnTo>
                    <a:pt x="679" y="2310"/>
                  </a:lnTo>
                  <a:lnTo>
                    <a:pt x="673" y="2317"/>
                  </a:lnTo>
                  <a:lnTo>
                    <a:pt x="668" y="2324"/>
                  </a:lnTo>
                  <a:lnTo>
                    <a:pt x="666" y="2334"/>
                  </a:lnTo>
                  <a:lnTo>
                    <a:pt x="663" y="2346"/>
                  </a:lnTo>
                  <a:lnTo>
                    <a:pt x="662" y="2359"/>
                  </a:lnTo>
                  <a:lnTo>
                    <a:pt x="662" y="2493"/>
                  </a:lnTo>
                  <a:lnTo>
                    <a:pt x="602" y="2493"/>
                  </a:lnTo>
                  <a:lnTo>
                    <a:pt x="602" y="2247"/>
                  </a:lnTo>
                  <a:lnTo>
                    <a:pt x="662" y="2247"/>
                  </a:lnTo>
                  <a:lnTo>
                    <a:pt x="662" y="2268"/>
                  </a:lnTo>
                  <a:lnTo>
                    <a:pt x="662" y="2268"/>
                  </a:lnTo>
                  <a:lnTo>
                    <a:pt x="668" y="2261"/>
                  </a:lnTo>
                  <a:lnTo>
                    <a:pt x="674" y="2255"/>
                  </a:lnTo>
                  <a:lnTo>
                    <a:pt x="680" y="2252"/>
                  </a:lnTo>
                  <a:lnTo>
                    <a:pt x="688" y="2248"/>
                  </a:lnTo>
                  <a:lnTo>
                    <a:pt x="694" y="2244"/>
                  </a:lnTo>
                  <a:lnTo>
                    <a:pt x="701" y="2243"/>
                  </a:lnTo>
                  <a:lnTo>
                    <a:pt x="710" y="2242"/>
                  </a:lnTo>
                  <a:lnTo>
                    <a:pt x="717" y="2241"/>
                  </a:lnTo>
                  <a:lnTo>
                    <a:pt x="717" y="2241"/>
                  </a:lnTo>
                  <a:lnTo>
                    <a:pt x="729" y="2242"/>
                  </a:lnTo>
                  <a:lnTo>
                    <a:pt x="742" y="2246"/>
                  </a:lnTo>
                  <a:lnTo>
                    <a:pt x="754" y="2250"/>
                  </a:lnTo>
                  <a:lnTo>
                    <a:pt x="764" y="2257"/>
                  </a:lnTo>
                  <a:lnTo>
                    <a:pt x="747" y="2315"/>
                  </a:lnTo>
                  <a:close/>
                  <a:moveTo>
                    <a:pt x="267" y="2247"/>
                  </a:moveTo>
                  <a:lnTo>
                    <a:pt x="327" y="2247"/>
                  </a:lnTo>
                  <a:lnTo>
                    <a:pt x="257" y="2493"/>
                  </a:lnTo>
                  <a:lnTo>
                    <a:pt x="205" y="2493"/>
                  </a:lnTo>
                  <a:lnTo>
                    <a:pt x="178" y="2391"/>
                  </a:lnTo>
                  <a:lnTo>
                    <a:pt x="178" y="2391"/>
                  </a:lnTo>
                  <a:lnTo>
                    <a:pt x="164" y="2337"/>
                  </a:lnTo>
                  <a:lnTo>
                    <a:pt x="164" y="2337"/>
                  </a:lnTo>
                  <a:lnTo>
                    <a:pt x="158" y="2363"/>
                  </a:lnTo>
                  <a:lnTo>
                    <a:pt x="151" y="2392"/>
                  </a:lnTo>
                  <a:lnTo>
                    <a:pt x="123" y="2493"/>
                  </a:lnTo>
                  <a:lnTo>
                    <a:pt x="70" y="2493"/>
                  </a:lnTo>
                  <a:lnTo>
                    <a:pt x="70" y="2491"/>
                  </a:lnTo>
                  <a:lnTo>
                    <a:pt x="0" y="2247"/>
                  </a:lnTo>
                  <a:lnTo>
                    <a:pt x="64" y="2247"/>
                  </a:lnTo>
                  <a:lnTo>
                    <a:pt x="86" y="2339"/>
                  </a:lnTo>
                  <a:lnTo>
                    <a:pt x="86" y="2339"/>
                  </a:lnTo>
                  <a:lnTo>
                    <a:pt x="92" y="2368"/>
                  </a:lnTo>
                  <a:lnTo>
                    <a:pt x="98" y="2398"/>
                  </a:lnTo>
                  <a:lnTo>
                    <a:pt x="98" y="2398"/>
                  </a:lnTo>
                  <a:lnTo>
                    <a:pt x="105" y="2368"/>
                  </a:lnTo>
                  <a:lnTo>
                    <a:pt x="113" y="2337"/>
                  </a:lnTo>
                  <a:lnTo>
                    <a:pt x="139" y="2247"/>
                  </a:lnTo>
                  <a:lnTo>
                    <a:pt x="191" y="2247"/>
                  </a:lnTo>
                  <a:lnTo>
                    <a:pt x="217" y="2337"/>
                  </a:lnTo>
                  <a:lnTo>
                    <a:pt x="217" y="2337"/>
                  </a:lnTo>
                  <a:lnTo>
                    <a:pt x="224" y="2367"/>
                  </a:lnTo>
                  <a:lnTo>
                    <a:pt x="232" y="2400"/>
                  </a:lnTo>
                  <a:lnTo>
                    <a:pt x="232" y="2400"/>
                  </a:lnTo>
                  <a:lnTo>
                    <a:pt x="237" y="2372"/>
                  </a:lnTo>
                  <a:lnTo>
                    <a:pt x="244" y="2337"/>
                  </a:lnTo>
                  <a:lnTo>
                    <a:pt x="267" y="2247"/>
                  </a:lnTo>
                  <a:close/>
                  <a:moveTo>
                    <a:pt x="451" y="2241"/>
                  </a:moveTo>
                  <a:lnTo>
                    <a:pt x="451" y="2241"/>
                  </a:lnTo>
                  <a:lnTo>
                    <a:pt x="440" y="2242"/>
                  </a:lnTo>
                  <a:lnTo>
                    <a:pt x="428" y="2243"/>
                  </a:lnTo>
                  <a:lnTo>
                    <a:pt x="417" y="2247"/>
                  </a:lnTo>
                  <a:lnTo>
                    <a:pt x="407" y="2250"/>
                  </a:lnTo>
                  <a:lnTo>
                    <a:pt x="397" y="2255"/>
                  </a:lnTo>
                  <a:lnTo>
                    <a:pt x="387" y="2261"/>
                  </a:lnTo>
                  <a:lnTo>
                    <a:pt x="379" y="2269"/>
                  </a:lnTo>
                  <a:lnTo>
                    <a:pt x="371" y="2277"/>
                  </a:lnTo>
                  <a:lnTo>
                    <a:pt x="364" y="2286"/>
                  </a:lnTo>
                  <a:lnTo>
                    <a:pt x="358" y="2296"/>
                  </a:lnTo>
                  <a:lnTo>
                    <a:pt x="352" y="2307"/>
                  </a:lnTo>
                  <a:lnTo>
                    <a:pt x="348" y="2318"/>
                  </a:lnTo>
                  <a:lnTo>
                    <a:pt x="344" y="2330"/>
                  </a:lnTo>
                  <a:lnTo>
                    <a:pt x="342" y="2342"/>
                  </a:lnTo>
                  <a:lnTo>
                    <a:pt x="340" y="2356"/>
                  </a:lnTo>
                  <a:lnTo>
                    <a:pt x="340" y="2370"/>
                  </a:lnTo>
                  <a:lnTo>
                    <a:pt x="340" y="2370"/>
                  </a:lnTo>
                  <a:lnTo>
                    <a:pt x="340" y="2384"/>
                  </a:lnTo>
                  <a:lnTo>
                    <a:pt x="342" y="2397"/>
                  </a:lnTo>
                  <a:lnTo>
                    <a:pt x="344" y="2410"/>
                  </a:lnTo>
                  <a:lnTo>
                    <a:pt x="348" y="2422"/>
                  </a:lnTo>
                  <a:lnTo>
                    <a:pt x="352" y="2433"/>
                  </a:lnTo>
                  <a:lnTo>
                    <a:pt x="358" y="2444"/>
                  </a:lnTo>
                  <a:lnTo>
                    <a:pt x="364" y="2454"/>
                  </a:lnTo>
                  <a:lnTo>
                    <a:pt x="371" y="2462"/>
                  </a:lnTo>
                  <a:lnTo>
                    <a:pt x="379" y="2471"/>
                  </a:lnTo>
                  <a:lnTo>
                    <a:pt x="387" y="2478"/>
                  </a:lnTo>
                  <a:lnTo>
                    <a:pt x="397" y="2484"/>
                  </a:lnTo>
                  <a:lnTo>
                    <a:pt x="407" y="2489"/>
                  </a:lnTo>
                  <a:lnTo>
                    <a:pt x="417" y="2493"/>
                  </a:lnTo>
                  <a:lnTo>
                    <a:pt x="428" y="2496"/>
                  </a:lnTo>
                  <a:lnTo>
                    <a:pt x="440" y="2498"/>
                  </a:lnTo>
                  <a:lnTo>
                    <a:pt x="451" y="2499"/>
                  </a:lnTo>
                  <a:lnTo>
                    <a:pt x="451" y="2499"/>
                  </a:lnTo>
                  <a:lnTo>
                    <a:pt x="463" y="2498"/>
                  </a:lnTo>
                  <a:lnTo>
                    <a:pt x="476" y="2496"/>
                  </a:lnTo>
                  <a:lnTo>
                    <a:pt x="487" y="2493"/>
                  </a:lnTo>
                  <a:lnTo>
                    <a:pt x="496" y="2489"/>
                  </a:lnTo>
                  <a:lnTo>
                    <a:pt x="506" y="2484"/>
                  </a:lnTo>
                  <a:lnTo>
                    <a:pt x="516" y="2478"/>
                  </a:lnTo>
                  <a:lnTo>
                    <a:pt x="525" y="2471"/>
                  </a:lnTo>
                  <a:lnTo>
                    <a:pt x="532" y="2462"/>
                  </a:lnTo>
                  <a:lnTo>
                    <a:pt x="539" y="2454"/>
                  </a:lnTo>
                  <a:lnTo>
                    <a:pt x="546" y="2444"/>
                  </a:lnTo>
                  <a:lnTo>
                    <a:pt x="550" y="2433"/>
                  </a:lnTo>
                  <a:lnTo>
                    <a:pt x="555" y="2422"/>
                  </a:lnTo>
                  <a:lnTo>
                    <a:pt x="559" y="2410"/>
                  </a:lnTo>
                  <a:lnTo>
                    <a:pt x="561" y="2397"/>
                  </a:lnTo>
                  <a:lnTo>
                    <a:pt x="564" y="2384"/>
                  </a:lnTo>
                  <a:lnTo>
                    <a:pt x="564" y="2370"/>
                  </a:lnTo>
                  <a:lnTo>
                    <a:pt x="564" y="2370"/>
                  </a:lnTo>
                  <a:lnTo>
                    <a:pt x="564" y="2356"/>
                  </a:lnTo>
                  <a:lnTo>
                    <a:pt x="561" y="2342"/>
                  </a:lnTo>
                  <a:lnTo>
                    <a:pt x="559" y="2330"/>
                  </a:lnTo>
                  <a:lnTo>
                    <a:pt x="555" y="2318"/>
                  </a:lnTo>
                  <a:lnTo>
                    <a:pt x="550" y="2307"/>
                  </a:lnTo>
                  <a:lnTo>
                    <a:pt x="546" y="2296"/>
                  </a:lnTo>
                  <a:lnTo>
                    <a:pt x="539" y="2286"/>
                  </a:lnTo>
                  <a:lnTo>
                    <a:pt x="532" y="2277"/>
                  </a:lnTo>
                  <a:lnTo>
                    <a:pt x="525" y="2269"/>
                  </a:lnTo>
                  <a:lnTo>
                    <a:pt x="516" y="2261"/>
                  </a:lnTo>
                  <a:lnTo>
                    <a:pt x="506" y="2255"/>
                  </a:lnTo>
                  <a:lnTo>
                    <a:pt x="496" y="2250"/>
                  </a:lnTo>
                  <a:lnTo>
                    <a:pt x="487" y="2247"/>
                  </a:lnTo>
                  <a:lnTo>
                    <a:pt x="476" y="2243"/>
                  </a:lnTo>
                  <a:lnTo>
                    <a:pt x="463" y="2242"/>
                  </a:lnTo>
                  <a:lnTo>
                    <a:pt x="451" y="2241"/>
                  </a:lnTo>
                  <a:lnTo>
                    <a:pt x="451" y="2241"/>
                  </a:lnTo>
                  <a:close/>
                  <a:moveTo>
                    <a:pt x="451" y="2441"/>
                  </a:moveTo>
                  <a:lnTo>
                    <a:pt x="451" y="2441"/>
                  </a:lnTo>
                  <a:lnTo>
                    <a:pt x="440" y="2440"/>
                  </a:lnTo>
                  <a:lnTo>
                    <a:pt x="430" y="2436"/>
                  </a:lnTo>
                  <a:lnTo>
                    <a:pt x="423" y="2430"/>
                  </a:lnTo>
                  <a:lnTo>
                    <a:pt x="416" y="2422"/>
                  </a:lnTo>
                  <a:lnTo>
                    <a:pt x="409" y="2412"/>
                  </a:lnTo>
                  <a:lnTo>
                    <a:pt x="405" y="2400"/>
                  </a:lnTo>
                  <a:lnTo>
                    <a:pt x="402" y="2385"/>
                  </a:lnTo>
                  <a:lnTo>
                    <a:pt x="402" y="2370"/>
                  </a:lnTo>
                  <a:lnTo>
                    <a:pt x="402" y="2370"/>
                  </a:lnTo>
                  <a:lnTo>
                    <a:pt x="402" y="2354"/>
                  </a:lnTo>
                  <a:lnTo>
                    <a:pt x="405" y="2340"/>
                  </a:lnTo>
                  <a:lnTo>
                    <a:pt x="409" y="2329"/>
                  </a:lnTo>
                  <a:lnTo>
                    <a:pt x="416" y="2318"/>
                  </a:lnTo>
                  <a:lnTo>
                    <a:pt x="423" y="2309"/>
                  </a:lnTo>
                  <a:lnTo>
                    <a:pt x="430" y="2303"/>
                  </a:lnTo>
                  <a:lnTo>
                    <a:pt x="440" y="2299"/>
                  </a:lnTo>
                  <a:lnTo>
                    <a:pt x="451" y="2298"/>
                  </a:lnTo>
                  <a:lnTo>
                    <a:pt x="451" y="2298"/>
                  </a:lnTo>
                  <a:lnTo>
                    <a:pt x="462" y="2299"/>
                  </a:lnTo>
                  <a:lnTo>
                    <a:pt x="472" y="2303"/>
                  </a:lnTo>
                  <a:lnTo>
                    <a:pt x="481" y="2309"/>
                  </a:lnTo>
                  <a:lnTo>
                    <a:pt x="488" y="2318"/>
                  </a:lnTo>
                  <a:lnTo>
                    <a:pt x="494" y="2329"/>
                  </a:lnTo>
                  <a:lnTo>
                    <a:pt x="498" y="2340"/>
                  </a:lnTo>
                  <a:lnTo>
                    <a:pt x="500" y="2354"/>
                  </a:lnTo>
                  <a:lnTo>
                    <a:pt x="501" y="2370"/>
                  </a:lnTo>
                  <a:lnTo>
                    <a:pt x="501" y="2370"/>
                  </a:lnTo>
                  <a:lnTo>
                    <a:pt x="500" y="2385"/>
                  </a:lnTo>
                  <a:lnTo>
                    <a:pt x="498" y="2400"/>
                  </a:lnTo>
                  <a:lnTo>
                    <a:pt x="494" y="2412"/>
                  </a:lnTo>
                  <a:lnTo>
                    <a:pt x="488" y="2422"/>
                  </a:lnTo>
                  <a:lnTo>
                    <a:pt x="481" y="2430"/>
                  </a:lnTo>
                  <a:lnTo>
                    <a:pt x="472" y="2436"/>
                  </a:lnTo>
                  <a:lnTo>
                    <a:pt x="462" y="2440"/>
                  </a:lnTo>
                  <a:lnTo>
                    <a:pt x="451" y="2441"/>
                  </a:lnTo>
                  <a:lnTo>
                    <a:pt x="451" y="2441"/>
                  </a:lnTo>
                  <a:close/>
                  <a:moveTo>
                    <a:pt x="2520" y="2315"/>
                  </a:moveTo>
                  <a:lnTo>
                    <a:pt x="2520" y="2315"/>
                  </a:lnTo>
                  <a:lnTo>
                    <a:pt x="2511" y="2310"/>
                  </a:lnTo>
                  <a:lnTo>
                    <a:pt x="2501" y="2306"/>
                  </a:lnTo>
                  <a:lnTo>
                    <a:pt x="2490" y="2303"/>
                  </a:lnTo>
                  <a:lnTo>
                    <a:pt x="2480" y="2302"/>
                  </a:lnTo>
                  <a:lnTo>
                    <a:pt x="2480" y="2302"/>
                  </a:lnTo>
                  <a:lnTo>
                    <a:pt x="2469" y="2303"/>
                  </a:lnTo>
                  <a:lnTo>
                    <a:pt x="2460" y="2306"/>
                  </a:lnTo>
                  <a:lnTo>
                    <a:pt x="2453" y="2310"/>
                  </a:lnTo>
                  <a:lnTo>
                    <a:pt x="2447" y="2317"/>
                  </a:lnTo>
                  <a:lnTo>
                    <a:pt x="2442" y="2324"/>
                  </a:lnTo>
                  <a:lnTo>
                    <a:pt x="2438" y="2334"/>
                  </a:lnTo>
                  <a:lnTo>
                    <a:pt x="2436" y="2346"/>
                  </a:lnTo>
                  <a:lnTo>
                    <a:pt x="2436" y="2359"/>
                  </a:lnTo>
                  <a:lnTo>
                    <a:pt x="2436" y="2493"/>
                  </a:lnTo>
                  <a:lnTo>
                    <a:pt x="2375" y="2493"/>
                  </a:lnTo>
                  <a:lnTo>
                    <a:pt x="2375" y="2247"/>
                  </a:lnTo>
                  <a:lnTo>
                    <a:pt x="2436" y="2247"/>
                  </a:lnTo>
                  <a:lnTo>
                    <a:pt x="2436" y="2268"/>
                  </a:lnTo>
                  <a:lnTo>
                    <a:pt x="2436" y="2268"/>
                  </a:lnTo>
                  <a:lnTo>
                    <a:pt x="2441" y="2261"/>
                  </a:lnTo>
                  <a:lnTo>
                    <a:pt x="2447" y="2255"/>
                  </a:lnTo>
                  <a:lnTo>
                    <a:pt x="2453" y="2252"/>
                  </a:lnTo>
                  <a:lnTo>
                    <a:pt x="2460" y="2248"/>
                  </a:lnTo>
                  <a:lnTo>
                    <a:pt x="2468" y="2244"/>
                  </a:lnTo>
                  <a:lnTo>
                    <a:pt x="2475" y="2243"/>
                  </a:lnTo>
                  <a:lnTo>
                    <a:pt x="2482" y="2242"/>
                  </a:lnTo>
                  <a:lnTo>
                    <a:pt x="2490" y="2241"/>
                  </a:lnTo>
                  <a:lnTo>
                    <a:pt x="2490" y="2241"/>
                  </a:lnTo>
                  <a:lnTo>
                    <a:pt x="2502" y="2242"/>
                  </a:lnTo>
                  <a:lnTo>
                    <a:pt x="2514" y="2246"/>
                  </a:lnTo>
                  <a:lnTo>
                    <a:pt x="2527" y="2250"/>
                  </a:lnTo>
                  <a:lnTo>
                    <a:pt x="2536" y="2257"/>
                  </a:lnTo>
                  <a:lnTo>
                    <a:pt x="2520" y="2315"/>
                  </a:lnTo>
                  <a:close/>
                  <a:moveTo>
                    <a:pt x="2040" y="2247"/>
                  </a:moveTo>
                  <a:lnTo>
                    <a:pt x="2100" y="2247"/>
                  </a:lnTo>
                  <a:lnTo>
                    <a:pt x="2030" y="2493"/>
                  </a:lnTo>
                  <a:lnTo>
                    <a:pt x="1977" y="2493"/>
                  </a:lnTo>
                  <a:lnTo>
                    <a:pt x="1950" y="2391"/>
                  </a:lnTo>
                  <a:lnTo>
                    <a:pt x="1950" y="2391"/>
                  </a:lnTo>
                  <a:lnTo>
                    <a:pt x="1937" y="2337"/>
                  </a:lnTo>
                  <a:lnTo>
                    <a:pt x="1937" y="2337"/>
                  </a:lnTo>
                  <a:lnTo>
                    <a:pt x="1931" y="2363"/>
                  </a:lnTo>
                  <a:lnTo>
                    <a:pt x="1923" y="2392"/>
                  </a:lnTo>
                  <a:lnTo>
                    <a:pt x="1896" y="2493"/>
                  </a:lnTo>
                  <a:lnTo>
                    <a:pt x="1844" y="2493"/>
                  </a:lnTo>
                  <a:lnTo>
                    <a:pt x="1842" y="2491"/>
                  </a:lnTo>
                  <a:lnTo>
                    <a:pt x="1774" y="2247"/>
                  </a:lnTo>
                  <a:lnTo>
                    <a:pt x="1836" y="2247"/>
                  </a:lnTo>
                  <a:lnTo>
                    <a:pt x="1860" y="2339"/>
                  </a:lnTo>
                  <a:lnTo>
                    <a:pt x="1860" y="2339"/>
                  </a:lnTo>
                  <a:lnTo>
                    <a:pt x="1866" y="2368"/>
                  </a:lnTo>
                  <a:lnTo>
                    <a:pt x="1872" y="2398"/>
                  </a:lnTo>
                  <a:lnTo>
                    <a:pt x="1872" y="2398"/>
                  </a:lnTo>
                  <a:lnTo>
                    <a:pt x="1878" y="2368"/>
                  </a:lnTo>
                  <a:lnTo>
                    <a:pt x="1887" y="2337"/>
                  </a:lnTo>
                  <a:lnTo>
                    <a:pt x="1912" y="2247"/>
                  </a:lnTo>
                  <a:lnTo>
                    <a:pt x="1964" y="2247"/>
                  </a:lnTo>
                  <a:lnTo>
                    <a:pt x="1990" y="2337"/>
                  </a:lnTo>
                  <a:lnTo>
                    <a:pt x="1990" y="2337"/>
                  </a:lnTo>
                  <a:lnTo>
                    <a:pt x="1997" y="2367"/>
                  </a:lnTo>
                  <a:lnTo>
                    <a:pt x="2004" y="2400"/>
                  </a:lnTo>
                  <a:lnTo>
                    <a:pt x="2004" y="2400"/>
                  </a:lnTo>
                  <a:lnTo>
                    <a:pt x="2010" y="2372"/>
                  </a:lnTo>
                  <a:lnTo>
                    <a:pt x="2018" y="2337"/>
                  </a:lnTo>
                  <a:lnTo>
                    <a:pt x="2040" y="2247"/>
                  </a:lnTo>
                  <a:close/>
                  <a:moveTo>
                    <a:pt x="2224" y="2241"/>
                  </a:moveTo>
                  <a:lnTo>
                    <a:pt x="2224" y="2241"/>
                  </a:lnTo>
                  <a:lnTo>
                    <a:pt x="2213" y="2242"/>
                  </a:lnTo>
                  <a:lnTo>
                    <a:pt x="2200" y="2243"/>
                  </a:lnTo>
                  <a:lnTo>
                    <a:pt x="2189" y="2247"/>
                  </a:lnTo>
                  <a:lnTo>
                    <a:pt x="2180" y="2250"/>
                  </a:lnTo>
                  <a:lnTo>
                    <a:pt x="2170" y="2255"/>
                  </a:lnTo>
                  <a:lnTo>
                    <a:pt x="2160" y="2263"/>
                  </a:lnTo>
                  <a:lnTo>
                    <a:pt x="2151" y="2269"/>
                  </a:lnTo>
                  <a:lnTo>
                    <a:pt x="2144" y="2277"/>
                  </a:lnTo>
                  <a:lnTo>
                    <a:pt x="2137" y="2286"/>
                  </a:lnTo>
                  <a:lnTo>
                    <a:pt x="2131" y="2296"/>
                  </a:lnTo>
                  <a:lnTo>
                    <a:pt x="2124" y="2307"/>
                  </a:lnTo>
                  <a:lnTo>
                    <a:pt x="2121" y="2318"/>
                  </a:lnTo>
                  <a:lnTo>
                    <a:pt x="2117" y="2330"/>
                  </a:lnTo>
                  <a:lnTo>
                    <a:pt x="2113" y="2343"/>
                  </a:lnTo>
                  <a:lnTo>
                    <a:pt x="2112" y="2356"/>
                  </a:lnTo>
                  <a:lnTo>
                    <a:pt x="2112" y="2370"/>
                  </a:lnTo>
                  <a:lnTo>
                    <a:pt x="2112" y="2370"/>
                  </a:lnTo>
                  <a:lnTo>
                    <a:pt x="2112" y="2384"/>
                  </a:lnTo>
                  <a:lnTo>
                    <a:pt x="2113" y="2397"/>
                  </a:lnTo>
                  <a:lnTo>
                    <a:pt x="2117" y="2410"/>
                  </a:lnTo>
                  <a:lnTo>
                    <a:pt x="2121" y="2422"/>
                  </a:lnTo>
                  <a:lnTo>
                    <a:pt x="2124" y="2433"/>
                  </a:lnTo>
                  <a:lnTo>
                    <a:pt x="2131" y="2444"/>
                  </a:lnTo>
                  <a:lnTo>
                    <a:pt x="2137" y="2454"/>
                  </a:lnTo>
                  <a:lnTo>
                    <a:pt x="2144" y="2462"/>
                  </a:lnTo>
                  <a:lnTo>
                    <a:pt x="2151" y="2471"/>
                  </a:lnTo>
                  <a:lnTo>
                    <a:pt x="2160" y="2478"/>
                  </a:lnTo>
                  <a:lnTo>
                    <a:pt x="2170" y="2484"/>
                  </a:lnTo>
                  <a:lnTo>
                    <a:pt x="2180" y="2489"/>
                  </a:lnTo>
                  <a:lnTo>
                    <a:pt x="2189" y="2493"/>
                  </a:lnTo>
                  <a:lnTo>
                    <a:pt x="2200" y="2496"/>
                  </a:lnTo>
                  <a:lnTo>
                    <a:pt x="2213" y="2498"/>
                  </a:lnTo>
                  <a:lnTo>
                    <a:pt x="2224" y="2499"/>
                  </a:lnTo>
                  <a:lnTo>
                    <a:pt x="2224" y="2499"/>
                  </a:lnTo>
                  <a:lnTo>
                    <a:pt x="2236" y="2498"/>
                  </a:lnTo>
                  <a:lnTo>
                    <a:pt x="2248" y="2496"/>
                  </a:lnTo>
                  <a:lnTo>
                    <a:pt x="2259" y="2493"/>
                  </a:lnTo>
                  <a:lnTo>
                    <a:pt x="2269" y="2489"/>
                  </a:lnTo>
                  <a:lnTo>
                    <a:pt x="2279" y="2484"/>
                  </a:lnTo>
                  <a:lnTo>
                    <a:pt x="2289" y="2478"/>
                  </a:lnTo>
                  <a:lnTo>
                    <a:pt x="2297" y="2471"/>
                  </a:lnTo>
                  <a:lnTo>
                    <a:pt x="2305" y="2462"/>
                  </a:lnTo>
                  <a:lnTo>
                    <a:pt x="2312" y="2454"/>
                  </a:lnTo>
                  <a:lnTo>
                    <a:pt x="2318" y="2444"/>
                  </a:lnTo>
                  <a:lnTo>
                    <a:pt x="2323" y="2433"/>
                  </a:lnTo>
                  <a:lnTo>
                    <a:pt x="2328" y="2422"/>
                  </a:lnTo>
                  <a:lnTo>
                    <a:pt x="2332" y="2410"/>
                  </a:lnTo>
                  <a:lnTo>
                    <a:pt x="2334" y="2397"/>
                  </a:lnTo>
                  <a:lnTo>
                    <a:pt x="2337" y="2384"/>
                  </a:lnTo>
                  <a:lnTo>
                    <a:pt x="2337" y="2370"/>
                  </a:lnTo>
                  <a:lnTo>
                    <a:pt x="2337" y="2370"/>
                  </a:lnTo>
                  <a:lnTo>
                    <a:pt x="2337" y="2356"/>
                  </a:lnTo>
                  <a:lnTo>
                    <a:pt x="2334" y="2343"/>
                  </a:lnTo>
                  <a:lnTo>
                    <a:pt x="2332" y="2330"/>
                  </a:lnTo>
                  <a:lnTo>
                    <a:pt x="2328" y="2318"/>
                  </a:lnTo>
                  <a:lnTo>
                    <a:pt x="2323" y="2307"/>
                  </a:lnTo>
                  <a:lnTo>
                    <a:pt x="2318" y="2296"/>
                  </a:lnTo>
                  <a:lnTo>
                    <a:pt x="2312" y="2286"/>
                  </a:lnTo>
                  <a:lnTo>
                    <a:pt x="2305" y="2277"/>
                  </a:lnTo>
                  <a:lnTo>
                    <a:pt x="2297" y="2269"/>
                  </a:lnTo>
                  <a:lnTo>
                    <a:pt x="2289" y="2263"/>
                  </a:lnTo>
                  <a:lnTo>
                    <a:pt x="2279" y="2255"/>
                  </a:lnTo>
                  <a:lnTo>
                    <a:pt x="2269" y="2250"/>
                  </a:lnTo>
                  <a:lnTo>
                    <a:pt x="2259" y="2247"/>
                  </a:lnTo>
                  <a:lnTo>
                    <a:pt x="2248" y="2243"/>
                  </a:lnTo>
                  <a:lnTo>
                    <a:pt x="2236" y="2242"/>
                  </a:lnTo>
                  <a:lnTo>
                    <a:pt x="2224" y="2241"/>
                  </a:lnTo>
                  <a:lnTo>
                    <a:pt x="2224" y="2241"/>
                  </a:lnTo>
                  <a:close/>
                  <a:moveTo>
                    <a:pt x="2224" y="2441"/>
                  </a:moveTo>
                  <a:lnTo>
                    <a:pt x="2224" y="2441"/>
                  </a:lnTo>
                  <a:lnTo>
                    <a:pt x="2213" y="2440"/>
                  </a:lnTo>
                  <a:lnTo>
                    <a:pt x="2204" y="2436"/>
                  </a:lnTo>
                  <a:lnTo>
                    <a:pt x="2196" y="2430"/>
                  </a:lnTo>
                  <a:lnTo>
                    <a:pt x="2188" y="2422"/>
                  </a:lnTo>
                  <a:lnTo>
                    <a:pt x="2182" y="2412"/>
                  </a:lnTo>
                  <a:lnTo>
                    <a:pt x="2177" y="2400"/>
                  </a:lnTo>
                  <a:lnTo>
                    <a:pt x="2175" y="2385"/>
                  </a:lnTo>
                  <a:lnTo>
                    <a:pt x="2175" y="2370"/>
                  </a:lnTo>
                  <a:lnTo>
                    <a:pt x="2175" y="2370"/>
                  </a:lnTo>
                  <a:lnTo>
                    <a:pt x="2175" y="2354"/>
                  </a:lnTo>
                  <a:lnTo>
                    <a:pt x="2177" y="2341"/>
                  </a:lnTo>
                  <a:lnTo>
                    <a:pt x="2182" y="2329"/>
                  </a:lnTo>
                  <a:lnTo>
                    <a:pt x="2188" y="2318"/>
                  </a:lnTo>
                  <a:lnTo>
                    <a:pt x="2196" y="2309"/>
                  </a:lnTo>
                  <a:lnTo>
                    <a:pt x="2204" y="2303"/>
                  </a:lnTo>
                  <a:lnTo>
                    <a:pt x="2213" y="2299"/>
                  </a:lnTo>
                  <a:lnTo>
                    <a:pt x="2224" y="2298"/>
                  </a:lnTo>
                  <a:lnTo>
                    <a:pt x="2224" y="2298"/>
                  </a:lnTo>
                  <a:lnTo>
                    <a:pt x="2235" y="2299"/>
                  </a:lnTo>
                  <a:lnTo>
                    <a:pt x="2245" y="2303"/>
                  </a:lnTo>
                  <a:lnTo>
                    <a:pt x="2253" y="2309"/>
                  </a:lnTo>
                  <a:lnTo>
                    <a:pt x="2261" y="2318"/>
                  </a:lnTo>
                  <a:lnTo>
                    <a:pt x="2267" y="2329"/>
                  </a:lnTo>
                  <a:lnTo>
                    <a:pt x="2270" y="2341"/>
                  </a:lnTo>
                  <a:lnTo>
                    <a:pt x="2273" y="2354"/>
                  </a:lnTo>
                  <a:lnTo>
                    <a:pt x="2274" y="2370"/>
                  </a:lnTo>
                  <a:lnTo>
                    <a:pt x="2274" y="2370"/>
                  </a:lnTo>
                  <a:lnTo>
                    <a:pt x="2273" y="2385"/>
                  </a:lnTo>
                  <a:lnTo>
                    <a:pt x="2270" y="2400"/>
                  </a:lnTo>
                  <a:lnTo>
                    <a:pt x="2267" y="2412"/>
                  </a:lnTo>
                  <a:lnTo>
                    <a:pt x="2261" y="2422"/>
                  </a:lnTo>
                  <a:lnTo>
                    <a:pt x="2253" y="2430"/>
                  </a:lnTo>
                  <a:lnTo>
                    <a:pt x="2245" y="2436"/>
                  </a:lnTo>
                  <a:lnTo>
                    <a:pt x="2235" y="2440"/>
                  </a:lnTo>
                  <a:lnTo>
                    <a:pt x="2224" y="2441"/>
                  </a:lnTo>
                  <a:lnTo>
                    <a:pt x="2224" y="2441"/>
                  </a:lnTo>
                  <a:close/>
                  <a:moveTo>
                    <a:pt x="929" y="2328"/>
                  </a:moveTo>
                  <a:lnTo>
                    <a:pt x="1004" y="2493"/>
                  </a:lnTo>
                  <a:lnTo>
                    <a:pt x="937" y="2493"/>
                  </a:lnTo>
                  <a:lnTo>
                    <a:pt x="885" y="2379"/>
                  </a:lnTo>
                  <a:lnTo>
                    <a:pt x="852" y="2419"/>
                  </a:lnTo>
                  <a:lnTo>
                    <a:pt x="852" y="2493"/>
                  </a:lnTo>
                  <a:lnTo>
                    <a:pt x="792" y="2493"/>
                  </a:lnTo>
                  <a:lnTo>
                    <a:pt x="792" y="2175"/>
                  </a:lnTo>
                  <a:lnTo>
                    <a:pt x="852" y="2144"/>
                  </a:lnTo>
                  <a:lnTo>
                    <a:pt x="852" y="2341"/>
                  </a:lnTo>
                  <a:lnTo>
                    <a:pt x="852" y="2341"/>
                  </a:lnTo>
                  <a:lnTo>
                    <a:pt x="875" y="2309"/>
                  </a:lnTo>
                  <a:lnTo>
                    <a:pt x="924" y="2247"/>
                  </a:lnTo>
                  <a:lnTo>
                    <a:pt x="995" y="2247"/>
                  </a:lnTo>
                  <a:lnTo>
                    <a:pt x="929" y="2328"/>
                  </a:lnTo>
                  <a:close/>
                  <a:moveTo>
                    <a:pt x="1219" y="2493"/>
                  </a:moveTo>
                  <a:lnTo>
                    <a:pt x="1157" y="2493"/>
                  </a:lnTo>
                  <a:lnTo>
                    <a:pt x="1157" y="2247"/>
                  </a:lnTo>
                  <a:lnTo>
                    <a:pt x="1219" y="2247"/>
                  </a:lnTo>
                  <a:lnTo>
                    <a:pt x="1219" y="2268"/>
                  </a:lnTo>
                  <a:lnTo>
                    <a:pt x="1219" y="2268"/>
                  </a:lnTo>
                  <a:lnTo>
                    <a:pt x="1225" y="2261"/>
                  </a:lnTo>
                  <a:lnTo>
                    <a:pt x="1231" y="2257"/>
                  </a:lnTo>
                  <a:lnTo>
                    <a:pt x="1238" y="2252"/>
                  </a:lnTo>
                  <a:lnTo>
                    <a:pt x="1245" y="2248"/>
                  </a:lnTo>
                  <a:lnTo>
                    <a:pt x="1254" y="2246"/>
                  </a:lnTo>
                  <a:lnTo>
                    <a:pt x="1263" y="2243"/>
                  </a:lnTo>
                  <a:lnTo>
                    <a:pt x="1271" y="2242"/>
                  </a:lnTo>
                  <a:lnTo>
                    <a:pt x="1281" y="2241"/>
                  </a:lnTo>
                  <a:lnTo>
                    <a:pt x="1281" y="2241"/>
                  </a:lnTo>
                  <a:lnTo>
                    <a:pt x="1292" y="2242"/>
                  </a:lnTo>
                  <a:lnTo>
                    <a:pt x="1302" y="2243"/>
                  </a:lnTo>
                  <a:lnTo>
                    <a:pt x="1310" y="2246"/>
                  </a:lnTo>
                  <a:lnTo>
                    <a:pt x="1320" y="2248"/>
                  </a:lnTo>
                  <a:lnTo>
                    <a:pt x="1328" y="2253"/>
                  </a:lnTo>
                  <a:lnTo>
                    <a:pt x="1335" y="2258"/>
                  </a:lnTo>
                  <a:lnTo>
                    <a:pt x="1342" y="2263"/>
                  </a:lnTo>
                  <a:lnTo>
                    <a:pt x="1348" y="2270"/>
                  </a:lnTo>
                  <a:lnTo>
                    <a:pt x="1353" y="2277"/>
                  </a:lnTo>
                  <a:lnTo>
                    <a:pt x="1358" y="2286"/>
                  </a:lnTo>
                  <a:lnTo>
                    <a:pt x="1362" y="2295"/>
                  </a:lnTo>
                  <a:lnTo>
                    <a:pt x="1366" y="2306"/>
                  </a:lnTo>
                  <a:lnTo>
                    <a:pt x="1368" y="2317"/>
                  </a:lnTo>
                  <a:lnTo>
                    <a:pt x="1369" y="2328"/>
                  </a:lnTo>
                  <a:lnTo>
                    <a:pt x="1371" y="2340"/>
                  </a:lnTo>
                  <a:lnTo>
                    <a:pt x="1372" y="2353"/>
                  </a:lnTo>
                  <a:lnTo>
                    <a:pt x="1372" y="2493"/>
                  </a:lnTo>
                  <a:lnTo>
                    <a:pt x="1310" y="2493"/>
                  </a:lnTo>
                  <a:lnTo>
                    <a:pt x="1310" y="2357"/>
                  </a:lnTo>
                  <a:lnTo>
                    <a:pt x="1310" y="2357"/>
                  </a:lnTo>
                  <a:lnTo>
                    <a:pt x="1309" y="2343"/>
                  </a:lnTo>
                  <a:lnTo>
                    <a:pt x="1308" y="2330"/>
                  </a:lnTo>
                  <a:lnTo>
                    <a:pt x="1304" y="2320"/>
                  </a:lnTo>
                  <a:lnTo>
                    <a:pt x="1299" y="2312"/>
                  </a:lnTo>
                  <a:lnTo>
                    <a:pt x="1293" y="2306"/>
                  </a:lnTo>
                  <a:lnTo>
                    <a:pt x="1286" y="2301"/>
                  </a:lnTo>
                  <a:lnTo>
                    <a:pt x="1276" y="2298"/>
                  </a:lnTo>
                  <a:lnTo>
                    <a:pt x="1265" y="2297"/>
                  </a:lnTo>
                  <a:lnTo>
                    <a:pt x="1265" y="2297"/>
                  </a:lnTo>
                  <a:lnTo>
                    <a:pt x="1255" y="2298"/>
                  </a:lnTo>
                  <a:lnTo>
                    <a:pt x="1245" y="2301"/>
                  </a:lnTo>
                  <a:lnTo>
                    <a:pt x="1237" y="2306"/>
                  </a:lnTo>
                  <a:lnTo>
                    <a:pt x="1231" y="2313"/>
                  </a:lnTo>
                  <a:lnTo>
                    <a:pt x="1226" y="2320"/>
                  </a:lnTo>
                  <a:lnTo>
                    <a:pt x="1222" y="2331"/>
                  </a:lnTo>
                  <a:lnTo>
                    <a:pt x="1220" y="2343"/>
                  </a:lnTo>
                  <a:lnTo>
                    <a:pt x="1219" y="2357"/>
                  </a:lnTo>
                  <a:lnTo>
                    <a:pt x="1219" y="2493"/>
                  </a:lnTo>
                  <a:close/>
                  <a:moveTo>
                    <a:pt x="1564" y="2264"/>
                  </a:moveTo>
                  <a:lnTo>
                    <a:pt x="1564" y="2264"/>
                  </a:lnTo>
                  <a:lnTo>
                    <a:pt x="1558" y="2259"/>
                  </a:lnTo>
                  <a:lnTo>
                    <a:pt x="1552" y="2254"/>
                  </a:lnTo>
                  <a:lnTo>
                    <a:pt x="1546" y="2250"/>
                  </a:lnTo>
                  <a:lnTo>
                    <a:pt x="1538" y="2247"/>
                  </a:lnTo>
                  <a:lnTo>
                    <a:pt x="1531" y="2244"/>
                  </a:lnTo>
                  <a:lnTo>
                    <a:pt x="1524" y="2243"/>
                  </a:lnTo>
                  <a:lnTo>
                    <a:pt x="1516" y="2242"/>
                  </a:lnTo>
                  <a:lnTo>
                    <a:pt x="1509" y="2241"/>
                  </a:lnTo>
                  <a:lnTo>
                    <a:pt x="1509" y="2241"/>
                  </a:lnTo>
                  <a:lnTo>
                    <a:pt x="1498" y="2242"/>
                  </a:lnTo>
                  <a:lnTo>
                    <a:pt x="1488" y="2243"/>
                  </a:lnTo>
                  <a:lnTo>
                    <a:pt x="1478" y="2246"/>
                  </a:lnTo>
                  <a:lnTo>
                    <a:pt x="1469" y="2250"/>
                  </a:lnTo>
                  <a:lnTo>
                    <a:pt x="1460" y="2254"/>
                  </a:lnTo>
                  <a:lnTo>
                    <a:pt x="1453" y="2260"/>
                  </a:lnTo>
                  <a:lnTo>
                    <a:pt x="1445" y="2268"/>
                  </a:lnTo>
                  <a:lnTo>
                    <a:pt x="1438" y="2275"/>
                  </a:lnTo>
                  <a:lnTo>
                    <a:pt x="1432" y="2284"/>
                  </a:lnTo>
                  <a:lnTo>
                    <a:pt x="1427" y="2293"/>
                  </a:lnTo>
                  <a:lnTo>
                    <a:pt x="1422" y="2303"/>
                  </a:lnTo>
                  <a:lnTo>
                    <a:pt x="1418" y="2315"/>
                  </a:lnTo>
                  <a:lnTo>
                    <a:pt x="1416" y="2326"/>
                  </a:lnTo>
                  <a:lnTo>
                    <a:pt x="1413" y="2340"/>
                  </a:lnTo>
                  <a:lnTo>
                    <a:pt x="1412" y="2353"/>
                  </a:lnTo>
                  <a:lnTo>
                    <a:pt x="1412" y="2367"/>
                  </a:lnTo>
                  <a:lnTo>
                    <a:pt x="1412" y="2367"/>
                  </a:lnTo>
                  <a:lnTo>
                    <a:pt x="1412" y="2383"/>
                  </a:lnTo>
                  <a:lnTo>
                    <a:pt x="1413" y="2396"/>
                  </a:lnTo>
                  <a:lnTo>
                    <a:pt x="1416" y="2410"/>
                  </a:lnTo>
                  <a:lnTo>
                    <a:pt x="1418" y="2423"/>
                  </a:lnTo>
                  <a:lnTo>
                    <a:pt x="1422" y="2434"/>
                  </a:lnTo>
                  <a:lnTo>
                    <a:pt x="1427" y="2445"/>
                  </a:lnTo>
                  <a:lnTo>
                    <a:pt x="1432" y="2455"/>
                  </a:lnTo>
                  <a:lnTo>
                    <a:pt x="1438" y="2463"/>
                  </a:lnTo>
                  <a:lnTo>
                    <a:pt x="1444" y="2472"/>
                  </a:lnTo>
                  <a:lnTo>
                    <a:pt x="1451" y="2478"/>
                  </a:lnTo>
                  <a:lnTo>
                    <a:pt x="1459" y="2484"/>
                  </a:lnTo>
                  <a:lnTo>
                    <a:pt x="1467" y="2489"/>
                  </a:lnTo>
                  <a:lnTo>
                    <a:pt x="1477" y="2493"/>
                  </a:lnTo>
                  <a:lnTo>
                    <a:pt x="1487" y="2496"/>
                  </a:lnTo>
                  <a:lnTo>
                    <a:pt x="1497" y="2498"/>
                  </a:lnTo>
                  <a:lnTo>
                    <a:pt x="1508" y="2499"/>
                  </a:lnTo>
                  <a:lnTo>
                    <a:pt x="1508" y="2499"/>
                  </a:lnTo>
                  <a:lnTo>
                    <a:pt x="1515" y="2498"/>
                  </a:lnTo>
                  <a:lnTo>
                    <a:pt x="1524" y="2496"/>
                  </a:lnTo>
                  <a:lnTo>
                    <a:pt x="1531" y="2495"/>
                  </a:lnTo>
                  <a:lnTo>
                    <a:pt x="1538" y="2493"/>
                  </a:lnTo>
                  <a:lnTo>
                    <a:pt x="1545" y="2489"/>
                  </a:lnTo>
                  <a:lnTo>
                    <a:pt x="1552" y="2485"/>
                  </a:lnTo>
                  <a:lnTo>
                    <a:pt x="1558" y="2480"/>
                  </a:lnTo>
                  <a:lnTo>
                    <a:pt x="1564" y="2474"/>
                  </a:lnTo>
                  <a:lnTo>
                    <a:pt x="1564" y="2480"/>
                  </a:lnTo>
                  <a:lnTo>
                    <a:pt x="1564" y="2480"/>
                  </a:lnTo>
                  <a:lnTo>
                    <a:pt x="1564" y="2490"/>
                  </a:lnTo>
                  <a:lnTo>
                    <a:pt x="1563" y="2501"/>
                  </a:lnTo>
                  <a:lnTo>
                    <a:pt x="1559" y="2512"/>
                  </a:lnTo>
                  <a:lnTo>
                    <a:pt x="1557" y="2517"/>
                  </a:lnTo>
                  <a:lnTo>
                    <a:pt x="1554" y="2522"/>
                  </a:lnTo>
                  <a:lnTo>
                    <a:pt x="1550" y="2527"/>
                  </a:lnTo>
                  <a:lnTo>
                    <a:pt x="1545" y="2532"/>
                  </a:lnTo>
                  <a:lnTo>
                    <a:pt x="1538" y="2536"/>
                  </a:lnTo>
                  <a:lnTo>
                    <a:pt x="1531" y="2539"/>
                  </a:lnTo>
                  <a:lnTo>
                    <a:pt x="1521" y="2542"/>
                  </a:lnTo>
                  <a:lnTo>
                    <a:pt x="1512" y="2544"/>
                  </a:lnTo>
                  <a:lnTo>
                    <a:pt x="1499" y="2545"/>
                  </a:lnTo>
                  <a:lnTo>
                    <a:pt x="1485" y="2545"/>
                  </a:lnTo>
                  <a:lnTo>
                    <a:pt x="1482" y="2545"/>
                  </a:lnTo>
                  <a:lnTo>
                    <a:pt x="1504" y="2593"/>
                  </a:lnTo>
                  <a:lnTo>
                    <a:pt x="1505" y="2593"/>
                  </a:lnTo>
                  <a:lnTo>
                    <a:pt x="1505" y="2593"/>
                  </a:lnTo>
                  <a:lnTo>
                    <a:pt x="1520" y="2593"/>
                  </a:lnTo>
                  <a:lnTo>
                    <a:pt x="1534" y="2592"/>
                  </a:lnTo>
                  <a:lnTo>
                    <a:pt x="1546" y="2588"/>
                  </a:lnTo>
                  <a:lnTo>
                    <a:pt x="1558" y="2586"/>
                  </a:lnTo>
                  <a:lnTo>
                    <a:pt x="1569" y="2581"/>
                  </a:lnTo>
                  <a:lnTo>
                    <a:pt x="1579" y="2576"/>
                  </a:lnTo>
                  <a:lnTo>
                    <a:pt x="1588" y="2570"/>
                  </a:lnTo>
                  <a:lnTo>
                    <a:pt x="1595" y="2562"/>
                  </a:lnTo>
                  <a:lnTo>
                    <a:pt x="1602" y="2554"/>
                  </a:lnTo>
                  <a:lnTo>
                    <a:pt x="1608" y="2545"/>
                  </a:lnTo>
                  <a:lnTo>
                    <a:pt x="1613" y="2534"/>
                  </a:lnTo>
                  <a:lnTo>
                    <a:pt x="1617" y="2523"/>
                  </a:lnTo>
                  <a:lnTo>
                    <a:pt x="1621" y="2512"/>
                  </a:lnTo>
                  <a:lnTo>
                    <a:pt x="1623" y="2499"/>
                  </a:lnTo>
                  <a:lnTo>
                    <a:pt x="1624" y="2485"/>
                  </a:lnTo>
                  <a:lnTo>
                    <a:pt x="1624" y="2471"/>
                  </a:lnTo>
                  <a:lnTo>
                    <a:pt x="1624" y="2247"/>
                  </a:lnTo>
                  <a:lnTo>
                    <a:pt x="1564" y="2247"/>
                  </a:lnTo>
                  <a:lnTo>
                    <a:pt x="1564" y="2264"/>
                  </a:lnTo>
                  <a:close/>
                  <a:moveTo>
                    <a:pt x="1564" y="2321"/>
                  </a:moveTo>
                  <a:lnTo>
                    <a:pt x="1564" y="2418"/>
                  </a:lnTo>
                  <a:lnTo>
                    <a:pt x="1564" y="2418"/>
                  </a:lnTo>
                  <a:lnTo>
                    <a:pt x="1556" y="2427"/>
                  </a:lnTo>
                  <a:lnTo>
                    <a:pt x="1547" y="2435"/>
                  </a:lnTo>
                  <a:lnTo>
                    <a:pt x="1541" y="2438"/>
                  </a:lnTo>
                  <a:lnTo>
                    <a:pt x="1535" y="2440"/>
                  </a:lnTo>
                  <a:lnTo>
                    <a:pt x="1529" y="2441"/>
                  </a:lnTo>
                  <a:lnTo>
                    <a:pt x="1520" y="2443"/>
                  </a:lnTo>
                  <a:lnTo>
                    <a:pt x="1520" y="2443"/>
                  </a:lnTo>
                  <a:lnTo>
                    <a:pt x="1513" y="2441"/>
                  </a:lnTo>
                  <a:lnTo>
                    <a:pt x="1504" y="2439"/>
                  </a:lnTo>
                  <a:lnTo>
                    <a:pt x="1497" y="2435"/>
                  </a:lnTo>
                  <a:lnTo>
                    <a:pt x="1489" y="2428"/>
                  </a:lnTo>
                  <a:lnTo>
                    <a:pt x="1483" y="2418"/>
                  </a:lnTo>
                  <a:lnTo>
                    <a:pt x="1478" y="2405"/>
                  </a:lnTo>
                  <a:lnTo>
                    <a:pt x="1476" y="2387"/>
                  </a:lnTo>
                  <a:lnTo>
                    <a:pt x="1475" y="2365"/>
                  </a:lnTo>
                  <a:lnTo>
                    <a:pt x="1475" y="2365"/>
                  </a:lnTo>
                  <a:lnTo>
                    <a:pt x="1476" y="2347"/>
                  </a:lnTo>
                  <a:lnTo>
                    <a:pt x="1478" y="2331"/>
                  </a:lnTo>
                  <a:lnTo>
                    <a:pt x="1483" y="2319"/>
                  </a:lnTo>
                  <a:lnTo>
                    <a:pt x="1489" y="2310"/>
                  </a:lnTo>
                  <a:lnTo>
                    <a:pt x="1497" y="2304"/>
                  </a:lnTo>
                  <a:lnTo>
                    <a:pt x="1504" y="2299"/>
                  </a:lnTo>
                  <a:lnTo>
                    <a:pt x="1513" y="2298"/>
                  </a:lnTo>
                  <a:lnTo>
                    <a:pt x="1520" y="2297"/>
                  </a:lnTo>
                  <a:lnTo>
                    <a:pt x="1520" y="2297"/>
                  </a:lnTo>
                  <a:lnTo>
                    <a:pt x="1529" y="2298"/>
                  </a:lnTo>
                  <a:lnTo>
                    <a:pt x="1536" y="2299"/>
                  </a:lnTo>
                  <a:lnTo>
                    <a:pt x="1542" y="2302"/>
                  </a:lnTo>
                  <a:lnTo>
                    <a:pt x="1548" y="2306"/>
                  </a:lnTo>
                  <a:lnTo>
                    <a:pt x="1553" y="2309"/>
                  </a:lnTo>
                  <a:lnTo>
                    <a:pt x="1557" y="2313"/>
                  </a:lnTo>
                  <a:lnTo>
                    <a:pt x="1564" y="2321"/>
                  </a:lnTo>
                  <a:lnTo>
                    <a:pt x="1564" y="2321"/>
                  </a:lnTo>
                  <a:close/>
                  <a:moveTo>
                    <a:pt x="1042" y="2247"/>
                  </a:moveTo>
                  <a:lnTo>
                    <a:pt x="1103" y="2247"/>
                  </a:lnTo>
                  <a:lnTo>
                    <a:pt x="1103" y="2356"/>
                  </a:lnTo>
                  <a:lnTo>
                    <a:pt x="1103" y="2493"/>
                  </a:lnTo>
                  <a:lnTo>
                    <a:pt x="1042" y="2493"/>
                  </a:lnTo>
                  <a:lnTo>
                    <a:pt x="1042" y="2247"/>
                  </a:lnTo>
                  <a:close/>
                  <a:moveTo>
                    <a:pt x="1103" y="2181"/>
                  </a:moveTo>
                  <a:lnTo>
                    <a:pt x="1103" y="2211"/>
                  </a:lnTo>
                  <a:lnTo>
                    <a:pt x="1042" y="2211"/>
                  </a:lnTo>
                  <a:lnTo>
                    <a:pt x="1042" y="2150"/>
                  </a:lnTo>
                  <a:lnTo>
                    <a:pt x="1103" y="2150"/>
                  </a:lnTo>
                  <a:lnTo>
                    <a:pt x="1103" y="2181"/>
                  </a:lnTo>
                  <a:close/>
                  <a:moveTo>
                    <a:pt x="2565" y="2175"/>
                  </a:moveTo>
                  <a:lnTo>
                    <a:pt x="2626" y="2144"/>
                  </a:lnTo>
                  <a:lnTo>
                    <a:pt x="2626" y="2367"/>
                  </a:lnTo>
                  <a:lnTo>
                    <a:pt x="2626" y="2493"/>
                  </a:lnTo>
                  <a:lnTo>
                    <a:pt x="2565" y="2493"/>
                  </a:lnTo>
                  <a:lnTo>
                    <a:pt x="2565" y="2175"/>
                  </a:lnTo>
                  <a:close/>
                  <a:moveTo>
                    <a:pt x="441" y="839"/>
                  </a:moveTo>
                  <a:lnTo>
                    <a:pt x="944" y="839"/>
                  </a:lnTo>
                  <a:lnTo>
                    <a:pt x="944" y="548"/>
                  </a:lnTo>
                  <a:lnTo>
                    <a:pt x="441" y="548"/>
                  </a:lnTo>
                  <a:lnTo>
                    <a:pt x="441" y="319"/>
                  </a:lnTo>
                  <a:lnTo>
                    <a:pt x="998" y="319"/>
                  </a:lnTo>
                  <a:lnTo>
                    <a:pt x="813" y="0"/>
                  </a:lnTo>
                  <a:lnTo>
                    <a:pt x="25" y="0"/>
                  </a:lnTo>
                  <a:lnTo>
                    <a:pt x="25" y="1387"/>
                  </a:lnTo>
                  <a:lnTo>
                    <a:pt x="1136" y="1387"/>
                  </a:lnTo>
                  <a:lnTo>
                    <a:pt x="1136" y="1068"/>
                  </a:lnTo>
                  <a:lnTo>
                    <a:pt x="441" y="1068"/>
                  </a:lnTo>
                  <a:lnTo>
                    <a:pt x="441" y="839"/>
                  </a:lnTo>
                  <a:close/>
                  <a:moveTo>
                    <a:pt x="1877" y="0"/>
                  </a:moveTo>
                  <a:lnTo>
                    <a:pt x="1640" y="452"/>
                  </a:lnTo>
                  <a:lnTo>
                    <a:pt x="1405" y="0"/>
                  </a:lnTo>
                  <a:lnTo>
                    <a:pt x="944" y="0"/>
                  </a:lnTo>
                  <a:lnTo>
                    <a:pt x="1429" y="839"/>
                  </a:lnTo>
                  <a:lnTo>
                    <a:pt x="1429" y="1387"/>
                  </a:lnTo>
                  <a:lnTo>
                    <a:pt x="1845" y="1387"/>
                  </a:lnTo>
                  <a:lnTo>
                    <a:pt x="1845" y="839"/>
                  </a:lnTo>
                  <a:lnTo>
                    <a:pt x="2332" y="0"/>
                  </a:lnTo>
                  <a:lnTo>
                    <a:pt x="18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14575"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1">
                <a:ln>
                  <a:noFill/>
                </a:ln>
                <a:solidFill>
                  <a:srgbClr val="FFFFFF"/>
                </a:solidFill>
                <a:effectLst/>
                <a:uLnTx/>
                <a:uFillTx/>
                <a:latin typeface="EYInterstate Light"/>
              </a:endParaRPr>
            </a:p>
          </p:txBody>
        </p:sp>
      </p:grpSp>
      <p:grpSp>
        <p:nvGrpSpPr>
          <p:cNvPr id="223" name="Group 222">
            <a:extLst>
              <a:ext uri="{FF2B5EF4-FFF2-40B4-BE49-F238E27FC236}">
                <a16:creationId xmlns:a16="http://schemas.microsoft.com/office/drawing/2014/main" id="{63399C8B-AEBB-4912-B22F-4474979F834C}"/>
              </a:ext>
            </a:extLst>
          </p:cNvPr>
          <p:cNvGrpSpPr/>
          <p:nvPr userDrawn="1"/>
        </p:nvGrpSpPr>
        <p:grpSpPr>
          <a:xfrm>
            <a:off x="456886" y="833764"/>
            <a:ext cx="4234306" cy="4572530"/>
            <a:chOff x="457200" y="431800"/>
            <a:chExt cx="3721100" cy="4394200"/>
          </a:xfrm>
        </p:grpSpPr>
        <p:sp>
          <p:nvSpPr>
            <p:cNvPr id="224" name="Freeform 5">
              <a:extLst>
                <a:ext uri="{FF2B5EF4-FFF2-40B4-BE49-F238E27FC236}">
                  <a16:creationId xmlns:a16="http://schemas.microsoft.com/office/drawing/2014/main" id="{0602663D-DFBE-474C-A985-6F9B74D7B4DE}"/>
                </a:ext>
              </a:extLst>
            </p:cNvPr>
            <p:cNvSpPr>
              <a:spLocks/>
            </p:cNvSpPr>
            <p:nvPr userDrawn="1"/>
          </p:nvSpPr>
          <p:spPr bwMode="auto">
            <a:xfrm>
              <a:off x="457200" y="431800"/>
              <a:ext cx="3721100" cy="4394200"/>
            </a:xfrm>
            <a:custGeom>
              <a:avLst/>
              <a:gdLst>
                <a:gd name="T0" fmla="*/ 0 w 2344"/>
                <a:gd name="T1" fmla="*/ 414 h 2768"/>
                <a:gd name="T2" fmla="*/ 0 w 2344"/>
                <a:gd name="T3" fmla="*/ 2583 h 2768"/>
                <a:gd name="T4" fmla="*/ 92 w 2344"/>
                <a:gd name="T5" fmla="*/ 2583 h 2768"/>
                <a:gd name="T6" fmla="*/ 92 w 2344"/>
                <a:gd name="T7" fmla="*/ 491 h 2768"/>
                <a:gd name="T8" fmla="*/ 2252 w 2344"/>
                <a:gd name="T9" fmla="*/ 110 h 2768"/>
                <a:gd name="T10" fmla="*/ 2252 w 2344"/>
                <a:gd name="T11" fmla="*/ 2676 h 2768"/>
                <a:gd name="T12" fmla="*/ 554 w 2344"/>
                <a:gd name="T13" fmla="*/ 2676 h 2768"/>
                <a:gd name="T14" fmla="*/ 554 w 2344"/>
                <a:gd name="T15" fmla="*/ 2768 h 2768"/>
                <a:gd name="T16" fmla="*/ 2344 w 2344"/>
                <a:gd name="T17" fmla="*/ 2768 h 2768"/>
                <a:gd name="T18" fmla="*/ 2344 w 2344"/>
                <a:gd name="T19" fmla="*/ 0 h 2768"/>
                <a:gd name="T20" fmla="*/ 0 w 2344"/>
                <a:gd name="T21" fmla="*/ 414 h 2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4" h="2768">
                  <a:moveTo>
                    <a:pt x="0" y="414"/>
                  </a:moveTo>
                  <a:lnTo>
                    <a:pt x="0" y="2583"/>
                  </a:lnTo>
                  <a:lnTo>
                    <a:pt x="92" y="2583"/>
                  </a:lnTo>
                  <a:lnTo>
                    <a:pt x="92" y="491"/>
                  </a:lnTo>
                  <a:lnTo>
                    <a:pt x="2252" y="110"/>
                  </a:lnTo>
                  <a:lnTo>
                    <a:pt x="2252" y="2676"/>
                  </a:lnTo>
                  <a:lnTo>
                    <a:pt x="554" y="2676"/>
                  </a:lnTo>
                  <a:lnTo>
                    <a:pt x="554" y="2768"/>
                  </a:lnTo>
                  <a:lnTo>
                    <a:pt x="2344" y="2768"/>
                  </a:lnTo>
                  <a:lnTo>
                    <a:pt x="2344" y="0"/>
                  </a:lnTo>
                  <a:lnTo>
                    <a:pt x="0" y="414"/>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282"/>
            </a:p>
          </p:txBody>
        </p:sp>
        <p:sp>
          <p:nvSpPr>
            <p:cNvPr id="225" name="Rectangle 224">
              <a:extLst>
                <a:ext uri="{FF2B5EF4-FFF2-40B4-BE49-F238E27FC236}">
                  <a16:creationId xmlns:a16="http://schemas.microsoft.com/office/drawing/2014/main" id="{C29E5AE6-A605-458B-88D1-81978C8F3DB0}"/>
                </a:ext>
              </a:extLst>
            </p:cNvPr>
            <p:cNvSpPr>
              <a:spLocks noChangeArrowheads="1"/>
            </p:cNvSpPr>
            <p:nvPr userDrawn="1"/>
          </p:nvSpPr>
          <p:spPr bwMode="auto">
            <a:xfrm>
              <a:off x="457200" y="4679950"/>
              <a:ext cx="146050" cy="146050"/>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82"/>
            </a:p>
          </p:txBody>
        </p:sp>
        <p:sp>
          <p:nvSpPr>
            <p:cNvPr id="226" name="Rectangle 225">
              <a:extLst>
                <a:ext uri="{FF2B5EF4-FFF2-40B4-BE49-F238E27FC236}">
                  <a16:creationId xmlns:a16="http://schemas.microsoft.com/office/drawing/2014/main" id="{32631ED7-ED97-416B-9349-2793B509F136}"/>
                </a:ext>
              </a:extLst>
            </p:cNvPr>
            <p:cNvSpPr>
              <a:spLocks noChangeArrowheads="1"/>
            </p:cNvSpPr>
            <p:nvPr userDrawn="1"/>
          </p:nvSpPr>
          <p:spPr bwMode="auto">
            <a:xfrm>
              <a:off x="750888" y="4679950"/>
              <a:ext cx="146050" cy="146050"/>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82"/>
            </a:p>
          </p:txBody>
        </p:sp>
        <p:sp>
          <p:nvSpPr>
            <p:cNvPr id="227" name="Rectangle 226">
              <a:extLst>
                <a:ext uri="{FF2B5EF4-FFF2-40B4-BE49-F238E27FC236}">
                  <a16:creationId xmlns:a16="http://schemas.microsoft.com/office/drawing/2014/main" id="{55CD08DF-6EFB-4098-B3F2-661C1BF2F45A}"/>
                </a:ext>
              </a:extLst>
            </p:cNvPr>
            <p:cNvSpPr>
              <a:spLocks noChangeArrowheads="1"/>
            </p:cNvSpPr>
            <p:nvPr userDrawn="1"/>
          </p:nvSpPr>
          <p:spPr bwMode="auto">
            <a:xfrm>
              <a:off x="1042988" y="4679950"/>
              <a:ext cx="149225" cy="146050"/>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282"/>
            </a:p>
          </p:txBody>
        </p:sp>
      </p:grpSp>
    </p:spTree>
    <p:extLst>
      <p:ext uri="{BB962C8B-B14F-4D97-AF65-F5344CB8AC3E}">
        <p14:creationId xmlns:p14="http://schemas.microsoft.com/office/powerpoint/2010/main" val="379888974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913198"/>
      </p:ext>
    </p:extLst>
  </p:cSld>
  <p:clrMapOvr>
    <a:overrideClrMapping bg1="dk1" tx1="lt1" bg2="dk2" tx2="lt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6"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69"/>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7"/>
            <a:ext cx="10801405" cy="503999"/>
          </a:xfrm>
          <a:prstGeom prst="rect">
            <a:avLst/>
          </a:prstGeom>
        </p:spPr>
        <p:txBody>
          <a:bodyPr vert="horz" wrap="square" lIns="0" tIns="0" rIns="0" bIns="0" rtlCol="0">
            <a:noAutofit/>
          </a:bodyPr>
          <a:lstStyle>
            <a:lvl1pPr>
              <a:defRPr lang="en-US" sz="1998" spc="-49" dirty="0">
                <a:solidFill>
                  <a:srgbClr val="575756"/>
                </a:solidFill>
                <a:latin typeface="EYInterstate Light" panose="02000506000000020004" pitchFamily="2" charset="0"/>
                <a:ea typeface="+mn-ea"/>
                <a:cs typeface="EYInterstate Light" panose="02000506000000020004" pitchFamily="2" charset="0"/>
              </a:defRPr>
            </a:lvl1pPr>
          </a:lstStyle>
          <a:p>
            <a:pPr marL="11194" lvl="0" defTabSz="806035">
              <a:lnSpc>
                <a:spcPct val="100000"/>
              </a:lnSpc>
            </a:pPr>
            <a:r>
              <a:rPr lang="en-US"/>
              <a:t>CLICK TO EDIT MASTER TITLE STYLE</a:t>
            </a:r>
          </a:p>
        </p:txBody>
      </p:sp>
    </p:spTree>
    <p:extLst>
      <p:ext uri="{BB962C8B-B14F-4D97-AF65-F5344CB8AC3E}">
        <p14:creationId xmlns:p14="http://schemas.microsoft.com/office/powerpoint/2010/main" val="108625186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3885" rtl="0" fontAlgn="base">
              <a:lnSpc>
                <a:spcPct val="100000"/>
              </a:lnSpc>
              <a:spcBef>
                <a:spcPct val="70000"/>
              </a:spcBef>
              <a:spcAft>
                <a:spcPct val="0"/>
              </a:spcAft>
              <a:buSzPct val="100000"/>
              <a:buNone/>
              <a:defRPr lang="en-US" sz="1197" kern="1200" noProof="0" dirty="0" smtClean="0">
                <a:solidFill>
                  <a:schemeClr val="bg1"/>
                </a:solidFill>
                <a:latin typeface="EYInterstate Light" panose="02000506000000020004" pitchFamily="2" charset="0"/>
                <a:ea typeface="+mn-ea"/>
                <a:cs typeface="Arial" pitchFamily="34" charset="0"/>
              </a:defRPr>
            </a:lvl1pPr>
            <a:lvl2pPr marL="0" indent="0" algn="l" defTabSz="99388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5952" indent="-175952" algn="l" defTabSz="99388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388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633" indent="-188633" algn="l" defTabSz="99388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7640688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3" y="1446"/>
          <a:ext cx="1441" cy="1439"/>
        </p:xfrm>
        <a:graphic>
          <a:graphicData uri="http://schemas.openxmlformats.org/presentationml/2006/ole">
            <mc:AlternateContent xmlns:mc="http://schemas.openxmlformats.org/markup-compatibility/2006">
              <mc:Choice xmlns:v="urn:schemas-microsoft-com:vml" Requires="v">
                <p:oleObj spid="_x0000_s310281"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3" y="1446"/>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4"/>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38"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096"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096"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11701112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62044326"/>
              </p:ext>
            </p:extLst>
          </p:nvPr>
        </p:nvGraphicFramePr>
        <p:xfrm>
          <a:off x="1442" y="1443"/>
          <a:ext cx="1441" cy="1439"/>
        </p:xfrm>
        <a:graphic>
          <a:graphicData uri="http://schemas.openxmlformats.org/presentationml/2006/ole">
            <mc:AlternateContent xmlns:mc="http://schemas.openxmlformats.org/markup-compatibility/2006">
              <mc:Choice xmlns:v="urn:schemas-microsoft-com:vml" Requires="v">
                <p:oleObj spid="_x0000_s312329"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2" y="1443"/>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9537" y="0"/>
            <a:ext cx="12283986" cy="6858000"/>
          </a:xfrm>
          <a:prstGeom prst="rect">
            <a:avLst/>
          </a:prstGeom>
        </p:spPr>
      </p:pic>
    </p:spTree>
    <p:extLst>
      <p:ext uri="{BB962C8B-B14F-4D97-AF65-F5344CB8AC3E}">
        <p14:creationId xmlns:p14="http://schemas.microsoft.com/office/powerpoint/2010/main" val="264777046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74911777"/>
              </p:ext>
            </p:extLst>
          </p:nvPr>
        </p:nvGraphicFramePr>
        <p:xfrm>
          <a:off x="1442" y="1443"/>
          <a:ext cx="1441" cy="1439"/>
        </p:xfrm>
        <a:graphic>
          <a:graphicData uri="http://schemas.openxmlformats.org/presentationml/2006/ole">
            <mc:AlternateContent xmlns:mc="http://schemas.openxmlformats.org/markup-compatibility/2006">
              <mc:Choice xmlns:v="urn:schemas-microsoft-com:vml" Requires="v">
                <p:oleObj spid="_x0000_s313353"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2" y="1443"/>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6" y="551813"/>
            <a:ext cx="10616769" cy="672625"/>
          </a:xfrm>
          <a:prstGeom prst="rect">
            <a:avLst/>
          </a:prstGeom>
        </p:spPr>
        <p:txBody>
          <a:bodyPr/>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97810132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4008949246"/>
      </p:ext>
    </p:extLst>
  </p:cSld>
  <p:clrMapOvr>
    <a:overrideClrMapping bg1="dk1" tx1="lt1" bg2="dk2" tx2="lt2" accent1="accent1" accent2="accent2" accent3="accent3" accent4="accent4" accent5="accent5" accent6="accent6" hlink="hlink" folHlink="folHlink"/>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8715462"/>
      </p:ext>
    </p:extLst>
  </p:cSld>
  <p:clrMapOvr>
    <a:overrideClrMapping bg1="dk1" tx1="lt1" bg2="dk2" tx2="lt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0"/>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1999" spc="-49" dirty="0">
                <a:solidFill>
                  <a:srgbClr val="575756"/>
                </a:solidFill>
                <a:latin typeface="EYInterstate Light" panose="02000506000000020004" pitchFamily="2" charset="0"/>
                <a:ea typeface="+mn-ea"/>
                <a:cs typeface="EYInterstate Light" panose="02000506000000020004" pitchFamily="2" charset="0"/>
              </a:defRPr>
            </a:lvl1pPr>
          </a:lstStyle>
          <a:p>
            <a:pPr marL="11201" lvl="0" defTabSz="806449">
              <a:lnSpc>
                <a:spcPct val="100000"/>
              </a:lnSpc>
            </a:pPr>
            <a:r>
              <a:rPr lang="en-US"/>
              <a:t>CLICK TO EDIT MASTER TITLE STYLE</a:t>
            </a:r>
          </a:p>
        </p:txBody>
      </p:sp>
    </p:spTree>
    <p:extLst>
      <p:ext uri="{BB962C8B-B14F-4D97-AF65-F5344CB8AC3E}">
        <p14:creationId xmlns:p14="http://schemas.microsoft.com/office/powerpoint/2010/main" val="10063667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1032950"/>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316420"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3856697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full-widt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D45307-7B8F-FE48-B988-0A98A297F6F3}"/>
              </a:ext>
            </a:extLst>
          </p:cNvPr>
          <p:cNvSpPr/>
          <p:nvPr userDrawn="1"/>
        </p:nvSpPr>
        <p:spPr>
          <a:xfrm>
            <a:off x="1" y="0"/>
            <a:ext cx="5322498" cy="6858000"/>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88">
              <a:solidFill>
                <a:schemeClr val="tx1"/>
              </a:solidFill>
            </a:endParaRPr>
          </a:p>
        </p:txBody>
      </p:sp>
    </p:spTree>
    <p:extLst>
      <p:ext uri="{BB962C8B-B14F-4D97-AF65-F5344CB8AC3E}">
        <p14:creationId xmlns:p14="http://schemas.microsoft.com/office/powerpoint/2010/main" val="208311269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60748561"/>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317444"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2" y="1444"/>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4"/>
            <a:ext cx="10616769" cy="672625"/>
          </a:xfrm>
          <a:prstGeom prst="rect">
            <a:avLst/>
          </a:prstGeom>
        </p:spPr>
        <p:txBody>
          <a:bodyPr/>
          <a:lstStyle>
            <a:lvl1pPr>
              <a:defRPr sz="2179"/>
            </a:lvl1pPr>
          </a:lstStyle>
          <a:p>
            <a:r>
              <a:rPr lang="en-US"/>
              <a:t>CLICK TO EDIT MASTER TITLE STYLE</a:t>
            </a:r>
            <a:endParaRPr lang="en-GB"/>
          </a:p>
        </p:txBody>
      </p:sp>
    </p:spTree>
    <p:extLst>
      <p:ext uri="{BB962C8B-B14F-4D97-AF65-F5344CB8AC3E}">
        <p14:creationId xmlns:p14="http://schemas.microsoft.com/office/powerpoint/2010/main" val="100435256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31"/>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6"/>
            </a:lvl1pPr>
          </a:lstStyle>
          <a:p>
            <a:r>
              <a:rPr lang="en-US"/>
              <a:t>Click to edit Master title style</a:t>
            </a:r>
            <a:endParaRPr lang="en-GB"/>
          </a:p>
        </p:txBody>
      </p:sp>
    </p:spTree>
    <p:extLst>
      <p:ext uri="{BB962C8B-B14F-4D97-AF65-F5344CB8AC3E}">
        <p14:creationId xmlns:p14="http://schemas.microsoft.com/office/powerpoint/2010/main" val="185305685"/>
      </p:ext>
    </p:extLst>
  </p:cSld>
  <p:clrMapOvr>
    <a:overrideClrMapping bg1="dk1" tx1="lt1" bg2="dk2" tx2="lt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748334"/>
      </p:ext>
    </p:extLst>
  </p:cSld>
  <p:clrMapOvr>
    <a:overrideClrMapping bg1="dk1" tx1="lt1" bg2="dk2" tx2="lt2" accent1="accent1" accent2="accent2" accent3="accent3" accent4="accent4" accent5="accent5" accent6="accent6" hlink="hlink" folHlink="folHlink"/>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5"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0"/>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5"/>
            <a:ext cx="10801405" cy="503999"/>
          </a:xfrm>
          <a:prstGeom prst="rect">
            <a:avLst/>
          </a:prstGeom>
        </p:spPr>
        <p:txBody>
          <a:bodyPr vert="horz" wrap="square" lIns="0" tIns="0" rIns="0" bIns="0" rtlCol="0">
            <a:noAutofit/>
          </a:bodyPr>
          <a:lstStyle>
            <a:lvl1pPr>
              <a:defRPr lang="en-US" sz="1999" spc="-49" dirty="0">
                <a:solidFill>
                  <a:srgbClr val="575756"/>
                </a:solidFill>
                <a:latin typeface="EYInterstate Light" panose="02000506000000020004" pitchFamily="2" charset="0"/>
                <a:ea typeface="+mn-ea"/>
                <a:cs typeface="EYInterstate Light" panose="02000506000000020004" pitchFamily="2" charset="0"/>
              </a:defRPr>
            </a:lvl1pPr>
          </a:lstStyle>
          <a:p>
            <a:pPr marL="11200" lvl="0" defTabSz="806438">
              <a:lnSpc>
                <a:spcPct val="100000"/>
              </a:lnSpc>
            </a:pPr>
            <a:r>
              <a:rPr lang="en-US"/>
              <a:t>CLICK TO EDIT MASTER TITLE STYLE</a:t>
            </a:r>
          </a:p>
        </p:txBody>
      </p:sp>
    </p:spTree>
    <p:extLst>
      <p:ext uri="{BB962C8B-B14F-4D97-AF65-F5344CB8AC3E}">
        <p14:creationId xmlns:p14="http://schemas.microsoft.com/office/powerpoint/2010/main" val="76457844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382"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82"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40" indent="-176040" algn="l" defTabSz="994382"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82"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7" indent="-188727" algn="l" defTabSz="994382"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3833243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318468"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2" y="1444"/>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2"/>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39"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487"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487"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37472183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15995142"/>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22537"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23730450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pic>
        <p:nvPicPr>
          <p:cNvPr id="4" name="Picture 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79100" y="5340350"/>
            <a:ext cx="987425"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
          <p:cNvSpPr>
            <a:spLocks noChangeAspect="1"/>
          </p:cNvSpPr>
          <p:nvPr/>
        </p:nvSpPr>
        <p:spPr>
          <a:xfrm>
            <a:off x="609600" y="615950"/>
            <a:ext cx="7735888" cy="3575050"/>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hangingPunct="1">
              <a:defRPr/>
            </a:pPr>
            <a:endParaRPr lang="en-US" sz="1200">
              <a:solidFill>
                <a:schemeClr val="tx1"/>
              </a:solidFill>
            </a:endParaRPr>
          </a:p>
        </p:txBody>
      </p:sp>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5950" y="6083300"/>
            <a:ext cx="9763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907013" y="2255779"/>
            <a:ext cx="7223760" cy="860400"/>
          </a:xfrm>
        </p:spPr>
        <p:txBody>
          <a:bodyPr/>
          <a:lstStyle>
            <a:lvl1pPr>
              <a:defRPr>
                <a:solidFill>
                  <a:srgbClr val="333333"/>
                </a:solidFill>
                <a:latin typeface="EYInterstate" charset="0"/>
                <a:ea typeface="EYInterstate" charset="0"/>
                <a:cs typeface="EYInterstate" charset="0"/>
              </a:defRPr>
            </a:lvl1pPr>
          </a:lstStyle>
          <a:p>
            <a:r>
              <a:rPr lang="en-US"/>
              <a:t>Click to edit Master title style</a:t>
            </a:r>
            <a:endParaRPr lang="en-GB"/>
          </a:p>
        </p:txBody>
      </p:sp>
      <p:sp>
        <p:nvSpPr>
          <p:cNvPr id="12" name="Subtitle 2"/>
          <p:cNvSpPr>
            <a:spLocks noGrp="1"/>
          </p:cNvSpPr>
          <p:nvPr>
            <p:ph type="subTitle" idx="1"/>
          </p:nvPr>
        </p:nvSpPr>
        <p:spPr>
          <a:xfrm>
            <a:off x="907013" y="3234187"/>
            <a:ext cx="7223760" cy="645742"/>
          </a:xfrm>
        </p:spPr>
        <p:txBody>
          <a:bodyPr/>
          <a:lstStyle>
            <a:lvl1pPr marL="0" indent="0" algn="l">
              <a:buNone/>
              <a:defRPr sz="2000">
                <a:solidFill>
                  <a:srgbClr val="333333"/>
                </a:solidFill>
                <a:latin typeface="EYInterstate" charset="0"/>
                <a:ea typeface="EYInterstate" charset="0"/>
                <a:cs typeface="EYInterstate"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18071303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7844280"/>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23561"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80"/>
            </a:lvl1pPr>
          </a:lstStyle>
          <a:p>
            <a:r>
              <a:rPr lang="en-US"/>
              <a:t>CLICK TO EDIT MASTER TITLE STYLE</a:t>
            </a:r>
            <a:endParaRPr lang="en-GB"/>
          </a:p>
        </p:txBody>
      </p:sp>
    </p:spTree>
    <p:extLst>
      <p:ext uri="{BB962C8B-B14F-4D97-AF65-F5344CB8AC3E}">
        <p14:creationId xmlns:p14="http://schemas.microsoft.com/office/powerpoint/2010/main" val="9162910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1801763251"/>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6867947"/>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11237073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879"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79"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8" indent="-176128" algn="l" defTabSz="994879"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79"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1" indent="-188821" algn="l" defTabSz="994879"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24727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28681"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1" y="1442"/>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4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878"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87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3997439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25396536"/>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30729"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37359739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03107038"/>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31753"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13805580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569288563"/>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32440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alternate">
    <p:spTree>
      <p:nvGrpSpPr>
        <p:cNvPr id="1" name=""/>
        <p:cNvGrpSpPr/>
        <p:nvPr/>
      </p:nvGrpSpPr>
      <p:grpSpPr>
        <a:xfrm>
          <a:off x="0" y="0"/>
          <a:ext cx="0" cy="0"/>
          <a:chOff x="0" y="0"/>
          <a:chExt cx="0" cy="0"/>
        </a:xfrm>
      </p:grpSpPr>
      <p:sp>
        <p:nvSpPr>
          <p:cNvPr id="4" name="Freeform 5"/>
          <p:cNvSpPr>
            <a:spLocks noChangeAspect="1"/>
          </p:cNvSpPr>
          <p:nvPr/>
        </p:nvSpPr>
        <p:spPr bwMode="gray">
          <a:xfrm rot="10800000">
            <a:off x="609600" y="457200"/>
            <a:ext cx="7221538" cy="4570413"/>
          </a:xfrm>
          <a:custGeom>
            <a:avLst/>
            <a:gdLst>
              <a:gd name="T0" fmla="*/ 2147483646 w 10000"/>
              <a:gd name="T1" fmla="*/ 0 h 10007"/>
              <a:gd name="T2" fmla="*/ 0 w 10000"/>
              <a:gd name="T3" fmla="*/ 2147483646 h 10007"/>
              <a:gd name="T4" fmla="*/ 2147483646 w 10000"/>
              <a:gd name="T5" fmla="*/ 2147483646 h 10007"/>
              <a:gd name="T6" fmla="*/ 2147483646 w 10000"/>
              <a:gd name="T7" fmla="*/ 2147483646 h 10007"/>
              <a:gd name="T8" fmla="*/ 2147483646 w 10000"/>
              <a:gd name="T9" fmla="*/ 0 h 100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5"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79100" y="5340350"/>
            <a:ext cx="987425"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5950" y="6083300"/>
            <a:ext cx="976313"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1048512" y="1737360"/>
            <a:ext cx="6400800" cy="860400"/>
          </a:xfrm>
        </p:spPr>
        <p:txBody>
          <a:bodyPr/>
          <a:lstStyle>
            <a:lvl1pPr>
              <a:defRPr>
                <a:solidFill>
                  <a:srgbClr val="333333"/>
                </a:solidFill>
                <a:latin typeface="EYInterstate" charset="0"/>
                <a:ea typeface="EYInterstate" charset="0"/>
                <a:cs typeface="EYInterstate" charset="0"/>
              </a:defRPr>
            </a:lvl1pPr>
          </a:lstStyle>
          <a:p>
            <a:r>
              <a:rPr lang="en-US"/>
              <a:t>Click to edit Master title style</a:t>
            </a:r>
            <a:endParaRPr lang="en-GB"/>
          </a:p>
        </p:txBody>
      </p:sp>
      <p:sp>
        <p:nvSpPr>
          <p:cNvPr id="10" name="Subtitle 2"/>
          <p:cNvSpPr>
            <a:spLocks noGrp="1"/>
          </p:cNvSpPr>
          <p:nvPr>
            <p:ph type="subTitle" idx="1"/>
          </p:nvPr>
        </p:nvSpPr>
        <p:spPr>
          <a:xfrm>
            <a:off x="1048512" y="2724912"/>
            <a:ext cx="6400800" cy="645742"/>
          </a:xfrm>
        </p:spPr>
        <p:txBody>
          <a:bodyPr/>
          <a:lstStyle>
            <a:lvl1pPr marL="0" indent="0" algn="l">
              <a:buNone/>
              <a:defRPr sz="2000">
                <a:solidFill>
                  <a:srgbClr val="333333"/>
                </a:solidFill>
                <a:latin typeface="EYInterstate" charset="0"/>
                <a:ea typeface="EYInterstate" charset="0"/>
                <a:cs typeface="EYInterstate"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5783544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11379822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879"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79"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8" indent="-176128" algn="l" defTabSz="994879"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79"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1" indent="-188821" algn="l" defTabSz="994879"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273592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36873"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1" y="1442"/>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4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878"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87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25335157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33824024"/>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38921"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33756180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0963233"/>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39945"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40889704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1721221870"/>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197517"/>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35906203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879"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79"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8" indent="-176128" algn="l" defTabSz="994879"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79"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1" indent="-188821" algn="l" defTabSz="994879"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381579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45065"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1" y="1442"/>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4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878"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87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3249528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93725" y="5888038"/>
            <a:ext cx="378142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4838" y="385763"/>
            <a:ext cx="5413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79100" y="5340350"/>
            <a:ext cx="987425"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950" y="4089400"/>
            <a:ext cx="11811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EYInterstate" charset="0"/>
                <a:ea typeface="EYInterstate" charset="0"/>
                <a:cs typeface="EYInterstate" charset="0"/>
              </a:defRPr>
            </a:lvl1pPr>
          </a:lstStyle>
          <a:p>
            <a:r>
              <a:rPr lang="en-US"/>
              <a:t>Click to edit Master title style</a:t>
            </a:r>
            <a:endParaRPr lang="en-GB"/>
          </a:p>
        </p:txBody>
      </p:sp>
      <p:sp>
        <p:nvSpPr>
          <p:cNvPr id="22"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FFFFFF"/>
                </a:solidFill>
                <a:latin typeface="EYInterstate" charset="0"/>
                <a:ea typeface="EYInterstate" charset="0"/>
                <a:cs typeface="EYInterstate"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8920531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67861687"/>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47113"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9537" y="0"/>
            <a:ext cx="12283986" cy="6858000"/>
          </a:xfrm>
          <a:prstGeom prst="rect">
            <a:avLst/>
          </a:prstGeom>
        </p:spPr>
      </p:pic>
    </p:spTree>
    <p:extLst>
      <p:ext uri="{BB962C8B-B14F-4D97-AF65-F5344CB8AC3E}">
        <p14:creationId xmlns:p14="http://schemas.microsoft.com/office/powerpoint/2010/main" val="38272713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33603517"/>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48137"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21787218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133998790"/>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5855481"/>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23177202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96556711"/>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53257"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9537" y="0"/>
            <a:ext cx="12283986" cy="6858000"/>
          </a:xfrm>
          <a:prstGeom prst="rect">
            <a:avLst/>
          </a:prstGeom>
        </p:spPr>
      </p:pic>
    </p:spTree>
    <p:extLst>
      <p:ext uri="{BB962C8B-B14F-4D97-AF65-F5344CB8AC3E}">
        <p14:creationId xmlns:p14="http://schemas.microsoft.com/office/powerpoint/2010/main" val="23596351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62595561"/>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54281"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33695742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135451954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283519"/>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13044499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4" name="Line 10"/>
          <p:cNvSpPr>
            <a:spLocks noChangeShapeType="1"/>
          </p:cNvSpPr>
          <p:nvPr/>
        </p:nvSpPr>
        <p:spPr bwMode="auto">
          <a:xfrm>
            <a:off x="609600" y="900000"/>
            <a:ext cx="1097915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
        <p:nvSpPr>
          <p:cNvPr id="5" name="Line 11"/>
          <p:cNvSpPr>
            <a:spLocks noChangeShapeType="1"/>
          </p:cNvSpPr>
          <p:nvPr/>
        </p:nvSpPr>
        <p:spPr bwMode="auto">
          <a:xfrm>
            <a:off x="609600" y="6242050"/>
            <a:ext cx="1097915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609600" y="1425575"/>
            <a:ext cx="10979150" cy="4697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538515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59401"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30301838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60425"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2327896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155571579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762282"/>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27567759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879"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79"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8" indent="-176128" algn="l" defTabSz="994879"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79"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1" indent="-188821" algn="l" defTabSz="994879"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07516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65545"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1" y="1442"/>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4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878"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87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29942733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72254396"/>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67593"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9537" y="0"/>
            <a:ext cx="12283986" cy="6858000"/>
          </a:xfrm>
          <a:prstGeom prst="rect">
            <a:avLst/>
          </a:prstGeom>
        </p:spPr>
      </p:pic>
    </p:spTree>
    <p:extLst>
      <p:ext uri="{BB962C8B-B14F-4D97-AF65-F5344CB8AC3E}">
        <p14:creationId xmlns:p14="http://schemas.microsoft.com/office/powerpoint/2010/main" val="23809600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33175921"/>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68617"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1808769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98021588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10"/>
          <p:cNvSpPr>
            <a:spLocks noChangeShapeType="1"/>
          </p:cNvSpPr>
          <p:nvPr/>
        </p:nvSpPr>
        <p:spPr bwMode="auto">
          <a:xfrm>
            <a:off x="609600" y="900000"/>
            <a:ext cx="1097915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
        <p:nvSpPr>
          <p:cNvPr id="4" name="Line 11"/>
          <p:cNvSpPr>
            <a:spLocks noChangeShapeType="1"/>
          </p:cNvSpPr>
          <p:nvPr/>
        </p:nvSpPr>
        <p:spPr bwMode="auto">
          <a:xfrm>
            <a:off x="609600" y="6242050"/>
            <a:ext cx="1097915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048448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35251"/>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31274989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B1AFA5-EEEA-1F45-858D-10B999CD393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3061"/>
            <a:ext cx="12192000" cy="6854761"/>
          </a:xfrm>
          <a:prstGeom prst="rect">
            <a:avLst/>
          </a:prstGeom>
        </p:spPr>
      </p:pic>
      <p:grpSp>
        <p:nvGrpSpPr>
          <p:cNvPr id="29" name="Group 28">
            <a:extLst>
              <a:ext uri="{FF2B5EF4-FFF2-40B4-BE49-F238E27FC236}">
                <a16:creationId xmlns:a16="http://schemas.microsoft.com/office/drawing/2014/main" id="{924B2BDD-A4F7-4C65-8E10-A51EF99BEC6E}"/>
              </a:ext>
            </a:extLst>
          </p:cNvPr>
          <p:cNvGrpSpPr/>
          <p:nvPr userDrawn="1"/>
        </p:nvGrpSpPr>
        <p:grpSpPr>
          <a:xfrm>
            <a:off x="10820028" y="5381885"/>
            <a:ext cx="1024195" cy="1201403"/>
            <a:chOff x="17101804" y="1049411"/>
            <a:chExt cx="1082675" cy="1270001"/>
          </a:xfrm>
        </p:grpSpPr>
        <p:sp>
          <p:nvSpPr>
            <p:cNvPr id="30" name="Freeform 5">
              <a:extLst>
                <a:ext uri="{FF2B5EF4-FFF2-40B4-BE49-F238E27FC236}">
                  <a16:creationId xmlns:a16="http://schemas.microsoft.com/office/drawing/2014/main" id="{7FCD6FD9-99FA-4342-B4DC-CF98903FFCC1}"/>
                </a:ext>
              </a:extLst>
            </p:cNvPr>
            <p:cNvSpPr>
              <a:spLocks/>
            </p:cNvSpPr>
            <p:nvPr/>
          </p:nvSpPr>
          <p:spPr bwMode="auto">
            <a:xfrm>
              <a:off x="17101804" y="1049411"/>
              <a:ext cx="866775" cy="317500"/>
            </a:xfrm>
            <a:custGeom>
              <a:avLst/>
              <a:gdLst>
                <a:gd name="T0" fmla="*/ 2731 w 2731"/>
                <a:gd name="T1" fmla="*/ 0 h 998"/>
                <a:gd name="T2" fmla="*/ 0 w 2731"/>
                <a:gd name="T3" fmla="*/ 998 h 998"/>
                <a:gd name="T4" fmla="*/ 2731 w 2731"/>
                <a:gd name="T5" fmla="*/ 515 h 998"/>
                <a:gd name="T6" fmla="*/ 2731 w 2731"/>
                <a:gd name="T7" fmla="*/ 0 h 998"/>
                <a:gd name="T8" fmla="*/ 2731 w 2731"/>
                <a:gd name="T9" fmla="*/ 0 h 998"/>
              </a:gdLst>
              <a:ahLst/>
              <a:cxnLst>
                <a:cxn ang="0">
                  <a:pos x="T0" y="T1"/>
                </a:cxn>
                <a:cxn ang="0">
                  <a:pos x="T2" y="T3"/>
                </a:cxn>
                <a:cxn ang="0">
                  <a:pos x="T4" y="T5"/>
                </a:cxn>
                <a:cxn ang="0">
                  <a:pos x="T6" y="T7"/>
                </a:cxn>
                <a:cxn ang="0">
                  <a:pos x="T8" y="T9"/>
                </a:cxn>
              </a:cxnLst>
              <a:rect l="0" t="0" r="r" b="b"/>
              <a:pathLst>
                <a:path w="2731" h="998">
                  <a:moveTo>
                    <a:pt x="2731" y="0"/>
                  </a:moveTo>
                  <a:lnTo>
                    <a:pt x="0" y="998"/>
                  </a:lnTo>
                  <a:lnTo>
                    <a:pt x="2731" y="515"/>
                  </a:lnTo>
                  <a:lnTo>
                    <a:pt x="2731" y="0"/>
                  </a:lnTo>
                  <a:lnTo>
                    <a:pt x="2731" y="0"/>
                  </a:lnTo>
                  <a:close/>
                </a:path>
              </a:pathLst>
            </a:custGeom>
            <a:solidFill>
              <a:srgbClr val="FFE600"/>
            </a:solidFill>
            <a:ln>
              <a:noFill/>
            </a:ln>
          </p:spPr>
          <p:txBody>
            <a:bodyPr vert="horz" wrap="square" lIns="86501" tIns="43250" rIns="86501" bIns="43250" numCol="1" anchor="t" anchorCtr="0" compatLnSpc="1">
              <a:prstTxWarp prst="textNoShape">
                <a:avLst/>
              </a:prstTxWarp>
            </a:bodyPr>
            <a:lstStyle/>
            <a:p>
              <a:pPr marL="0" marR="0" lvl="0" indent="0" defTabSz="993626" eaLnBrk="1" fontAlgn="auto" latinLnBrk="0" hangingPunct="1">
                <a:lnSpc>
                  <a:spcPct val="100000"/>
                </a:lnSpc>
                <a:spcBef>
                  <a:spcPts val="0"/>
                </a:spcBef>
                <a:spcAft>
                  <a:spcPts val="0"/>
                </a:spcAft>
                <a:buClrTx/>
                <a:buSzTx/>
                <a:buFontTx/>
                <a:buNone/>
                <a:tabLst/>
                <a:defRPr/>
              </a:pPr>
              <a:endParaRPr kumimoji="0" lang="en-US" sz="1702" b="0" i="0" u="none" strike="noStrike" kern="0" cap="none" spc="0" normalizeH="0" baseline="0" noProof="0">
                <a:ln>
                  <a:noFill/>
                </a:ln>
                <a:solidFill>
                  <a:srgbClr val="FFFFFF"/>
                </a:solidFill>
                <a:effectLst/>
                <a:uLnTx/>
                <a:uFillTx/>
                <a:latin typeface="Arial"/>
              </a:endParaRPr>
            </a:p>
          </p:txBody>
        </p:sp>
        <p:sp>
          <p:nvSpPr>
            <p:cNvPr id="31" name="Freeform 6">
              <a:extLst>
                <a:ext uri="{FF2B5EF4-FFF2-40B4-BE49-F238E27FC236}">
                  <a16:creationId xmlns:a16="http://schemas.microsoft.com/office/drawing/2014/main" id="{5F5E424A-1713-41C1-BC7E-248390C2E2BF}"/>
                </a:ext>
              </a:extLst>
            </p:cNvPr>
            <p:cNvSpPr>
              <a:spLocks noEditPoints="1"/>
            </p:cNvSpPr>
            <p:nvPr/>
          </p:nvSpPr>
          <p:spPr bwMode="auto">
            <a:xfrm>
              <a:off x="17101804" y="1498674"/>
              <a:ext cx="1082675" cy="820738"/>
            </a:xfrm>
            <a:custGeom>
              <a:avLst/>
              <a:gdLst>
                <a:gd name="T0" fmla="*/ 251 w 3410"/>
                <a:gd name="T1" fmla="*/ 1750 h 2587"/>
                <a:gd name="T2" fmla="*/ 283 w 3410"/>
                <a:gd name="T3" fmla="*/ 1962 h 2587"/>
                <a:gd name="T4" fmla="*/ 166 w 3410"/>
                <a:gd name="T5" fmla="*/ 1850 h 2587"/>
                <a:gd name="T6" fmla="*/ 388 w 3410"/>
                <a:gd name="T7" fmla="*/ 1948 h 2587"/>
                <a:gd name="T8" fmla="*/ 445 w 3410"/>
                <a:gd name="T9" fmla="*/ 2060 h 2587"/>
                <a:gd name="T10" fmla="*/ 1272 w 3410"/>
                <a:gd name="T11" fmla="*/ 1817 h 2587"/>
                <a:gd name="T12" fmla="*/ 1341 w 3410"/>
                <a:gd name="T13" fmla="*/ 1895 h 2587"/>
                <a:gd name="T14" fmla="*/ 769 w 3410"/>
                <a:gd name="T15" fmla="*/ 2057 h 2587"/>
                <a:gd name="T16" fmla="*/ 812 w 3410"/>
                <a:gd name="T17" fmla="*/ 1918 h 2587"/>
                <a:gd name="T18" fmla="*/ 962 w 3410"/>
                <a:gd name="T19" fmla="*/ 2057 h 2587"/>
                <a:gd name="T20" fmla="*/ 941 w 3410"/>
                <a:gd name="T21" fmla="*/ 1867 h 2587"/>
                <a:gd name="T22" fmla="*/ 2236 w 3410"/>
                <a:gd name="T23" fmla="*/ 2045 h 2587"/>
                <a:gd name="T24" fmla="*/ 2378 w 3410"/>
                <a:gd name="T25" fmla="*/ 1891 h 2587"/>
                <a:gd name="T26" fmla="*/ 2317 w 3410"/>
                <a:gd name="T27" fmla="*/ 1965 h 2587"/>
                <a:gd name="T28" fmla="*/ 1590 w 3410"/>
                <a:gd name="T29" fmla="*/ 1824 h 2587"/>
                <a:gd name="T30" fmla="*/ 1449 w 3410"/>
                <a:gd name="T31" fmla="*/ 1974 h 2587"/>
                <a:gd name="T32" fmla="*/ 1589 w 3410"/>
                <a:gd name="T33" fmla="*/ 2082 h 2587"/>
                <a:gd name="T34" fmla="*/ 1656 w 3410"/>
                <a:gd name="T35" fmla="*/ 2050 h 2587"/>
                <a:gd name="T36" fmla="*/ 1522 w 3410"/>
                <a:gd name="T37" fmla="*/ 1876 h 2587"/>
                <a:gd name="T38" fmla="*/ 1951 w 3410"/>
                <a:gd name="T39" fmla="*/ 1882 h 2587"/>
                <a:gd name="T40" fmla="*/ 1820 w 3410"/>
                <a:gd name="T41" fmla="*/ 2032 h 2587"/>
                <a:gd name="T42" fmla="*/ 1979 w 3410"/>
                <a:gd name="T43" fmla="*/ 1824 h 2587"/>
                <a:gd name="T44" fmla="*/ 1904 w 3410"/>
                <a:gd name="T45" fmla="*/ 1941 h 2587"/>
                <a:gd name="T46" fmla="*/ 2576 w 3410"/>
                <a:gd name="T47" fmla="*/ 1987 h 2587"/>
                <a:gd name="T48" fmla="*/ 2609 w 3410"/>
                <a:gd name="T49" fmla="*/ 1860 h 2587"/>
                <a:gd name="T50" fmla="*/ 2412 w 3410"/>
                <a:gd name="T51" fmla="*/ 1935 h 2587"/>
                <a:gd name="T52" fmla="*/ 2475 w 3410"/>
                <a:gd name="T53" fmla="*/ 1909 h 2587"/>
                <a:gd name="T54" fmla="*/ 3114 w 3410"/>
                <a:gd name="T55" fmla="*/ 2007 h 2587"/>
                <a:gd name="T56" fmla="*/ 3150 w 3410"/>
                <a:gd name="T57" fmla="*/ 1816 h 2587"/>
                <a:gd name="T58" fmla="*/ 3016 w 3410"/>
                <a:gd name="T59" fmla="*/ 2010 h 2587"/>
                <a:gd name="T60" fmla="*/ 3081 w 3410"/>
                <a:gd name="T61" fmla="*/ 1866 h 2587"/>
                <a:gd name="T62" fmla="*/ 2969 w 3410"/>
                <a:gd name="T63" fmla="*/ 1999 h 2587"/>
                <a:gd name="T64" fmla="*/ 2969 w 3410"/>
                <a:gd name="T65" fmla="*/ 1812 h 2587"/>
                <a:gd name="T66" fmla="*/ 2680 w 3410"/>
                <a:gd name="T67" fmla="*/ 1749 h 2587"/>
                <a:gd name="T68" fmla="*/ 3354 w 3410"/>
                <a:gd name="T69" fmla="*/ 1867 h 2587"/>
                <a:gd name="T70" fmla="*/ 3410 w 3410"/>
                <a:gd name="T71" fmla="*/ 1821 h 2587"/>
                <a:gd name="T72" fmla="*/ 2786 w 3410"/>
                <a:gd name="T73" fmla="*/ 2245 h 2587"/>
                <a:gd name="T74" fmla="*/ 2668 w 3410"/>
                <a:gd name="T75" fmla="*/ 2439 h 2587"/>
                <a:gd name="T76" fmla="*/ 2753 w 3410"/>
                <a:gd name="T77" fmla="*/ 2436 h 2587"/>
                <a:gd name="T78" fmla="*/ 2788 w 3410"/>
                <a:gd name="T79" fmla="*/ 2428 h 2587"/>
                <a:gd name="T80" fmla="*/ 664 w 3410"/>
                <a:gd name="T81" fmla="*/ 2256 h 2587"/>
                <a:gd name="T82" fmla="*/ 0 w 3410"/>
                <a:gd name="T83" fmla="*/ 2242 h 2587"/>
                <a:gd name="T84" fmla="*/ 377 w 3410"/>
                <a:gd name="T85" fmla="*/ 2264 h 2587"/>
                <a:gd name="T86" fmla="*/ 461 w 3410"/>
                <a:gd name="T87" fmla="*/ 2492 h 2587"/>
                <a:gd name="T88" fmla="*/ 494 w 3410"/>
                <a:gd name="T89" fmla="*/ 2245 h 2587"/>
                <a:gd name="T90" fmla="*/ 469 w 3410"/>
                <a:gd name="T91" fmla="*/ 2298 h 2587"/>
                <a:gd name="T92" fmla="*/ 2433 w 3410"/>
                <a:gd name="T93" fmla="*/ 2311 h 2587"/>
                <a:gd name="T94" fmla="*/ 2018 w 3410"/>
                <a:gd name="T95" fmla="*/ 2487 h 2587"/>
                <a:gd name="T96" fmla="*/ 2006 w 3410"/>
                <a:gd name="T97" fmla="*/ 2332 h 2587"/>
                <a:gd name="T98" fmla="*/ 2124 w 3410"/>
                <a:gd name="T99" fmla="*/ 2448 h 2587"/>
                <a:gd name="T100" fmla="*/ 2323 w 3410"/>
                <a:gd name="T101" fmla="*/ 2350 h 2587"/>
                <a:gd name="T102" fmla="*/ 2162 w 3410"/>
                <a:gd name="T103" fmla="*/ 2365 h 2587"/>
                <a:gd name="T104" fmla="*/ 2211 w 3410"/>
                <a:gd name="T105" fmla="*/ 2436 h 2587"/>
                <a:gd name="T106" fmla="*/ 1255 w 3410"/>
                <a:gd name="T107" fmla="*/ 2238 h 2587"/>
                <a:gd name="T108" fmla="*/ 1286 w 3410"/>
                <a:gd name="T109" fmla="*/ 2300 h 2587"/>
                <a:gd name="T110" fmla="*/ 1470 w 3410"/>
                <a:gd name="T111" fmla="*/ 2240 h 2587"/>
                <a:gd name="T112" fmla="*/ 1478 w 3410"/>
                <a:gd name="T113" fmla="*/ 2491 h 2587"/>
                <a:gd name="T114" fmla="*/ 1495 w 3410"/>
                <a:gd name="T115" fmla="*/ 2587 h 2587"/>
                <a:gd name="T116" fmla="*/ 1532 w 3410"/>
                <a:gd name="T117" fmla="*/ 2432 h 2587"/>
                <a:gd name="T118" fmla="*/ 1548 w 3410"/>
                <a:gd name="T119" fmla="*/ 2308 h 2587"/>
                <a:gd name="T120" fmla="*/ 439 w 3410"/>
                <a:gd name="T121" fmla="*/ 547 h 2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10" h="2587">
                  <a:moveTo>
                    <a:pt x="284" y="1950"/>
                  </a:moveTo>
                  <a:lnTo>
                    <a:pt x="284" y="1950"/>
                  </a:lnTo>
                  <a:lnTo>
                    <a:pt x="284" y="1941"/>
                  </a:lnTo>
                  <a:lnTo>
                    <a:pt x="283" y="1934"/>
                  </a:lnTo>
                  <a:lnTo>
                    <a:pt x="279" y="1920"/>
                  </a:lnTo>
                  <a:lnTo>
                    <a:pt x="273" y="1907"/>
                  </a:lnTo>
                  <a:lnTo>
                    <a:pt x="266" y="1898"/>
                  </a:lnTo>
                  <a:lnTo>
                    <a:pt x="257" y="1890"/>
                  </a:lnTo>
                  <a:lnTo>
                    <a:pt x="249" y="1884"/>
                  </a:lnTo>
                  <a:lnTo>
                    <a:pt x="241" y="1879"/>
                  </a:lnTo>
                  <a:lnTo>
                    <a:pt x="234" y="1876"/>
                  </a:lnTo>
                  <a:lnTo>
                    <a:pt x="234" y="1876"/>
                  </a:lnTo>
                  <a:lnTo>
                    <a:pt x="243" y="1869"/>
                  </a:lnTo>
                  <a:lnTo>
                    <a:pt x="250" y="1863"/>
                  </a:lnTo>
                  <a:lnTo>
                    <a:pt x="256" y="1856"/>
                  </a:lnTo>
                  <a:lnTo>
                    <a:pt x="262" y="1848"/>
                  </a:lnTo>
                  <a:lnTo>
                    <a:pt x="267" y="1839"/>
                  </a:lnTo>
                  <a:lnTo>
                    <a:pt x="269" y="1829"/>
                  </a:lnTo>
                  <a:lnTo>
                    <a:pt x="272" y="1819"/>
                  </a:lnTo>
                  <a:lnTo>
                    <a:pt x="272" y="1808"/>
                  </a:lnTo>
                  <a:lnTo>
                    <a:pt x="272" y="1808"/>
                  </a:lnTo>
                  <a:lnTo>
                    <a:pt x="272" y="1799"/>
                  </a:lnTo>
                  <a:lnTo>
                    <a:pt x="271" y="1789"/>
                  </a:lnTo>
                  <a:lnTo>
                    <a:pt x="268" y="1780"/>
                  </a:lnTo>
                  <a:lnTo>
                    <a:pt x="266" y="1772"/>
                  </a:lnTo>
                  <a:lnTo>
                    <a:pt x="262" y="1763"/>
                  </a:lnTo>
                  <a:lnTo>
                    <a:pt x="257" y="1756"/>
                  </a:lnTo>
                  <a:lnTo>
                    <a:pt x="251" y="1750"/>
                  </a:lnTo>
                  <a:lnTo>
                    <a:pt x="245" y="1744"/>
                  </a:lnTo>
                  <a:lnTo>
                    <a:pt x="238" y="1739"/>
                  </a:lnTo>
                  <a:lnTo>
                    <a:pt x="230" y="1734"/>
                  </a:lnTo>
                  <a:lnTo>
                    <a:pt x="222" y="1730"/>
                  </a:lnTo>
                  <a:lnTo>
                    <a:pt x="212" y="1727"/>
                  </a:lnTo>
                  <a:lnTo>
                    <a:pt x="202" y="1724"/>
                  </a:lnTo>
                  <a:lnTo>
                    <a:pt x="191" y="1722"/>
                  </a:lnTo>
                  <a:lnTo>
                    <a:pt x="180" y="1722"/>
                  </a:lnTo>
                  <a:lnTo>
                    <a:pt x="168" y="1721"/>
                  </a:lnTo>
                  <a:lnTo>
                    <a:pt x="24" y="1721"/>
                  </a:lnTo>
                  <a:lnTo>
                    <a:pt x="24" y="2057"/>
                  </a:lnTo>
                  <a:lnTo>
                    <a:pt x="167" y="2057"/>
                  </a:lnTo>
                  <a:lnTo>
                    <a:pt x="167" y="2057"/>
                  </a:lnTo>
                  <a:lnTo>
                    <a:pt x="180" y="2057"/>
                  </a:lnTo>
                  <a:lnTo>
                    <a:pt x="193" y="2056"/>
                  </a:lnTo>
                  <a:lnTo>
                    <a:pt x="205" y="2054"/>
                  </a:lnTo>
                  <a:lnTo>
                    <a:pt x="216" y="2050"/>
                  </a:lnTo>
                  <a:lnTo>
                    <a:pt x="227" y="2046"/>
                  </a:lnTo>
                  <a:lnTo>
                    <a:pt x="236" y="2042"/>
                  </a:lnTo>
                  <a:lnTo>
                    <a:pt x="245" y="2035"/>
                  </a:lnTo>
                  <a:lnTo>
                    <a:pt x="252" y="2029"/>
                  </a:lnTo>
                  <a:lnTo>
                    <a:pt x="260" y="2022"/>
                  </a:lnTo>
                  <a:lnTo>
                    <a:pt x="266" y="2013"/>
                  </a:lnTo>
                  <a:lnTo>
                    <a:pt x="272" y="2005"/>
                  </a:lnTo>
                  <a:lnTo>
                    <a:pt x="275" y="1995"/>
                  </a:lnTo>
                  <a:lnTo>
                    <a:pt x="279" y="1985"/>
                  </a:lnTo>
                  <a:lnTo>
                    <a:pt x="282" y="1974"/>
                  </a:lnTo>
                  <a:lnTo>
                    <a:pt x="283" y="1962"/>
                  </a:lnTo>
                  <a:lnTo>
                    <a:pt x="284" y="1950"/>
                  </a:lnTo>
                  <a:lnTo>
                    <a:pt x="284" y="1950"/>
                  </a:lnTo>
                  <a:lnTo>
                    <a:pt x="284" y="1950"/>
                  </a:lnTo>
                  <a:close/>
                  <a:moveTo>
                    <a:pt x="167" y="2001"/>
                  </a:moveTo>
                  <a:lnTo>
                    <a:pt x="87" y="2001"/>
                  </a:lnTo>
                  <a:lnTo>
                    <a:pt x="87" y="1905"/>
                  </a:lnTo>
                  <a:lnTo>
                    <a:pt x="167" y="1905"/>
                  </a:lnTo>
                  <a:lnTo>
                    <a:pt x="167" y="1905"/>
                  </a:lnTo>
                  <a:lnTo>
                    <a:pt x="179" y="1906"/>
                  </a:lnTo>
                  <a:lnTo>
                    <a:pt x="189" y="1907"/>
                  </a:lnTo>
                  <a:lnTo>
                    <a:pt x="197" y="1911"/>
                  </a:lnTo>
                  <a:lnTo>
                    <a:pt x="205" y="1917"/>
                  </a:lnTo>
                  <a:lnTo>
                    <a:pt x="211" y="1923"/>
                  </a:lnTo>
                  <a:lnTo>
                    <a:pt x="214" y="1932"/>
                  </a:lnTo>
                  <a:lnTo>
                    <a:pt x="217" y="1941"/>
                  </a:lnTo>
                  <a:lnTo>
                    <a:pt x="218" y="1952"/>
                  </a:lnTo>
                  <a:lnTo>
                    <a:pt x="218" y="1952"/>
                  </a:lnTo>
                  <a:lnTo>
                    <a:pt x="217" y="1963"/>
                  </a:lnTo>
                  <a:lnTo>
                    <a:pt x="214" y="1973"/>
                  </a:lnTo>
                  <a:lnTo>
                    <a:pt x="210" y="1982"/>
                  </a:lnTo>
                  <a:lnTo>
                    <a:pt x="205" y="1988"/>
                  </a:lnTo>
                  <a:lnTo>
                    <a:pt x="197" y="1994"/>
                  </a:lnTo>
                  <a:lnTo>
                    <a:pt x="189" y="1998"/>
                  </a:lnTo>
                  <a:lnTo>
                    <a:pt x="178" y="2000"/>
                  </a:lnTo>
                  <a:lnTo>
                    <a:pt x="167" y="2001"/>
                  </a:lnTo>
                  <a:lnTo>
                    <a:pt x="167" y="2001"/>
                  </a:lnTo>
                  <a:lnTo>
                    <a:pt x="167" y="2001"/>
                  </a:lnTo>
                  <a:close/>
                  <a:moveTo>
                    <a:pt x="166" y="1850"/>
                  </a:moveTo>
                  <a:lnTo>
                    <a:pt x="87" y="1850"/>
                  </a:lnTo>
                  <a:lnTo>
                    <a:pt x="87" y="1778"/>
                  </a:lnTo>
                  <a:lnTo>
                    <a:pt x="163" y="1778"/>
                  </a:lnTo>
                  <a:lnTo>
                    <a:pt x="163" y="1778"/>
                  </a:lnTo>
                  <a:lnTo>
                    <a:pt x="173" y="1779"/>
                  </a:lnTo>
                  <a:lnTo>
                    <a:pt x="183" y="1780"/>
                  </a:lnTo>
                  <a:lnTo>
                    <a:pt x="190" y="1783"/>
                  </a:lnTo>
                  <a:lnTo>
                    <a:pt x="196" y="1787"/>
                  </a:lnTo>
                  <a:lnTo>
                    <a:pt x="201" y="1793"/>
                  </a:lnTo>
                  <a:lnTo>
                    <a:pt x="205" y="1799"/>
                  </a:lnTo>
                  <a:lnTo>
                    <a:pt x="206" y="1806"/>
                  </a:lnTo>
                  <a:lnTo>
                    <a:pt x="207" y="1815"/>
                  </a:lnTo>
                  <a:lnTo>
                    <a:pt x="207" y="1815"/>
                  </a:lnTo>
                  <a:lnTo>
                    <a:pt x="207" y="1821"/>
                  </a:lnTo>
                  <a:lnTo>
                    <a:pt x="206" y="1827"/>
                  </a:lnTo>
                  <a:lnTo>
                    <a:pt x="204" y="1833"/>
                  </a:lnTo>
                  <a:lnTo>
                    <a:pt x="200" y="1838"/>
                  </a:lnTo>
                  <a:lnTo>
                    <a:pt x="194" y="1843"/>
                  </a:lnTo>
                  <a:lnTo>
                    <a:pt x="186" y="1846"/>
                  </a:lnTo>
                  <a:lnTo>
                    <a:pt x="178" y="1849"/>
                  </a:lnTo>
                  <a:lnTo>
                    <a:pt x="166" y="1850"/>
                  </a:lnTo>
                  <a:lnTo>
                    <a:pt x="166" y="1850"/>
                  </a:lnTo>
                  <a:lnTo>
                    <a:pt x="166" y="1850"/>
                  </a:lnTo>
                  <a:close/>
                  <a:moveTo>
                    <a:pt x="327" y="1951"/>
                  </a:moveTo>
                  <a:lnTo>
                    <a:pt x="327" y="1812"/>
                  </a:lnTo>
                  <a:lnTo>
                    <a:pt x="388" y="1812"/>
                  </a:lnTo>
                  <a:lnTo>
                    <a:pt x="388" y="1948"/>
                  </a:lnTo>
                  <a:lnTo>
                    <a:pt x="388" y="1948"/>
                  </a:lnTo>
                  <a:lnTo>
                    <a:pt x="388" y="1961"/>
                  </a:lnTo>
                  <a:lnTo>
                    <a:pt x="390" y="1974"/>
                  </a:lnTo>
                  <a:lnTo>
                    <a:pt x="394" y="1984"/>
                  </a:lnTo>
                  <a:lnTo>
                    <a:pt x="399" y="1993"/>
                  </a:lnTo>
                  <a:lnTo>
                    <a:pt x="405" y="1999"/>
                  </a:lnTo>
                  <a:lnTo>
                    <a:pt x="412" y="2004"/>
                  </a:lnTo>
                  <a:lnTo>
                    <a:pt x="422" y="2006"/>
                  </a:lnTo>
                  <a:lnTo>
                    <a:pt x="433" y="2007"/>
                  </a:lnTo>
                  <a:lnTo>
                    <a:pt x="433" y="2007"/>
                  </a:lnTo>
                  <a:lnTo>
                    <a:pt x="444" y="2006"/>
                  </a:lnTo>
                  <a:lnTo>
                    <a:pt x="452" y="2004"/>
                  </a:lnTo>
                  <a:lnTo>
                    <a:pt x="461" y="1999"/>
                  </a:lnTo>
                  <a:lnTo>
                    <a:pt x="467" y="1993"/>
                  </a:lnTo>
                  <a:lnTo>
                    <a:pt x="472" y="1984"/>
                  </a:lnTo>
                  <a:lnTo>
                    <a:pt x="475" y="1973"/>
                  </a:lnTo>
                  <a:lnTo>
                    <a:pt x="478" y="1961"/>
                  </a:lnTo>
                  <a:lnTo>
                    <a:pt x="478" y="1948"/>
                  </a:lnTo>
                  <a:lnTo>
                    <a:pt x="478" y="1812"/>
                  </a:lnTo>
                  <a:lnTo>
                    <a:pt x="539" y="1812"/>
                  </a:lnTo>
                  <a:lnTo>
                    <a:pt x="539" y="2057"/>
                  </a:lnTo>
                  <a:lnTo>
                    <a:pt x="478" y="2057"/>
                  </a:lnTo>
                  <a:lnTo>
                    <a:pt x="478" y="2038"/>
                  </a:lnTo>
                  <a:lnTo>
                    <a:pt x="478" y="2038"/>
                  </a:lnTo>
                  <a:lnTo>
                    <a:pt x="473" y="2044"/>
                  </a:lnTo>
                  <a:lnTo>
                    <a:pt x="466" y="2049"/>
                  </a:lnTo>
                  <a:lnTo>
                    <a:pt x="459" y="2054"/>
                  </a:lnTo>
                  <a:lnTo>
                    <a:pt x="452" y="2056"/>
                  </a:lnTo>
                  <a:lnTo>
                    <a:pt x="445" y="2060"/>
                  </a:lnTo>
                  <a:lnTo>
                    <a:pt x="436" y="2061"/>
                  </a:lnTo>
                  <a:lnTo>
                    <a:pt x="428" y="2062"/>
                  </a:lnTo>
                  <a:lnTo>
                    <a:pt x="419" y="2064"/>
                  </a:lnTo>
                  <a:lnTo>
                    <a:pt x="419" y="2064"/>
                  </a:lnTo>
                  <a:lnTo>
                    <a:pt x="405" y="2062"/>
                  </a:lnTo>
                  <a:lnTo>
                    <a:pt x="392" y="2060"/>
                  </a:lnTo>
                  <a:lnTo>
                    <a:pt x="381" y="2056"/>
                  </a:lnTo>
                  <a:lnTo>
                    <a:pt x="370" y="2051"/>
                  </a:lnTo>
                  <a:lnTo>
                    <a:pt x="362" y="2045"/>
                  </a:lnTo>
                  <a:lnTo>
                    <a:pt x="355" y="2039"/>
                  </a:lnTo>
                  <a:lnTo>
                    <a:pt x="349" y="2031"/>
                  </a:lnTo>
                  <a:lnTo>
                    <a:pt x="342" y="2022"/>
                  </a:lnTo>
                  <a:lnTo>
                    <a:pt x="339" y="2013"/>
                  </a:lnTo>
                  <a:lnTo>
                    <a:pt x="335" y="2005"/>
                  </a:lnTo>
                  <a:lnTo>
                    <a:pt x="330" y="1985"/>
                  </a:lnTo>
                  <a:lnTo>
                    <a:pt x="328" y="1967"/>
                  </a:lnTo>
                  <a:lnTo>
                    <a:pt x="327" y="1951"/>
                  </a:lnTo>
                  <a:lnTo>
                    <a:pt x="327" y="1951"/>
                  </a:lnTo>
                  <a:lnTo>
                    <a:pt x="327" y="1951"/>
                  </a:lnTo>
                  <a:close/>
                  <a:moveTo>
                    <a:pt x="1253" y="2057"/>
                  </a:moveTo>
                  <a:lnTo>
                    <a:pt x="1192" y="2057"/>
                  </a:lnTo>
                  <a:lnTo>
                    <a:pt x="1192" y="1812"/>
                  </a:lnTo>
                  <a:lnTo>
                    <a:pt x="1253" y="1812"/>
                  </a:lnTo>
                  <a:lnTo>
                    <a:pt x="1253" y="1833"/>
                  </a:lnTo>
                  <a:lnTo>
                    <a:pt x="1253" y="1833"/>
                  </a:lnTo>
                  <a:lnTo>
                    <a:pt x="1259" y="1827"/>
                  </a:lnTo>
                  <a:lnTo>
                    <a:pt x="1265" y="1821"/>
                  </a:lnTo>
                  <a:lnTo>
                    <a:pt x="1272" y="1817"/>
                  </a:lnTo>
                  <a:lnTo>
                    <a:pt x="1280" y="1813"/>
                  </a:lnTo>
                  <a:lnTo>
                    <a:pt x="1288" y="1810"/>
                  </a:lnTo>
                  <a:lnTo>
                    <a:pt x="1296" y="1808"/>
                  </a:lnTo>
                  <a:lnTo>
                    <a:pt x="1305" y="1807"/>
                  </a:lnTo>
                  <a:lnTo>
                    <a:pt x="1314" y="1806"/>
                  </a:lnTo>
                  <a:lnTo>
                    <a:pt x="1314" y="1806"/>
                  </a:lnTo>
                  <a:lnTo>
                    <a:pt x="1325" y="1807"/>
                  </a:lnTo>
                  <a:lnTo>
                    <a:pt x="1335" y="1808"/>
                  </a:lnTo>
                  <a:lnTo>
                    <a:pt x="1344" y="1811"/>
                  </a:lnTo>
                  <a:lnTo>
                    <a:pt x="1353" y="1813"/>
                  </a:lnTo>
                  <a:lnTo>
                    <a:pt x="1361" y="1817"/>
                  </a:lnTo>
                  <a:lnTo>
                    <a:pt x="1369" y="1823"/>
                  </a:lnTo>
                  <a:lnTo>
                    <a:pt x="1375" y="1828"/>
                  </a:lnTo>
                  <a:lnTo>
                    <a:pt x="1381" y="1835"/>
                  </a:lnTo>
                  <a:lnTo>
                    <a:pt x="1387" y="1843"/>
                  </a:lnTo>
                  <a:lnTo>
                    <a:pt x="1391" y="1851"/>
                  </a:lnTo>
                  <a:lnTo>
                    <a:pt x="1395" y="1860"/>
                  </a:lnTo>
                  <a:lnTo>
                    <a:pt x="1398" y="1869"/>
                  </a:lnTo>
                  <a:lnTo>
                    <a:pt x="1400" y="1880"/>
                  </a:lnTo>
                  <a:lnTo>
                    <a:pt x="1403" y="1893"/>
                  </a:lnTo>
                  <a:lnTo>
                    <a:pt x="1404" y="1905"/>
                  </a:lnTo>
                  <a:lnTo>
                    <a:pt x="1404" y="1918"/>
                  </a:lnTo>
                  <a:lnTo>
                    <a:pt x="1404" y="2057"/>
                  </a:lnTo>
                  <a:lnTo>
                    <a:pt x="1343" y="2057"/>
                  </a:lnTo>
                  <a:lnTo>
                    <a:pt x="1343" y="1922"/>
                  </a:lnTo>
                  <a:lnTo>
                    <a:pt x="1343" y="1922"/>
                  </a:lnTo>
                  <a:lnTo>
                    <a:pt x="1343" y="1907"/>
                  </a:lnTo>
                  <a:lnTo>
                    <a:pt x="1341" y="1895"/>
                  </a:lnTo>
                  <a:lnTo>
                    <a:pt x="1337" y="1885"/>
                  </a:lnTo>
                  <a:lnTo>
                    <a:pt x="1332" y="1877"/>
                  </a:lnTo>
                  <a:lnTo>
                    <a:pt x="1326" y="1871"/>
                  </a:lnTo>
                  <a:lnTo>
                    <a:pt x="1319" y="1866"/>
                  </a:lnTo>
                  <a:lnTo>
                    <a:pt x="1310" y="1863"/>
                  </a:lnTo>
                  <a:lnTo>
                    <a:pt x="1299" y="1862"/>
                  </a:lnTo>
                  <a:lnTo>
                    <a:pt x="1299" y="1862"/>
                  </a:lnTo>
                  <a:lnTo>
                    <a:pt x="1288" y="1863"/>
                  </a:lnTo>
                  <a:lnTo>
                    <a:pt x="1278" y="1866"/>
                  </a:lnTo>
                  <a:lnTo>
                    <a:pt x="1271" y="1871"/>
                  </a:lnTo>
                  <a:lnTo>
                    <a:pt x="1265" y="1877"/>
                  </a:lnTo>
                  <a:lnTo>
                    <a:pt x="1259" y="1885"/>
                  </a:lnTo>
                  <a:lnTo>
                    <a:pt x="1255" y="1896"/>
                  </a:lnTo>
                  <a:lnTo>
                    <a:pt x="1253" y="1909"/>
                  </a:lnTo>
                  <a:lnTo>
                    <a:pt x="1253" y="1922"/>
                  </a:lnTo>
                  <a:lnTo>
                    <a:pt x="1253" y="2057"/>
                  </a:lnTo>
                  <a:lnTo>
                    <a:pt x="1253" y="2057"/>
                  </a:lnTo>
                  <a:close/>
                  <a:moveTo>
                    <a:pt x="654" y="1927"/>
                  </a:moveTo>
                  <a:lnTo>
                    <a:pt x="654" y="2057"/>
                  </a:lnTo>
                  <a:lnTo>
                    <a:pt x="594" y="2057"/>
                  </a:lnTo>
                  <a:lnTo>
                    <a:pt x="594" y="1812"/>
                  </a:lnTo>
                  <a:lnTo>
                    <a:pt x="654" y="1812"/>
                  </a:lnTo>
                  <a:lnTo>
                    <a:pt x="654" y="1927"/>
                  </a:lnTo>
                  <a:lnTo>
                    <a:pt x="654" y="1927"/>
                  </a:lnTo>
                  <a:close/>
                  <a:moveTo>
                    <a:pt x="708" y="1740"/>
                  </a:moveTo>
                  <a:lnTo>
                    <a:pt x="769" y="1710"/>
                  </a:lnTo>
                  <a:lnTo>
                    <a:pt x="769" y="1932"/>
                  </a:lnTo>
                  <a:lnTo>
                    <a:pt x="769" y="2057"/>
                  </a:lnTo>
                  <a:lnTo>
                    <a:pt x="708" y="2057"/>
                  </a:lnTo>
                  <a:lnTo>
                    <a:pt x="708" y="1740"/>
                  </a:lnTo>
                  <a:lnTo>
                    <a:pt x="708" y="1740"/>
                  </a:lnTo>
                  <a:close/>
                  <a:moveTo>
                    <a:pt x="962" y="1829"/>
                  </a:moveTo>
                  <a:lnTo>
                    <a:pt x="962" y="1829"/>
                  </a:lnTo>
                  <a:lnTo>
                    <a:pt x="957" y="1823"/>
                  </a:lnTo>
                  <a:lnTo>
                    <a:pt x="951" y="1819"/>
                  </a:lnTo>
                  <a:lnTo>
                    <a:pt x="943" y="1815"/>
                  </a:lnTo>
                  <a:lnTo>
                    <a:pt x="937" y="1812"/>
                  </a:lnTo>
                  <a:lnTo>
                    <a:pt x="930" y="1810"/>
                  </a:lnTo>
                  <a:lnTo>
                    <a:pt x="923" y="1807"/>
                  </a:lnTo>
                  <a:lnTo>
                    <a:pt x="908" y="1806"/>
                  </a:lnTo>
                  <a:lnTo>
                    <a:pt x="908" y="1806"/>
                  </a:lnTo>
                  <a:lnTo>
                    <a:pt x="897" y="1807"/>
                  </a:lnTo>
                  <a:lnTo>
                    <a:pt x="886" y="1808"/>
                  </a:lnTo>
                  <a:lnTo>
                    <a:pt x="876" y="1811"/>
                  </a:lnTo>
                  <a:lnTo>
                    <a:pt x="868" y="1815"/>
                  </a:lnTo>
                  <a:lnTo>
                    <a:pt x="859" y="1819"/>
                  </a:lnTo>
                  <a:lnTo>
                    <a:pt x="851" y="1826"/>
                  </a:lnTo>
                  <a:lnTo>
                    <a:pt x="843" y="1833"/>
                  </a:lnTo>
                  <a:lnTo>
                    <a:pt x="837" y="1840"/>
                  </a:lnTo>
                  <a:lnTo>
                    <a:pt x="831" y="1849"/>
                  </a:lnTo>
                  <a:lnTo>
                    <a:pt x="826" y="1859"/>
                  </a:lnTo>
                  <a:lnTo>
                    <a:pt x="821" y="1868"/>
                  </a:lnTo>
                  <a:lnTo>
                    <a:pt x="818" y="1879"/>
                  </a:lnTo>
                  <a:lnTo>
                    <a:pt x="815" y="1891"/>
                  </a:lnTo>
                  <a:lnTo>
                    <a:pt x="813" y="1905"/>
                  </a:lnTo>
                  <a:lnTo>
                    <a:pt x="812" y="1918"/>
                  </a:lnTo>
                  <a:lnTo>
                    <a:pt x="812" y="1932"/>
                  </a:lnTo>
                  <a:lnTo>
                    <a:pt x="812" y="1932"/>
                  </a:lnTo>
                  <a:lnTo>
                    <a:pt x="812" y="1948"/>
                  </a:lnTo>
                  <a:lnTo>
                    <a:pt x="813" y="1961"/>
                  </a:lnTo>
                  <a:lnTo>
                    <a:pt x="815" y="1974"/>
                  </a:lnTo>
                  <a:lnTo>
                    <a:pt x="818" y="1987"/>
                  </a:lnTo>
                  <a:lnTo>
                    <a:pt x="821" y="1999"/>
                  </a:lnTo>
                  <a:lnTo>
                    <a:pt x="825" y="2010"/>
                  </a:lnTo>
                  <a:lnTo>
                    <a:pt x="830" y="2020"/>
                  </a:lnTo>
                  <a:lnTo>
                    <a:pt x="836" y="2028"/>
                  </a:lnTo>
                  <a:lnTo>
                    <a:pt x="843" y="2037"/>
                  </a:lnTo>
                  <a:lnTo>
                    <a:pt x="849" y="2043"/>
                  </a:lnTo>
                  <a:lnTo>
                    <a:pt x="858" y="2049"/>
                  </a:lnTo>
                  <a:lnTo>
                    <a:pt x="867" y="2054"/>
                  </a:lnTo>
                  <a:lnTo>
                    <a:pt x="875" y="2057"/>
                  </a:lnTo>
                  <a:lnTo>
                    <a:pt x="885" y="2061"/>
                  </a:lnTo>
                  <a:lnTo>
                    <a:pt x="896" y="2062"/>
                  </a:lnTo>
                  <a:lnTo>
                    <a:pt x="907" y="2064"/>
                  </a:lnTo>
                  <a:lnTo>
                    <a:pt x="907" y="2064"/>
                  </a:lnTo>
                  <a:lnTo>
                    <a:pt x="914" y="2062"/>
                  </a:lnTo>
                  <a:lnTo>
                    <a:pt x="921" y="2061"/>
                  </a:lnTo>
                  <a:lnTo>
                    <a:pt x="929" y="2060"/>
                  </a:lnTo>
                  <a:lnTo>
                    <a:pt x="936" y="2057"/>
                  </a:lnTo>
                  <a:lnTo>
                    <a:pt x="942" y="2054"/>
                  </a:lnTo>
                  <a:lnTo>
                    <a:pt x="949" y="2050"/>
                  </a:lnTo>
                  <a:lnTo>
                    <a:pt x="955" y="2045"/>
                  </a:lnTo>
                  <a:lnTo>
                    <a:pt x="962" y="2039"/>
                  </a:lnTo>
                  <a:lnTo>
                    <a:pt x="962" y="2057"/>
                  </a:lnTo>
                  <a:lnTo>
                    <a:pt x="1023" y="2057"/>
                  </a:lnTo>
                  <a:lnTo>
                    <a:pt x="1023" y="1710"/>
                  </a:lnTo>
                  <a:lnTo>
                    <a:pt x="962" y="1740"/>
                  </a:lnTo>
                  <a:lnTo>
                    <a:pt x="962" y="1829"/>
                  </a:lnTo>
                  <a:lnTo>
                    <a:pt x="962" y="1829"/>
                  </a:lnTo>
                  <a:close/>
                  <a:moveTo>
                    <a:pt x="919" y="2007"/>
                  </a:moveTo>
                  <a:lnTo>
                    <a:pt x="919" y="2007"/>
                  </a:lnTo>
                  <a:lnTo>
                    <a:pt x="912" y="2006"/>
                  </a:lnTo>
                  <a:lnTo>
                    <a:pt x="903" y="2004"/>
                  </a:lnTo>
                  <a:lnTo>
                    <a:pt x="896" y="2000"/>
                  </a:lnTo>
                  <a:lnTo>
                    <a:pt x="888" y="1993"/>
                  </a:lnTo>
                  <a:lnTo>
                    <a:pt x="882" y="1983"/>
                  </a:lnTo>
                  <a:lnTo>
                    <a:pt x="877" y="1970"/>
                  </a:lnTo>
                  <a:lnTo>
                    <a:pt x="874" y="1952"/>
                  </a:lnTo>
                  <a:lnTo>
                    <a:pt x="873" y="1931"/>
                  </a:lnTo>
                  <a:lnTo>
                    <a:pt x="873" y="1931"/>
                  </a:lnTo>
                  <a:lnTo>
                    <a:pt x="874" y="1911"/>
                  </a:lnTo>
                  <a:lnTo>
                    <a:pt x="877" y="1896"/>
                  </a:lnTo>
                  <a:lnTo>
                    <a:pt x="882" y="1884"/>
                  </a:lnTo>
                  <a:lnTo>
                    <a:pt x="888" y="1876"/>
                  </a:lnTo>
                  <a:lnTo>
                    <a:pt x="895" y="1868"/>
                  </a:lnTo>
                  <a:lnTo>
                    <a:pt x="903" y="1865"/>
                  </a:lnTo>
                  <a:lnTo>
                    <a:pt x="910" y="1862"/>
                  </a:lnTo>
                  <a:lnTo>
                    <a:pt x="919" y="1862"/>
                  </a:lnTo>
                  <a:lnTo>
                    <a:pt x="919" y="1862"/>
                  </a:lnTo>
                  <a:lnTo>
                    <a:pt x="926" y="1862"/>
                  </a:lnTo>
                  <a:lnTo>
                    <a:pt x="934" y="1865"/>
                  </a:lnTo>
                  <a:lnTo>
                    <a:pt x="941" y="1867"/>
                  </a:lnTo>
                  <a:lnTo>
                    <a:pt x="946" y="1871"/>
                  </a:lnTo>
                  <a:lnTo>
                    <a:pt x="951" y="1874"/>
                  </a:lnTo>
                  <a:lnTo>
                    <a:pt x="955" y="1878"/>
                  </a:lnTo>
                  <a:lnTo>
                    <a:pt x="962" y="1887"/>
                  </a:lnTo>
                  <a:lnTo>
                    <a:pt x="962" y="1983"/>
                  </a:lnTo>
                  <a:lnTo>
                    <a:pt x="962" y="1983"/>
                  </a:lnTo>
                  <a:lnTo>
                    <a:pt x="954" y="1992"/>
                  </a:lnTo>
                  <a:lnTo>
                    <a:pt x="946" y="1999"/>
                  </a:lnTo>
                  <a:lnTo>
                    <a:pt x="941" y="2002"/>
                  </a:lnTo>
                  <a:lnTo>
                    <a:pt x="934" y="2005"/>
                  </a:lnTo>
                  <a:lnTo>
                    <a:pt x="927" y="2006"/>
                  </a:lnTo>
                  <a:lnTo>
                    <a:pt x="919" y="2007"/>
                  </a:lnTo>
                  <a:lnTo>
                    <a:pt x="919" y="2007"/>
                  </a:lnTo>
                  <a:lnTo>
                    <a:pt x="919" y="2007"/>
                  </a:lnTo>
                  <a:close/>
                  <a:moveTo>
                    <a:pt x="2285" y="1806"/>
                  </a:moveTo>
                  <a:lnTo>
                    <a:pt x="2285" y="1806"/>
                  </a:lnTo>
                  <a:lnTo>
                    <a:pt x="2279" y="1807"/>
                  </a:lnTo>
                  <a:lnTo>
                    <a:pt x="2272" y="1808"/>
                  </a:lnTo>
                  <a:lnTo>
                    <a:pt x="2257" y="1812"/>
                  </a:lnTo>
                  <a:lnTo>
                    <a:pt x="2244" y="1819"/>
                  </a:lnTo>
                  <a:lnTo>
                    <a:pt x="2231" y="1829"/>
                  </a:lnTo>
                  <a:lnTo>
                    <a:pt x="2231" y="1716"/>
                  </a:lnTo>
                  <a:lnTo>
                    <a:pt x="2171" y="1746"/>
                  </a:lnTo>
                  <a:lnTo>
                    <a:pt x="2171" y="2057"/>
                  </a:lnTo>
                  <a:lnTo>
                    <a:pt x="2231" y="2057"/>
                  </a:lnTo>
                  <a:lnTo>
                    <a:pt x="2231" y="2039"/>
                  </a:lnTo>
                  <a:lnTo>
                    <a:pt x="2231" y="2039"/>
                  </a:lnTo>
                  <a:lnTo>
                    <a:pt x="2236" y="2045"/>
                  </a:lnTo>
                  <a:lnTo>
                    <a:pt x="2244" y="2050"/>
                  </a:lnTo>
                  <a:lnTo>
                    <a:pt x="2250" y="2054"/>
                  </a:lnTo>
                  <a:lnTo>
                    <a:pt x="2257" y="2057"/>
                  </a:lnTo>
                  <a:lnTo>
                    <a:pt x="2263" y="2060"/>
                  </a:lnTo>
                  <a:lnTo>
                    <a:pt x="2272" y="2061"/>
                  </a:lnTo>
                  <a:lnTo>
                    <a:pt x="2279" y="2062"/>
                  </a:lnTo>
                  <a:lnTo>
                    <a:pt x="2286" y="2064"/>
                  </a:lnTo>
                  <a:lnTo>
                    <a:pt x="2286" y="2064"/>
                  </a:lnTo>
                  <a:lnTo>
                    <a:pt x="2297" y="2062"/>
                  </a:lnTo>
                  <a:lnTo>
                    <a:pt x="2308" y="2061"/>
                  </a:lnTo>
                  <a:lnTo>
                    <a:pt x="2318" y="2059"/>
                  </a:lnTo>
                  <a:lnTo>
                    <a:pt x="2328" y="2054"/>
                  </a:lnTo>
                  <a:lnTo>
                    <a:pt x="2336" y="2049"/>
                  </a:lnTo>
                  <a:lnTo>
                    <a:pt x="2344" y="2044"/>
                  </a:lnTo>
                  <a:lnTo>
                    <a:pt x="2351" y="2037"/>
                  </a:lnTo>
                  <a:lnTo>
                    <a:pt x="2357" y="2029"/>
                  </a:lnTo>
                  <a:lnTo>
                    <a:pt x="2363" y="2020"/>
                  </a:lnTo>
                  <a:lnTo>
                    <a:pt x="2368" y="2010"/>
                  </a:lnTo>
                  <a:lnTo>
                    <a:pt x="2372" y="1999"/>
                  </a:lnTo>
                  <a:lnTo>
                    <a:pt x="2375" y="1988"/>
                  </a:lnTo>
                  <a:lnTo>
                    <a:pt x="2379" y="1976"/>
                  </a:lnTo>
                  <a:lnTo>
                    <a:pt x="2380" y="1962"/>
                  </a:lnTo>
                  <a:lnTo>
                    <a:pt x="2381" y="1948"/>
                  </a:lnTo>
                  <a:lnTo>
                    <a:pt x="2383" y="1932"/>
                  </a:lnTo>
                  <a:lnTo>
                    <a:pt x="2383" y="1932"/>
                  </a:lnTo>
                  <a:lnTo>
                    <a:pt x="2381" y="1918"/>
                  </a:lnTo>
                  <a:lnTo>
                    <a:pt x="2380" y="1905"/>
                  </a:lnTo>
                  <a:lnTo>
                    <a:pt x="2378" y="1891"/>
                  </a:lnTo>
                  <a:lnTo>
                    <a:pt x="2375" y="1879"/>
                  </a:lnTo>
                  <a:lnTo>
                    <a:pt x="2372" y="1868"/>
                  </a:lnTo>
                  <a:lnTo>
                    <a:pt x="2367" y="1859"/>
                  </a:lnTo>
                  <a:lnTo>
                    <a:pt x="2362" y="1849"/>
                  </a:lnTo>
                  <a:lnTo>
                    <a:pt x="2356" y="1840"/>
                  </a:lnTo>
                  <a:lnTo>
                    <a:pt x="2350" y="1833"/>
                  </a:lnTo>
                  <a:lnTo>
                    <a:pt x="2342" y="1826"/>
                  </a:lnTo>
                  <a:lnTo>
                    <a:pt x="2334" y="1819"/>
                  </a:lnTo>
                  <a:lnTo>
                    <a:pt x="2325" y="1815"/>
                  </a:lnTo>
                  <a:lnTo>
                    <a:pt x="2317" y="1811"/>
                  </a:lnTo>
                  <a:lnTo>
                    <a:pt x="2307" y="1808"/>
                  </a:lnTo>
                  <a:lnTo>
                    <a:pt x="2296" y="1807"/>
                  </a:lnTo>
                  <a:lnTo>
                    <a:pt x="2285" y="1806"/>
                  </a:lnTo>
                  <a:lnTo>
                    <a:pt x="2285" y="1806"/>
                  </a:lnTo>
                  <a:lnTo>
                    <a:pt x="2285" y="1806"/>
                  </a:lnTo>
                  <a:close/>
                  <a:moveTo>
                    <a:pt x="2274" y="1862"/>
                  </a:moveTo>
                  <a:lnTo>
                    <a:pt x="2274" y="1862"/>
                  </a:lnTo>
                  <a:lnTo>
                    <a:pt x="2283" y="1863"/>
                  </a:lnTo>
                  <a:lnTo>
                    <a:pt x="2291" y="1866"/>
                  </a:lnTo>
                  <a:lnTo>
                    <a:pt x="2299" y="1871"/>
                  </a:lnTo>
                  <a:lnTo>
                    <a:pt x="2306" y="1878"/>
                  </a:lnTo>
                  <a:lnTo>
                    <a:pt x="2312" y="1887"/>
                  </a:lnTo>
                  <a:lnTo>
                    <a:pt x="2316" y="1899"/>
                  </a:lnTo>
                  <a:lnTo>
                    <a:pt x="2319" y="1913"/>
                  </a:lnTo>
                  <a:lnTo>
                    <a:pt x="2320" y="1931"/>
                  </a:lnTo>
                  <a:lnTo>
                    <a:pt x="2320" y="1931"/>
                  </a:lnTo>
                  <a:lnTo>
                    <a:pt x="2319" y="1949"/>
                  </a:lnTo>
                  <a:lnTo>
                    <a:pt x="2317" y="1965"/>
                  </a:lnTo>
                  <a:lnTo>
                    <a:pt x="2314" y="1977"/>
                  </a:lnTo>
                  <a:lnTo>
                    <a:pt x="2309" y="1988"/>
                  </a:lnTo>
                  <a:lnTo>
                    <a:pt x="2302" y="1996"/>
                  </a:lnTo>
                  <a:lnTo>
                    <a:pt x="2295" y="2002"/>
                  </a:lnTo>
                  <a:lnTo>
                    <a:pt x="2286" y="2006"/>
                  </a:lnTo>
                  <a:lnTo>
                    <a:pt x="2275" y="2007"/>
                  </a:lnTo>
                  <a:lnTo>
                    <a:pt x="2275" y="2007"/>
                  </a:lnTo>
                  <a:lnTo>
                    <a:pt x="2267" y="2006"/>
                  </a:lnTo>
                  <a:lnTo>
                    <a:pt x="2260" y="2005"/>
                  </a:lnTo>
                  <a:lnTo>
                    <a:pt x="2253" y="2001"/>
                  </a:lnTo>
                  <a:lnTo>
                    <a:pt x="2247" y="1999"/>
                  </a:lnTo>
                  <a:lnTo>
                    <a:pt x="2238" y="1990"/>
                  </a:lnTo>
                  <a:lnTo>
                    <a:pt x="2231" y="1984"/>
                  </a:lnTo>
                  <a:lnTo>
                    <a:pt x="2231" y="1887"/>
                  </a:lnTo>
                  <a:lnTo>
                    <a:pt x="2231" y="1887"/>
                  </a:lnTo>
                  <a:lnTo>
                    <a:pt x="2235" y="1882"/>
                  </a:lnTo>
                  <a:lnTo>
                    <a:pt x="2240" y="1877"/>
                  </a:lnTo>
                  <a:lnTo>
                    <a:pt x="2245" y="1872"/>
                  </a:lnTo>
                  <a:lnTo>
                    <a:pt x="2250" y="1868"/>
                  </a:lnTo>
                  <a:lnTo>
                    <a:pt x="2256" y="1866"/>
                  </a:lnTo>
                  <a:lnTo>
                    <a:pt x="2262" y="1863"/>
                  </a:lnTo>
                  <a:lnTo>
                    <a:pt x="2268" y="1862"/>
                  </a:lnTo>
                  <a:lnTo>
                    <a:pt x="2274" y="1862"/>
                  </a:lnTo>
                  <a:lnTo>
                    <a:pt x="2274" y="1862"/>
                  </a:lnTo>
                  <a:lnTo>
                    <a:pt x="2274" y="1862"/>
                  </a:lnTo>
                  <a:close/>
                  <a:moveTo>
                    <a:pt x="1595" y="1829"/>
                  </a:moveTo>
                  <a:lnTo>
                    <a:pt x="1595" y="1829"/>
                  </a:lnTo>
                  <a:lnTo>
                    <a:pt x="1590" y="1824"/>
                  </a:lnTo>
                  <a:lnTo>
                    <a:pt x="1584" y="1819"/>
                  </a:lnTo>
                  <a:lnTo>
                    <a:pt x="1577" y="1816"/>
                  </a:lnTo>
                  <a:lnTo>
                    <a:pt x="1571" y="1812"/>
                  </a:lnTo>
                  <a:lnTo>
                    <a:pt x="1564" y="1810"/>
                  </a:lnTo>
                  <a:lnTo>
                    <a:pt x="1556" y="1807"/>
                  </a:lnTo>
                  <a:lnTo>
                    <a:pt x="1549" y="1807"/>
                  </a:lnTo>
                  <a:lnTo>
                    <a:pt x="1542" y="1806"/>
                  </a:lnTo>
                  <a:lnTo>
                    <a:pt x="1542" y="1806"/>
                  </a:lnTo>
                  <a:lnTo>
                    <a:pt x="1531" y="1807"/>
                  </a:lnTo>
                  <a:lnTo>
                    <a:pt x="1520" y="1808"/>
                  </a:lnTo>
                  <a:lnTo>
                    <a:pt x="1510" y="1811"/>
                  </a:lnTo>
                  <a:lnTo>
                    <a:pt x="1501" y="1815"/>
                  </a:lnTo>
                  <a:lnTo>
                    <a:pt x="1493" y="1819"/>
                  </a:lnTo>
                  <a:lnTo>
                    <a:pt x="1484" y="1826"/>
                  </a:lnTo>
                  <a:lnTo>
                    <a:pt x="1477" y="1833"/>
                  </a:lnTo>
                  <a:lnTo>
                    <a:pt x="1471" y="1840"/>
                  </a:lnTo>
                  <a:lnTo>
                    <a:pt x="1465" y="1849"/>
                  </a:lnTo>
                  <a:lnTo>
                    <a:pt x="1460" y="1859"/>
                  </a:lnTo>
                  <a:lnTo>
                    <a:pt x="1455" y="1868"/>
                  </a:lnTo>
                  <a:lnTo>
                    <a:pt x="1452" y="1879"/>
                  </a:lnTo>
                  <a:lnTo>
                    <a:pt x="1449" y="1891"/>
                  </a:lnTo>
                  <a:lnTo>
                    <a:pt x="1447" y="1905"/>
                  </a:lnTo>
                  <a:lnTo>
                    <a:pt x="1445" y="1918"/>
                  </a:lnTo>
                  <a:lnTo>
                    <a:pt x="1445" y="1932"/>
                  </a:lnTo>
                  <a:lnTo>
                    <a:pt x="1445" y="1932"/>
                  </a:lnTo>
                  <a:lnTo>
                    <a:pt x="1445" y="1948"/>
                  </a:lnTo>
                  <a:lnTo>
                    <a:pt x="1447" y="1961"/>
                  </a:lnTo>
                  <a:lnTo>
                    <a:pt x="1449" y="1974"/>
                  </a:lnTo>
                  <a:lnTo>
                    <a:pt x="1452" y="1987"/>
                  </a:lnTo>
                  <a:lnTo>
                    <a:pt x="1455" y="1999"/>
                  </a:lnTo>
                  <a:lnTo>
                    <a:pt x="1459" y="2010"/>
                  </a:lnTo>
                  <a:lnTo>
                    <a:pt x="1465" y="2020"/>
                  </a:lnTo>
                  <a:lnTo>
                    <a:pt x="1470" y="2028"/>
                  </a:lnTo>
                  <a:lnTo>
                    <a:pt x="1477" y="2037"/>
                  </a:lnTo>
                  <a:lnTo>
                    <a:pt x="1483" y="2043"/>
                  </a:lnTo>
                  <a:lnTo>
                    <a:pt x="1492" y="2049"/>
                  </a:lnTo>
                  <a:lnTo>
                    <a:pt x="1500" y="2054"/>
                  </a:lnTo>
                  <a:lnTo>
                    <a:pt x="1509" y="2057"/>
                  </a:lnTo>
                  <a:lnTo>
                    <a:pt x="1519" y="2061"/>
                  </a:lnTo>
                  <a:lnTo>
                    <a:pt x="1530" y="2062"/>
                  </a:lnTo>
                  <a:lnTo>
                    <a:pt x="1540" y="2062"/>
                  </a:lnTo>
                  <a:lnTo>
                    <a:pt x="1540" y="2062"/>
                  </a:lnTo>
                  <a:lnTo>
                    <a:pt x="1548" y="2062"/>
                  </a:lnTo>
                  <a:lnTo>
                    <a:pt x="1555" y="2061"/>
                  </a:lnTo>
                  <a:lnTo>
                    <a:pt x="1562" y="2060"/>
                  </a:lnTo>
                  <a:lnTo>
                    <a:pt x="1570" y="2057"/>
                  </a:lnTo>
                  <a:lnTo>
                    <a:pt x="1577" y="2054"/>
                  </a:lnTo>
                  <a:lnTo>
                    <a:pt x="1583" y="2049"/>
                  </a:lnTo>
                  <a:lnTo>
                    <a:pt x="1589" y="2045"/>
                  </a:lnTo>
                  <a:lnTo>
                    <a:pt x="1595" y="2039"/>
                  </a:lnTo>
                  <a:lnTo>
                    <a:pt x="1595" y="2045"/>
                  </a:lnTo>
                  <a:lnTo>
                    <a:pt x="1595" y="2045"/>
                  </a:lnTo>
                  <a:lnTo>
                    <a:pt x="1595" y="2055"/>
                  </a:lnTo>
                  <a:lnTo>
                    <a:pt x="1594" y="2066"/>
                  </a:lnTo>
                  <a:lnTo>
                    <a:pt x="1592" y="2077"/>
                  </a:lnTo>
                  <a:lnTo>
                    <a:pt x="1589" y="2082"/>
                  </a:lnTo>
                  <a:lnTo>
                    <a:pt x="1586" y="2087"/>
                  </a:lnTo>
                  <a:lnTo>
                    <a:pt x="1582" y="2092"/>
                  </a:lnTo>
                  <a:lnTo>
                    <a:pt x="1577" y="2096"/>
                  </a:lnTo>
                  <a:lnTo>
                    <a:pt x="1570" y="2100"/>
                  </a:lnTo>
                  <a:lnTo>
                    <a:pt x="1562" y="2103"/>
                  </a:lnTo>
                  <a:lnTo>
                    <a:pt x="1554" y="2106"/>
                  </a:lnTo>
                  <a:lnTo>
                    <a:pt x="1543" y="2107"/>
                  </a:lnTo>
                  <a:lnTo>
                    <a:pt x="1531" y="2110"/>
                  </a:lnTo>
                  <a:lnTo>
                    <a:pt x="1517" y="2110"/>
                  </a:lnTo>
                  <a:lnTo>
                    <a:pt x="1515" y="2110"/>
                  </a:lnTo>
                  <a:lnTo>
                    <a:pt x="1536" y="2157"/>
                  </a:lnTo>
                  <a:lnTo>
                    <a:pt x="1537" y="2157"/>
                  </a:lnTo>
                  <a:lnTo>
                    <a:pt x="1537" y="2157"/>
                  </a:lnTo>
                  <a:lnTo>
                    <a:pt x="1551" y="2157"/>
                  </a:lnTo>
                  <a:lnTo>
                    <a:pt x="1565" y="2155"/>
                  </a:lnTo>
                  <a:lnTo>
                    <a:pt x="1578" y="2153"/>
                  </a:lnTo>
                  <a:lnTo>
                    <a:pt x="1589" y="2149"/>
                  </a:lnTo>
                  <a:lnTo>
                    <a:pt x="1600" y="2145"/>
                  </a:lnTo>
                  <a:lnTo>
                    <a:pt x="1610" y="2140"/>
                  </a:lnTo>
                  <a:lnTo>
                    <a:pt x="1618" y="2133"/>
                  </a:lnTo>
                  <a:lnTo>
                    <a:pt x="1627" y="2127"/>
                  </a:lnTo>
                  <a:lnTo>
                    <a:pt x="1634" y="2118"/>
                  </a:lnTo>
                  <a:lnTo>
                    <a:pt x="1639" y="2109"/>
                  </a:lnTo>
                  <a:lnTo>
                    <a:pt x="1645" y="2099"/>
                  </a:lnTo>
                  <a:lnTo>
                    <a:pt x="1649" y="2088"/>
                  </a:lnTo>
                  <a:lnTo>
                    <a:pt x="1653" y="2076"/>
                  </a:lnTo>
                  <a:lnTo>
                    <a:pt x="1655" y="2064"/>
                  </a:lnTo>
                  <a:lnTo>
                    <a:pt x="1656" y="2050"/>
                  </a:lnTo>
                  <a:lnTo>
                    <a:pt x="1656" y="2034"/>
                  </a:lnTo>
                  <a:lnTo>
                    <a:pt x="1656" y="1812"/>
                  </a:lnTo>
                  <a:lnTo>
                    <a:pt x="1595" y="1812"/>
                  </a:lnTo>
                  <a:lnTo>
                    <a:pt x="1595" y="1829"/>
                  </a:lnTo>
                  <a:lnTo>
                    <a:pt x="1595" y="1829"/>
                  </a:lnTo>
                  <a:close/>
                  <a:moveTo>
                    <a:pt x="1595" y="1887"/>
                  </a:moveTo>
                  <a:lnTo>
                    <a:pt x="1595" y="1983"/>
                  </a:lnTo>
                  <a:lnTo>
                    <a:pt x="1595" y="1983"/>
                  </a:lnTo>
                  <a:lnTo>
                    <a:pt x="1588" y="1992"/>
                  </a:lnTo>
                  <a:lnTo>
                    <a:pt x="1578" y="2000"/>
                  </a:lnTo>
                  <a:lnTo>
                    <a:pt x="1573" y="2002"/>
                  </a:lnTo>
                  <a:lnTo>
                    <a:pt x="1567" y="2005"/>
                  </a:lnTo>
                  <a:lnTo>
                    <a:pt x="1560" y="2006"/>
                  </a:lnTo>
                  <a:lnTo>
                    <a:pt x="1553" y="2007"/>
                  </a:lnTo>
                  <a:lnTo>
                    <a:pt x="1553" y="2007"/>
                  </a:lnTo>
                  <a:lnTo>
                    <a:pt x="1544" y="2006"/>
                  </a:lnTo>
                  <a:lnTo>
                    <a:pt x="1537" y="2004"/>
                  </a:lnTo>
                  <a:lnTo>
                    <a:pt x="1528" y="1999"/>
                  </a:lnTo>
                  <a:lnTo>
                    <a:pt x="1522" y="1993"/>
                  </a:lnTo>
                  <a:lnTo>
                    <a:pt x="1516" y="1983"/>
                  </a:lnTo>
                  <a:lnTo>
                    <a:pt x="1511" y="1970"/>
                  </a:lnTo>
                  <a:lnTo>
                    <a:pt x="1508" y="1952"/>
                  </a:lnTo>
                  <a:lnTo>
                    <a:pt x="1506" y="1931"/>
                  </a:lnTo>
                  <a:lnTo>
                    <a:pt x="1506" y="1931"/>
                  </a:lnTo>
                  <a:lnTo>
                    <a:pt x="1508" y="1911"/>
                  </a:lnTo>
                  <a:lnTo>
                    <a:pt x="1511" y="1896"/>
                  </a:lnTo>
                  <a:lnTo>
                    <a:pt x="1516" y="1884"/>
                  </a:lnTo>
                  <a:lnTo>
                    <a:pt x="1522" y="1876"/>
                  </a:lnTo>
                  <a:lnTo>
                    <a:pt x="1528" y="1868"/>
                  </a:lnTo>
                  <a:lnTo>
                    <a:pt x="1537" y="1865"/>
                  </a:lnTo>
                  <a:lnTo>
                    <a:pt x="1544" y="1862"/>
                  </a:lnTo>
                  <a:lnTo>
                    <a:pt x="1553" y="1862"/>
                  </a:lnTo>
                  <a:lnTo>
                    <a:pt x="1553" y="1862"/>
                  </a:lnTo>
                  <a:lnTo>
                    <a:pt x="1560" y="1862"/>
                  </a:lnTo>
                  <a:lnTo>
                    <a:pt x="1567" y="1865"/>
                  </a:lnTo>
                  <a:lnTo>
                    <a:pt x="1575" y="1867"/>
                  </a:lnTo>
                  <a:lnTo>
                    <a:pt x="1579" y="1869"/>
                  </a:lnTo>
                  <a:lnTo>
                    <a:pt x="1584" y="1874"/>
                  </a:lnTo>
                  <a:lnTo>
                    <a:pt x="1589" y="1878"/>
                  </a:lnTo>
                  <a:lnTo>
                    <a:pt x="1595" y="1887"/>
                  </a:lnTo>
                  <a:lnTo>
                    <a:pt x="1595" y="1887"/>
                  </a:lnTo>
                  <a:lnTo>
                    <a:pt x="1595" y="1887"/>
                  </a:lnTo>
                  <a:close/>
                  <a:moveTo>
                    <a:pt x="1845" y="1872"/>
                  </a:moveTo>
                  <a:lnTo>
                    <a:pt x="1845" y="1872"/>
                  </a:lnTo>
                  <a:lnTo>
                    <a:pt x="1860" y="1865"/>
                  </a:lnTo>
                  <a:lnTo>
                    <a:pt x="1874" y="1860"/>
                  </a:lnTo>
                  <a:lnTo>
                    <a:pt x="1890" y="1856"/>
                  </a:lnTo>
                  <a:lnTo>
                    <a:pt x="1907" y="1855"/>
                  </a:lnTo>
                  <a:lnTo>
                    <a:pt x="1907" y="1855"/>
                  </a:lnTo>
                  <a:lnTo>
                    <a:pt x="1918" y="1856"/>
                  </a:lnTo>
                  <a:lnTo>
                    <a:pt x="1927" y="1857"/>
                  </a:lnTo>
                  <a:lnTo>
                    <a:pt x="1934" y="1860"/>
                  </a:lnTo>
                  <a:lnTo>
                    <a:pt x="1940" y="1865"/>
                  </a:lnTo>
                  <a:lnTo>
                    <a:pt x="1945" y="1869"/>
                  </a:lnTo>
                  <a:lnTo>
                    <a:pt x="1949" y="1876"/>
                  </a:lnTo>
                  <a:lnTo>
                    <a:pt x="1951" y="1882"/>
                  </a:lnTo>
                  <a:lnTo>
                    <a:pt x="1951" y="1890"/>
                  </a:lnTo>
                  <a:lnTo>
                    <a:pt x="1951" y="1907"/>
                  </a:lnTo>
                  <a:lnTo>
                    <a:pt x="1951" y="1907"/>
                  </a:lnTo>
                  <a:lnTo>
                    <a:pt x="1940" y="1902"/>
                  </a:lnTo>
                  <a:lnTo>
                    <a:pt x="1927" y="1899"/>
                  </a:lnTo>
                  <a:lnTo>
                    <a:pt x="1913" y="1896"/>
                  </a:lnTo>
                  <a:lnTo>
                    <a:pt x="1899" y="1895"/>
                  </a:lnTo>
                  <a:lnTo>
                    <a:pt x="1899" y="1895"/>
                  </a:lnTo>
                  <a:lnTo>
                    <a:pt x="1882" y="1896"/>
                  </a:lnTo>
                  <a:lnTo>
                    <a:pt x="1865" y="1900"/>
                  </a:lnTo>
                  <a:lnTo>
                    <a:pt x="1849" y="1905"/>
                  </a:lnTo>
                  <a:lnTo>
                    <a:pt x="1840" y="1909"/>
                  </a:lnTo>
                  <a:lnTo>
                    <a:pt x="1833" y="1913"/>
                  </a:lnTo>
                  <a:lnTo>
                    <a:pt x="1827" y="1918"/>
                  </a:lnTo>
                  <a:lnTo>
                    <a:pt x="1821" y="1924"/>
                  </a:lnTo>
                  <a:lnTo>
                    <a:pt x="1815" y="1931"/>
                  </a:lnTo>
                  <a:lnTo>
                    <a:pt x="1810" y="1938"/>
                  </a:lnTo>
                  <a:lnTo>
                    <a:pt x="1806" y="1946"/>
                  </a:lnTo>
                  <a:lnTo>
                    <a:pt x="1804" y="1956"/>
                  </a:lnTo>
                  <a:lnTo>
                    <a:pt x="1802" y="1966"/>
                  </a:lnTo>
                  <a:lnTo>
                    <a:pt x="1801" y="1976"/>
                  </a:lnTo>
                  <a:lnTo>
                    <a:pt x="1801" y="1976"/>
                  </a:lnTo>
                  <a:lnTo>
                    <a:pt x="1802" y="1988"/>
                  </a:lnTo>
                  <a:lnTo>
                    <a:pt x="1804" y="1999"/>
                  </a:lnTo>
                  <a:lnTo>
                    <a:pt x="1806" y="2007"/>
                  </a:lnTo>
                  <a:lnTo>
                    <a:pt x="1810" y="2017"/>
                  </a:lnTo>
                  <a:lnTo>
                    <a:pt x="1813" y="2024"/>
                  </a:lnTo>
                  <a:lnTo>
                    <a:pt x="1820" y="2032"/>
                  </a:lnTo>
                  <a:lnTo>
                    <a:pt x="1824" y="2038"/>
                  </a:lnTo>
                  <a:lnTo>
                    <a:pt x="1832" y="2044"/>
                  </a:lnTo>
                  <a:lnTo>
                    <a:pt x="1838" y="2049"/>
                  </a:lnTo>
                  <a:lnTo>
                    <a:pt x="1845" y="2053"/>
                  </a:lnTo>
                  <a:lnTo>
                    <a:pt x="1861" y="2059"/>
                  </a:lnTo>
                  <a:lnTo>
                    <a:pt x="1877" y="2062"/>
                  </a:lnTo>
                  <a:lnTo>
                    <a:pt x="1893" y="2064"/>
                  </a:lnTo>
                  <a:lnTo>
                    <a:pt x="1893" y="2064"/>
                  </a:lnTo>
                  <a:lnTo>
                    <a:pt x="1906" y="2061"/>
                  </a:lnTo>
                  <a:lnTo>
                    <a:pt x="1915" y="2060"/>
                  </a:lnTo>
                  <a:lnTo>
                    <a:pt x="1922" y="2057"/>
                  </a:lnTo>
                  <a:lnTo>
                    <a:pt x="1930" y="2054"/>
                  </a:lnTo>
                  <a:lnTo>
                    <a:pt x="1938" y="2049"/>
                  </a:lnTo>
                  <a:lnTo>
                    <a:pt x="1945" y="2044"/>
                  </a:lnTo>
                  <a:lnTo>
                    <a:pt x="1951" y="2038"/>
                  </a:lnTo>
                  <a:lnTo>
                    <a:pt x="1951" y="2057"/>
                  </a:lnTo>
                  <a:lnTo>
                    <a:pt x="2012" y="2057"/>
                  </a:lnTo>
                  <a:lnTo>
                    <a:pt x="2012" y="1891"/>
                  </a:lnTo>
                  <a:lnTo>
                    <a:pt x="2012" y="1891"/>
                  </a:lnTo>
                  <a:lnTo>
                    <a:pt x="2012" y="1882"/>
                  </a:lnTo>
                  <a:lnTo>
                    <a:pt x="2011" y="1873"/>
                  </a:lnTo>
                  <a:lnTo>
                    <a:pt x="2008" y="1865"/>
                  </a:lnTo>
                  <a:lnTo>
                    <a:pt x="2006" y="1856"/>
                  </a:lnTo>
                  <a:lnTo>
                    <a:pt x="2001" y="1849"/>
                  </a:lnTo>
                  <a:lnTo>
                    <a:pt x="1997" y="1841"/>
                  </a:lnTo>
                  <a:lnTo>
                    <a:pt x="1991" y="1835"/>
                  </a:lnTo>
                  <a:lnTo>
                    <a:pt x="1985" y="1829"/>
                  </a:lnTo>
                  <a:lnTo>
                    <a:pt x="1979" y="1824"/>
                  </a:lnTo>
                  <a:lnTo>
                    <a:pt x="1972" y="1819"/>
                  </a:lnTo>
                  <a:lnTo>
                    <a:pt x="1963" y="1816"/>
                  </a:lnTo>
                  <a:lnTo>
                    <a:pt x="1955" y="1812"/>
                  </a:lnTo>
                  <a:lnTo>
                    <a:pt x="1945" y="1810"/>
                  </a:lnTo>
                  <a:lnTo>
                    <a:pt x="1935" y="1808"/>
                  </a:lnTo>
                  <a:lnTo>
                    <a:pt x="1924" y="1807"/>
                  </a:lnTo>
                  <a:lnTo>
                    <a:pt x="1913" y="1806"/>
                  </a:lnTo>
                  <a:lnTo>
                    <a:pt x="1913" y="1806"/>
                  </a:lnTo>
                  <a:lnTo>
                    <a:pt x="1900" y="1807"/>
                  </a:lnTo>
                  <a:lnTo>
                    <a:pt x="1889" y="1807"/>
                  </a:lnTo>
                  <a:lnTo>
                    <a:pt x="1877" y="1810"/>
                  </a:lnTo>
                  <a:lnTo>
                    <a:pt x="1865" y="1812"/>
                  </a:lnTo>
                  <a:lnTo>
                    <a:pt x="1854" y="1816"/>
                  </a:lnTo>
                  <a:lnTo>
                    <a:pt x="1843" y="1819"/>
                  </a:lnTo>
                  <a:lnTo>
                    <a:pt x="1832" y="1824"/>
                  </a:lnTo>
                  <a:lnTo>
                    <a:pt x="1821" y="1830"/>
                  </a:lnTo>
                  <a:lnTo>
                    <a:pt x="1845" y="1872"/>
                  </a:lnTo>
                  <a:lnTo>
                    <a:pt x="1845" y="1872"/>
                  </a:lnTo>
                  <a:close/>
                  <a:moveTo>
                    <a:pt x="1862" y="1976"/>
                  </a:moveTo>
                  <a:lnTo>
                    <a:pt x="1862" y="1976"/>
                  </a:lnTo>
                  <a:lnTo>
                    <a:pt x="1862" y="1968"/>
                  </a:lnTo>
                  <a:lnTo>
                    <a:pt x="1865" y="1961"/>
                  </a:lnTo>
                  <a:lnTo>
                    <a:pt x="1868" y="1955"/>
                  </a:lnTo>
                  <a:lnTo>
                    <a:pt x="1873" y="1950"/>
                  </a:lnTo>
                  <a:lnTo>
                    <a:pt x="1879" y="1946"/>
                  </a:lnTo>
                  <a:lnTo>
                    <a:pt x="1887" y="1944"/>
                  </a:lnTo>
                  <a:lnTo>
                    <a:pt x="1895" y="1941"/>
                  </a:lnTo>
                  <a:lnTo>
                    <a:pt x="1904" y="1941"/>
                  </a:lnTo>
                  <a:lnTo>
                    <a:pt x="1904" y="1941"/>
                  </a:lnTo>
                  <a:lnTo>
                    <a:pt x="1917" y="1941"/>
                  </a:lnTo>
                  <a:lnTo>
                    <a:pt x="1929" y="1944"/>
                  </a:lnTo>
                  <a:lnTo>
                    <a:pt x="1940" y="1948"/>
                  </a:lnTo>
                  <a:lnTo>
                    <a:pt x="1951" y="1954"/>
                  </a:lnTo>
                  <a:lnTo>
                    <a:pt x="1951" y="1987"/>
                  </a:lnTo>
                  <a:lnTo>
                    <a:pt x="1951" y="1987"/>
                  </a:lnTo>
                  <a:lnTo>
                    <a:pt x="1949" y="1992"/>
                  </a:lnTo>
                  <a:lnTo>
                    <a:pt x="1944" y="1996"/>
                  </a:lnTo>
                  <a:lnTo>
                    <a:pt x="1939" y="2001"/>
                  </a:lnTo>
                  <a:lnTo>
                    <a:pt x="1933" y="2005"/>
                  </a:lnTo>
                  <a:lnTo>
                    <a:pt x="1927" y="2009"/>
                  </a:lnTo>
                  <a:lnTo>
                    <a:pt x="1919" y="2011"/>
                  </a:lnTo>
                  <a:lnTo>
                    <a:pt x="1912" y="2012"/>
                  </a:lnTo>
                  <a:lnTo>
                    <a:pt x="1904" y="2013"/>
                  </a:lnTo>
                  <a:lnTo>
                    <a:pt x="1904" y="2013"/>
                  </a:lnTo>
                  <a:lnTo>
                    <a:pt x="1895" y="2012"/>
                  </a:lnTo>
                  <a:lnTo>
                    <a:pt x="1887" y="2010"/>
                  </a:lnTo>
                  <a:lnTo>
                    <a:pt x="1879" y="2007"/>
                  </a:lnTo>
                  <a:lnTo>
                    <a:pt x="1873" y="2002"/>
                  </a:lnTo>
                  <a:lnTo>
                    <a:pt x="1868" y="1998"/>
                  </a:lnTo>
                  <a:lnTo>
                    <a:pt x="1865" y="1992"/>
                  </a:lnTo>
                  <a:lnTo>
                    <a:pt x="1863" y="1984"/>
                  </a:lnTo>
                  <a:lnTo>
                    <a:pt x="1862" y="1976"/>
                  </a:lnTo>
                  <a:lnTo>
                    <a:pt x="1862" y="1976"/>
                  </a:lnTo>
                  <a:lnTo>
                    <a:pt x="1862" y="1976"/>
                  </a:lnTo>
                  <a:close/>
                  <a:moveTo>
                    <a:pt x="2576" y="1987"/>
                  </a:moveTo>
                  <a:lnTo>
                    <a:pt x="2576" y="1987"/>
                  </a:lnTo>
                  <a:lnTo>
                    <a:pt x="2568" y="1994"/>
                  </a:lnTo>
                  <a:lnTo>
                    <a:pt x="2557" y="2000"/>
                  </a:lnTo>
                  <a:lnTo>
                    <a:pt x="2551" y="2002"/>
                  </a:lnTo>
                  <a:lnTo>
                    <a:pt x="2543" y="2005"/>
                  </a:lnTo>
                  <a:lnTo>
                    <a:pt x="2536" y="2006"/>
                  </a:lnTo>
                  <a:lnTo>
                    <a:pt x="2529" y="2007"/>
                  </a:lnTo>
                  <a:lnTo>
                    <a:pt x="2529" y="2007"/>
                  </a:lnTo>
                  <a:lnTo>
                    <a:pt x="2523" y="2006"/>
                  </a:lnTo>
                  <a:lnTo>
                    <a:pt x="2515" y="2006"/>
                  </a:lnTo>
                  <a:lnTo>
                    <a:pt x="2507" y="2004"/>
                  </a:lnTo>
                  <a:lnTo>
                    <a:pt x="2497" y="1999"/>
                  </a:lnTo>
                  <a:lnTo>
                    <a:pt x="2489" y="1993"/>
                  </a:lnTo>
                  <a:lnTo>
                    <a:pt x="2485" y="1988"/>
                  </a:lnTo>
                  <a:lnTo>
                    <a:pt x="2481" y="1983"/>
                  </a:lnTo>
                  <a:lnTo>
                    <a:pt x="2479" y="1977"/>
                  </a:lnTo>
                  <a:lnTo>
                    <a:pt x="2476" y="1970"/>
                  </a:lnTo>
                  <a:lnTo>
                    <a:pt x="2475" y="1962"/>
                  </a:lnTo>
                  <a:lnTo>
                    <a:pt x="2474" y="1954"/>
                  </a:lnTo>
                  <a:lnTo>
                    <a:pt x="2624" y="1954"/>
                  </a:lnTo>
                  <a:lnTo>
                    <a:pt x="2624" y="1954"/>
                  </a:lnTo>
                  <a:lnTo>
                    <a:pt x="2625" y="1935"/>
                  </a:lnTo>
                  <a:lnTo>
                    <a:pt x="2625" y="1935"/>
                  </a:lnTo>
                  <a:lnTo>
                    <a:pt x="2625" y="1921"/>
                  </a:lnTo>
                  <a:lnTo>
                    <a:pt x="2623" y="1907"/>
                  </a:lnTo>
                  <a:lnTo>
                    <a:pt x="2621" y="1894"/>
                  </a:lnTo>
                  <a:lnTo>
                    <a:pt x="2618" y="1882"/>
                  </a:lnTo>
                  <a:lnTo>
                    <a:pt x="2614" y="1871"/>
                  </a:lnTo>
                  <a:lnTo>
                    <a:pt x="2609" y="1860"/>
                  </a:lnTo>
                  <a:lnTo>
                    <a:pt x="2603" y="1850"/>
                  </a:lnTo>
                  <a:lnTo>
                    <a:pt x="2597" y="1841"/>
                  </a:lnTo>
                  <a:lnTo>
                    <a:pt x="2590" y="1833"/>
                  </a:lnTo>
                  <a:lnTo>
                    <a:pt x="2582" y="1827"/>
                  </a:lnTo>
                  <a:lnTo>
                    <a:pt x="2574" y="1821"/>
                  </a:lnTo>
                  <a:lnTo>
                    <a:pt x="2564" y="1816"/>
                  </a:lnTo>
                  <a:lnTo>
                    <a:pt x="2554" y="1812"/>
                  </a:lnTo>
                  <a:lnTo>
                    <a:pt x="2545" y="1808"/>
                  </a:lnTo>
                  <a:lnTo>
                    <a:pt x="2534" y="1807"/>
                  </a:lnTo>
                  <a:lnTo>
                    <a:pt x="2522" y="1806"/>
                  </a:lnTo>
                  <a:lnTo>
                    <a:pt x="2522" y="1806"/>
                  </a:lnTo>
                  <a:lnTo>
                    <a:pt x="2511" y="1807"/>
                  </a:lnTo>
                  <a:lnTo>
                    <a:pt x="2500" y="1808"/>
                  </a:lnTo>
                  <a:lnTo>
                    <a:pt x="2489" y="1812"/>
                  </a:lnTo>
                  <a:lnTo>
                    <a:pt x="2478" y="1816"/>
                  </a:lnTo>
                  <a:lnTo>
                    <a:pt x="2468" y="1821"/>
                  </a:lnTo>
                  <a:lnTo>
                    <a:pt x="2459" y="1828"/>
                  </a:lnTo>
                  <a:lnTo>
                    <a:pt x="2451" y="1834"/>
                  </a:lnTo>
                  <a:lnTo>
                    <a:pt x="2444" y="1843"/>
                  </a:lnTo>
                  <a:lnTo>
                    <a:pt x="2436" y="1851"/>
                  </a:lnTo>
                  <a:lnTo>
                    <a:pt x="2430" y="1861"/>
                  </a:lnTo>
                  <a:lnTo>
                    <a:pt x="2425" y="1872"/>
                  </a:lnTo>
                  <a:lnTo>
                    <a:pt x="2420" y="1883"/>
                  </a:lnTo>
                  <a:lnTo>
                    <a:pt x="2417" y="1895"/>
                  </a:lnTo>
                  <a:lnTo>
                    <a:pt x="2414" y="1909"/>
                  </a:lnTo>
                  <a:lnTo>
                    <a:pt x="2413" y="1921"/>
                  </a:lnTo>
                  <a:lnTo>
                    <a:pt x="2412" y="1935"/>
                  </a:lnTo>
                  <a:lnTo>
                    <a:pt x="2412" y="1935"/>
                  </a:lnTo>
                  <a:lnTo>
                    <a:pt x="2413" y="1949"/>
                  </a:lnTo>
                  <a:lnTo>
                    <a:pt x="2414" y="1962"/>
                  </a:lnTo>
                  <a:lnTo>
                    <a:pt x="2417" y="1976"/>
                  </a:lnTo>
                  <a:lnTo>
                    <a:pt x="2420" y="1988"/>
                  </a:lnTo>
                  <a:lnTo>
                    <a:pt x="2425" y="1999"/>
                  </a:lnTo>
                  <a:lnTo>
                    <a:pt x="2430" y="2010"/>
                  </a:lnTo>
                  <a:lnTo>
                    <a:pt x="2436" y="2020"/>
                  </a:lnTo>
                  <a:lnTo>
                    <a:pt x="2444" y="2028"/>
                  </a:lnTo>
                  <a:lnTo>
                    <a:pt x="2452" y="2035"/>
                  </a:lnTo>
                  <a:lnTo>
                    <a:pt x="2461" y="2043"/>
                  </a:lnTo>
                  <a:lnTo>
                    <a:pt x="2470" y="2049"/>
                  </a:lnTo>
                  <a:lnTo>
                    <a:pt x="2480" y="2054"/>
                  </a:lnTo>
                  <a:lnTo>
                    <a:pt x="2491" y="2057"/>
                  </a:lnTo>
                  <a:lnTo>
                    <a:pt x="2503" y="2061"/>
                  </a:lnTo>
                  <a:lnTo>
                    <a:pt x="2515" y="2062"/>
                  </a:lnTo>
                  <a:lnTo>
                    <a:pt x="2529" y="2064"/>
                  </a:lnTo>
                  <a:lnTo>
                    <a:pt x="2529" y="2064"/>
                  </a:lnTo>
                  <a:lnTo>
                    <a:pt x="2541" y="2062"/>
                  </a:lnTo>
                  <a:lnTo>
                    <a:pt x="2552" y="2061"/>
                  </a:lnTo>
                  <a:lnTo>
                    <a:pt x="2564" y="2057"/>
                  </a:lnTo>
                  <a:lnTo>
                    <a:pt x="2575" y="2054"/>
                  </a:lnTo>
                  <a:lnTo>
                    <a:pt x="2586" y="2048"/>
                  </a:lnTo>
                  <a:lnTo>
                    <a:pt x="2596" y="2042"/>
                  </a:lnTo>
                  <a:lnTo>
                    <a:pt x="2606" y="2033"/>
                  </a:lnTo>
                  <a:lnTo>
                    <a:pt x="2615" y="2024"/>
                  </a:lnTo>
                  <a:lnTo>
                    <a:pt x="2576" y="1987"/>
                  </a:lnTo>
                  <a:lnTo>
                    <a:pt x="2576" y="1987"/>
                  </a:lnTo>
                  <a:close/>
                  <a:moveTo>
                    <a:pt x="2475" y="1909"/>
                  </a:moveTo>
                  <a:lnTo>
                    <a:pt x="2475" y="1909"/>
                  </a:lnTo>
                  <a:lnTo>
                    <a:pt x="2476" y="1898"/>
                  </a:lnTo>
                  <a:lnTo>
                    <a:pt x="2479" y="1888"/>
                  </a:lnTo>
                  <a:lnTo>
                    <a:pt x="2483" y="1879"/>
                  </a:lnTo>
                  <a:lnTo>
                    <a:pt x="2489" y="1872"/>
                  </a:lnTo>
                  <a:lnTo>
                    <a:pt x="2495" y="1866"/>
                  </a:lnTo>
                  <a:lnTo>
                    <a:pt x="2502" y="1862"/>
                  </a:lnTo>
                  <a:lnTo>
                    <a:pt x="2511" y="1859"/>
                  </a:lnTo>
                  <a:lnTo>
                    <a:pt x="2520" y="1859"/>
                  </a:lnTo>
                  <a:lnTo>
                    <a:pt x="2520" y="1859"/>
                  </a:lnTo>
                  <a:lnTo>
                    <a:pt x="2531" y="1860"/>
                  </a:lnTo>
                  <a:lnTo>
                    <a:pt x="2541" y="1862"/>
                  </a:lnTo>
                  <a:lnTo>
                    <a:pt x="2548" y="1867"/>
                  </a:lnTo>
                  <a:lnTo>
                    <a:pt x="2554" y="1874"/>
                  </a:lnTo>
                  <a:lnTo>
                    <a:pt x="2559" y="1882"/>
                  </a:lnTo>
                  <a:lnTo>
                    <a:pt x="2563" y="1890"/>
                  </a:lnTo>
                  <a:lnTo>
                    <a:pt x="2565" y="1900"/>
                  </a:lnTo>
                  <a:lnTo>
                    <a:pt x="2567" y="1909"/>
                  </a:lnTo>
                  <a:lnTo>
                    <a:pt x="2475" y="1909"/>
                  </a:lnTo>
                  <a:lnTo>
                    <a:pt x="2475" y="1909"/>
                  </a:lnTo>
                  <a:close/>
                  <a:moveTo>
                    <a:pt x="3163" y="1987"/>
                  </a:moveTo>
                  <a:lnTo>
                    <a:pt x="3163" y="1987"/>
                  </a:lnTo>
                  <a:lnTo>
                    <a:pt x="3153" y="1994"/>
                  </a:lnTo>
                  <a:lnTo>
                    <a:pt x="3143" y="2000"/>
                  </a:lnTo>
                  <a:lnTo>
                    <a:pt x="3136" y="2002"/>
                  </a:lnTo>
                  <a:lnTo>
                    <a:pt x="3130" y="2005"/>
                  </a:lnTo>
                  <a:lnTo>
                    <a:pt x="3122" y="2006"/>
                  </a:lnTo>
                  <a:lnTo>
                    <a:pt x="3114" y="2007"/>
                  </a:lnTo>
                  <a:lnTo>
                    <a:pt x="3114" y="2007"/>
                  </a:lnTo>
                  <a:lnTo>
                    <a:pt x="3108" y="2006"/>
                  </a:lnTo>
                  <a:lnTo>
                    <a:pt x="3100" y="2006"/>
                  </a:lnTo>
                  <a:lnTo>
                    <a:pt x="3092" y="2004"/>
                  </a:lnTo>
                  <a:lnTo>
                    <a:pt x="3083" y="1999"/>
                  </a:lnTo>
                  <a:lnTo>
                    <a:pt x="3075" y="1993"/>
                  </a:lnTo>
                  <a:lnTo>
                    <a:pt x="3071" y="1988"/>
                  </a:lnTo>
                  <a:lnTo>
                    <a:pt x="3068" y="1983"/>
                  </a:lnTo>
                  <a:lnTo>
                    <a:pt x="3065" y="1977"/>
                  </a:lnTo>
                  <a:lnTo>
                    <a:pt x="3063" y="1970"/>
                  </a:lnTo>
                  <a:lnTo>
                    <a:pt x="3060" y="1962"/>
                  </a:lnTo>
                  <a:lnTo>
                    <a:pt x="3059" y="1954"/>
                  </a:lnTo>
                  <a:lnTo>
                    <a:pt x="3210" y="1954"/>
                  </a:lnTo>
                  <a:lnTo>
                    <a:pt x="3210" y="1954"/>
                  </a:lnTo>
                  <a:lnTo>
                    <a:pt x="3211" y="1935"/>
                  </a:lnTo>
                  <a:lnTo>
                    <a:pt x="3211" y="1935"/>
                  </a:lnTo>
                  <a:lnTo>
                    <a:pt x="3210" y="1921"/>
                  </a:lnTo>
                  <a:lnTo>
                    <a:pt x="3209" y="1907"/>
                  </a:lnTo>
                  <a:lnTo>
                    <a:pt x="3206" y="1894"/>
                  </a:lnTo>
                  <a:lnTo>
                    <a:pt x="3204" y="1882"/>
                  </a:lnTo>
                  <a:lnTo>
                    <a:pt x="3199" y="1871"/>
                  </a:lnTo>
                  <a:lnTo>
                    <a:pt x="3194" y="1860"/>
                  </a:lnTo>
                  <a:lnTo>
                    <a:pt x="3189" y="1850"/>
                  </a:lnTo>
                  <a:lnTo>
                    <a:pt x="3183" y="1841"/>
                  </a:lnTo>
                  <a:lnTo>
                    <a:pt x="3176" y="1833"/>
                  </a:lnTo>
                  <a:lnTo>
                    <a:pt x="3167" y="1827"/>
                  </a:lnTo>
                  <a:lnTo>
                    <a:pt x="3159" y="1821"/>
                  </a:lnTo>
                  <a:lnTo>
                    <a:pt x="3150" y="1816"/>
                  </a:lnTo>
                  <a:lnTo>
                    <a:pt x="3141" y="1812"/>
                  </a:lnTo>
                  <a:lnTo>
                    <a:pt x="3130" y="1808"/>
                  </a:lnTo>
                  <a:lnTo>
                    <a:pt x="3119" y="1807"/>
                  </a:lnTo>
                  <a:lnTo>
                    <a:pt x="3108" y="1806"/>
                  </a:lnTo>
                  <a:lnTo>
                    <a:pt x="3108" y="1806"/>
                  </a:lnTo>
                  <a:lnTo>
                    <a:pt x="3096" y="1807"/>
                  </a:lnTo>
                  <a:lnTo>
                    <a:pt x="3085" y="1808"/>
                  </a:lnTo>
                  <a:lnTo>
                    <a:pt x="3074" y="1812"/>
                  </a:lnTo>
                  <a:lnTo>
                    <a:pt x="3064" y="1816"/>
                  </a:lnTo>
                  <a:lnTo>
                    <a:pt x="3054" y="1821"/>
                  </a:lnTo>
                  <a:lnTo>
                    <a:pt x="3044" y="1828"/>
                  </a:lnTo>
                  <a:lnTo>
                    <a:pt x="3037" y="1834"/>
                  </a:lnTo>
                  <a:lnTo>
                    <a:pt x="3029" y="1843"/>
                  </a:lnTo>
                  <a:lnTo>
                    <a:pt x="3021" y="1851"/>
                  </a:lnTo>
                  <a:lnTo>
                    <a:pt x="3015" y="1861"/>
                  </a:lnTo>
                  <a:lnTo>
                    <a:pt x="3010" y="1872"/>
                  </a:lnTo>
                  <a:lnTo>
                    <a:pt x="3005" y="1883"/>
                  </a:lnTo>
                  <a:lnTo>
                    <a:pt x="3003" y="1895"/>
                  </a:lnTo>
                  <a:lnTo>
                    <a:pt x="2999" y="1909"/>
                  </a:lnTo>
                  <a:lnTo>
                    <a:pt x="2998" y="1921"/>
                  </a:lnTo>
                  <a:lnTo>
                    <a:pt x="2998" y="1935"/>
                  </a:lnTo>
                  <a:lnTo>
                    <a:pt x="2998" y="1935"/>
                  </a:lnTo>
                  <a:lnTo>
                    <a:pt x="2998" y="1949"/>
                  </a:lnTo>
                  <a:lnTo>
                    <a:pt x="2999" y="1962"/>
                  </a:lnTo>
                  <a:lnTo>
                    <a:pt x="3002" y="1976"/>
                  </a:lnTo>
                  <a:lnTo>
                    <a:pt x="3005" y="1988"/>
                  </a:lnTo>
                  <a:lnTo>
                    <a:pt x="3010" y="1999"/>
                  </a:lnTo>
                  <a:lnTo>
                    <a:pt x="3016" y="2010"/>
                  </a:lnTo>
                  <a:lnTo>
                    <a:pt x="3022" y="2020"/>
                  </a:lnTo>
                  <a:lnTo>
                    <a:pt x="3030" y="2028"/>
                  </a:lnTo>
                  <a:lnTo>
                    <a:pt x="3037" y="2035"/>
                  </a:lnTo>
                  <a:lnTo>
                    <a:pt x="3046" y="2043"/>
                  </a:lnTo>
                  <a:lnTo>
                    <a:pt x="3055" y="2049"/>
                  </a:lnTo>
                  <a:lnTo>
                    <a:pt x="3066" y="2054"/>
                  </a:lnTo>
                  <a:lnTo>
                    <a:pt x="3077" y="2057"/>
                  </a:lnTo>
                  <a:lnTo>
                    <a:pt x="3088" y="2061"/>
                  </a:lnTo>
                  <a:lnTo>
                    <a:pt x="3102" y="2062"/>
                  </a:lnTo>
                  <a:lnTo>
                    <a:pt x="3114" y="2064"/>
                  </a:lnTo>
                  <a:lnTo>
                    <a:pt x="3114" y="2064"/>
                  </a:lnTo>
                  <a:lnTo>
                    <a:pt x="3126" y="2062"/>
                  </a:lnTo>
                  <a:lnTo>
                    <a:pt x="3138" y="2061"/>
                  </a:lnTo>
                  <a:lnTo>
                    <a:pt x="3149" y="2057"/>
                  </a:lnTo>
                  <a:lnTo>
                    <a:pt x="3160" y="2054"/>
                  </a:lnTo>
                  <a:lnTo>
                    <a:pt x="3171" y="2048"/>
                  </a:lnTo>
                  <a:lnTo>
                    <a:pt x="3182" y="2042"/>
                  </a:lnTo>
                  <a:lnTo>
                    <a:pt x="3192" y="2033"/>
                  </a:lnTo>
                  <a:lnTo>
                    <a:pt x="3200" y="2024"/>
                  </a:lnTo>
                  <a:lnTo>
                    <a:pt x="3163" y="1987"/>
                  </a:lnTo>
                  <a:lnTo>
                    <a:pt x="3163" y="1987"/>
                  </a:lnTo>
                  <a:close/>
                  <a:moveTo>
                    <a:pt x="3060" y="1909"/>
                  </a:moveTo>
                  <a:lnTo>
                    <a:pt x="3060" y="1909"/>
                  </a:lnTo>
                  <a:lnTo>
                    <a:pt x="3061" y="1898"/>
                  </a:lnTo>
                  <a:lnTo>
                    <a:pt x="3065" y="1888"/>
                  </a:lnTo>
                  <a:lnTo>
                    <a:pt x="3069" y="1879"/>
                  </a:lnTo>
                  <a:lnTo>
                    <a:pt x="3074" y="1872"/>
                  </a:lnTo>
                  <a:lnTo>
                    <a:pt x="3081" y="1866"/>
                  </a:lnTo>
                  <a:lnTo>
                    <a:pt x="3088" y="1862"/>
                  </a:lnTo>
                  <a:lnTo>
                    <a:pt x="3097" y="1859"/>
                  </a:lnTo>
                  <a:lnTo>
                    <a:pt x="3107" y="1859"/>
                  </a:lnTo>
                  <a:lnTo>
                    <a:pt x="3107" y="1859"/>
                  </a:lnTo>
                  <a:lnTo>
                    <a:pt x="3118" y="1860"/>
                  </a:lnTo>
                  <a:lnTo>
                    <a:pt x="3126" y="1862"/>
                  </a:lnTo>
                  <a:lnTo>
                    <a:pt x="3135" y="1867"/>
                  </a:lnTo>
                  <a:lnTo>
                    <a:pt x="3141" y="1874"/>
                  </a:lnTo>
                  <a:lnTo>
                    <a:pt x="3146" y="1882"/>
                  </a:lnTo>
                  <a:lnTo>
                    <a:pt x="3149" y="1890"/>
                  </a:lnTo>
                  <a:lnTo>
                    <a:pt x="3152" y="1900"/>
                  </a:lnTo>
                  <a:lnTo>
                    <a:pt x="3153" y="1909"/>
                  </a:lnTo>
                  <a:lnTo>
                    <a:pt x="3060" y="1909"/>
                  </a:lnTo>
                  <a:lnTo>
                    <a:pt x="3060" y="1909"/>
                  </a:lnTo>
                  <a:close/>
                  <a:moveTo>
                    <a:pt x="2914" y="1972"/>
                  </a:moveTo>
                  <a:lnTo>
                    <a:pt x="2914" y="1972"/>
                  </a:lnTo>
                  <a:lnTo>
                    <a:pt x="2914" y="1981"/>
                  </a:lnTo>
                  <a:lnTo>
                    <a:pt x="2915" y="1987"/>
                  </a:lnTo>
                  <a:lnTo>
                    <a:pt x="2918" y="1993"/>
                  </a:lnTo>
                  <a:lnTo>
                    <a:pt x="2920" y="1998"/>
                  </a:lnTo>
                  <a:lnTo>
                    <a:pt x="2924" y="2001"/>
                  </a:lnTo>
                  <a:lnTo>
                    <a:pt x="2929" y="2004"/>
                  </a:lnTo>
                  <a:lnTo>
                    <a:pt x="2933" y="2005"/>
                  </a:lnTo>
                  <a:lnTo>
                    <a:pt x="2941" y="2005"/>
                  </a:lnTo>
                  <a:lnTo>
                    <a:pt x="2941" y="2005"/>
                  </a:lnTo>
                  <a:lnTo>
                    <a:pt x="2949" y="2005"/>
                  </a:lnTo>
                  <a:lnTo>
                    <a:pt x="2959" y="2002"/>
                  </a:lnTo>
                  <a:lnTo>
                    <a:pt x="2969" y="1999"/>
                  </a:lnTo>
                  <a:lnTo>
                    <a:pt x="2977" y="1994"/>
                  </a:lnTo>
                  <a:lnTo>
                    <a:pt x="2970" y="2051"/>
                  </a:lnTo>
                  <a:lnTo>
                    <a:pt x="2970" y="2051"/>
                  </a:lnTo>
                  <a:lnTo>
                    <a:pt x="2959" y="2056"/>
                  </a:lnTo>
                  <a:lnTo>
                    <a:pt x="2946" y="2060"/>
                  </a:lnTo>
                  <a:lnTo>
                    <a:pt x="2932" y="2062"/>
                  </a:lnTo>
                  <a:lnTo>
                    <a:pt x="2919" y="2064"/>
                  </a:lnTo>
                  <a:lnTo>
                    <a:pt x="2919" y="2064"/>
                  </a:lnTo>
                  <a:lnTo>
                    <a:pt x="2910" y="2062"/>
                  </a:lnTo>
                  <a:lnTo>
                    <a:pt x="2902" y="2061"/>
                  </a:lnTo>
                  <a:lnTo>
                    <a:pt x="2894" y="2059"/>
                  </a:lnTo>
                  <a:lnTo>
                    <a:pt x="2888" y="2056"/>
                  </a:lnTo>
                  <a:lnTo>
                    <a:pt x="2882" y="2053"/>
                  </a:lnTo>
                  <a:lnTo>
                    <a:pt x="2876" y="2049"/>
                  </a:lnTo>
                  <a:lnTo>
                    <a:pt x="2873" y="2044"/>
                  </a:lnTo>
                  <a:lnTo>
                    <a:pt x="2868" y="2038"/>
                  </a:lnTo>
                  <a:lnTo>
                    <a:pt x="2862" y="2027"/>
                  </a:lnTo>
                  <a:lnTo>
                    <a:pt x="2857" y="2013"/>
                  </a:lnTo>
                  <a:lnTo>
                    <a:pt x="2854" y="2001"/>
                  </a:lnTo>
                  <a:lnTo>
                    <a:pt x="2853" y="1988"/>
                  </a:lnTo>
                  <a:lnTo>
                    <a:pt x="2853" y="1868"/>
                  </a:lnTo>
                  <a:lnTo>
                    <a:pt x="2815" y="1868"/>
                  </a:lnTo>
                  <a:lnTo>
                    <a:pt x="2815" y="1812"/>
                  </a:lnTo>
                  <a:lnTo>
                    <a:pt x="2853" y="1812"/>
                  </a:lnTo>
                  <a:lnTo>
                    <a:pt x="2853" y="1749"/>
                  </a:lnTo>
                  <a:lnTo>
                    <a:pt x="2914" y="1718"/>
                  </a:lnTo>
                  <a:lnTo>
                    <a:pt x="2914" y="1812"/>
                  </a:lnTo>
                  <a:lnTo>
                    <a:pt x="2969" y="1812"/>
                  </a:lnTo>
                  <a:lnTo>
                    <a:pt x="2969" y="1868"/>
                  </a:lnTo>
                  <a:lnTo>
                    <a:pt x="2914" y="1868"/>
                  </a:lnTo>
                  <a:lnTo>
                    <a:pt x="2914" y="1972"/>
                  </a:lnTo>
                  <a:lnTo>
                    <a:pt x="2914" y="1972"/>
                  </a:lnTo>
                  <a:close/>
                  <a:moveTo>
                    <a:pt x="2796" y="2051"/>
                  </a:moveTo>
                  <a:lnTo>
                    <a:pt x="2796" y="2051"/>
                  </a:lnTo>
                  <a:lnTo>
                    <a:pt x="2785" y="2056"/>
                  </a:lnTo>
                  <a:lnTo>
                    <a:pt x="2773" y="2060"/>
                  </a:lnTo>
                  <a:lnTo>
                    <a:pt x="2759" y="2062"/>
                  </a:lnTo>
                  <a:lnTo>
                    <a:pt x="2746" y="2064"/>
                  </a:lnTo>
                  <a:lnTo>
                    <a:pt x="2746" y="2064"/>
                  </a:lnTo>
                  <a:lnTo>
                    <a:pt x="2736" y="2062"/>
                  </a:lnTo>
                  <a:lnTo>
                    <a:pt x="2729" y="2061"/>
                  </a:lnTo>
                  <a:lnTo>
                    <a:pt x="2721" y="2059"/>
                  </a:lnTo>
                  <a:lnTo>
                    <a:pt x="2714" y="2056"/>
                  </a:lnTo>
                  <a:lnTo>
                    <a:pt x="2709" y="2053"/>
                  </a:lnTo>
                  <a:lnTo>
                    <a:pt x="2703" y="2049"/>
                  </a:lnTo>
                  <a:lnTo>
                    <a:pt x="2698" y="2044"/>
                  </a:lnTo>
                  <a:lnTo>
                    <a:pt x="2695" y="2038"/>
                  </a:lnTo>
                  <a:lnTo>
                    <a:pt x="2687" y="2027"/>
                  </a:lnTo>
                  <a:lnTo>
                    <a:pt x="2684" y="2013"/>
                  </a:lnTo>
                  <a:lnTo>
                    <a:pt x="2680" y="2001"/>
                  </a:lnTo>
                  <a:lnTo>
                    <a:pt x="2680" y="1988"/>
                  </a:lnTo>
                  <a:lnTo>
                    <a:pt x="2680" y="1868"/>
                  </a:lnTo>
                  <a:lnTo>
                    <a:pt x="2642" y="1868"/>
                  </a:lnTo>
                  <a:lnTo>
                    <a:pt x="2642" y="1812"/>
                  </a:lnTo>
                  <a:lnTo>
                    <a:pt x="2680" y="1812"/>
                  </a:lnTo>
                  <a:lnTo>
                    <a:pt x="2680" y="1749"/>
                  </a:lnTo>
                  <a:lnTo>
                    <a:pt x="2741" y="1718"/>
                  </a:lnTo>
                  <a:lnTo>
                    <a:pt x="2741" y="1812"/>
                  </a:lnTo>
                  <a:lnTo>
                    <a:pt x="2792" y="1812"/>
                  </a:lnTo>
                  <a:lnTo>
                    <a:pt x="2792" y="1868"/>
                  </a:lnTo>
                  <a:lnTo>
                    <a:pt x="2741" y="1868"/>
                  </a:lnTo>
                  <a:lnTo>
                    <a:pt x="2741" y="1972"/>
                  </a:lnTo>
                  <a:lnTo>
                    <a:pt x="2741" y="1972"/>
                  </a:lnTo>
                  <a:lnTo>
                    <a:pt x="2741" y="1981"/>
                  </a:lnTo>
                  <a:lnTo>
                    <a:pt x="2742" y="1987"/>
                  </a:lnTo>
                  <a:lnTo>
                    <a:pt x="2745" y="1993"/>
                  </a:lnTo>
                  <a:lnTo>
                    <a:pt x="2747" y="1998"/>
                  </a:lnTo>
                  <a:lnTo>
                    <a:pt x="2751" y="2001"/>
                  </a:lnTo>
                  <a:lnTo>
                    <a:pt x="2756" y="2004"/>
                  </a:lnTo>
                  <a:lnTo>
                    <a:pt x="2760" y="2005"/>
                  </a:lnTo>
                  <a:lnTo>
                    <a:pt x="2767" y="2005"/>
                  </a:lnTo>
                  <a:lnTo>
                    <a:pt x="2767" y="2005"/>
                  </a:lnTo>
                  <a:lnTo>
                    <a:pt x="2776" y="2005"/>
                  </a:lnTo>
                  <a:lnTo>
                    <a:pt x="2786" y="2002"/>
                  </a:lnTo>
                  <a:lnTo>
                    <a:pt x="2795" y="1999"/>
                  </a:lnTo>
                  <a:lnTo>
                    <a:pt x="2803" y="1994"/>
                  </a:lnTo>
                  <a:lnTo>
                    <a:pt x="2796" y="2051"/>
                  </a:lnTo>
                  <a:lnTo>
                    <a:pt x="2796" y="2051"/>
                  </a:lnTo>
                  <a:close/>
                  <a:moveTo>
                    <a:pt x="3394" y="1880"/>
                  </a:moveTo>
                  <a:lnTo>
                    <a:pt x="3394" y="1880"/>
                  </a:lnTo>
                  <a:lnTo>
                    <a:pt x="3386" y="1874"/>
                  </a:lnTo>
                  <a:lnTo>
                    <a:pt x="3376" y="1871"/>
                  </a:lnTo>
                  <a:lnTo>
                    <a:pt x="3365" y="1868"/>
                  </a:lnTo>
                  <a:lnTo>
                    <a:pt x="3354" y="1867"/>
                  </a:lnTo>
                  <a:lnTo>
                    <a:pt x="3354" y="1867"/>
                  </a:lnTo>
                  <a:lnTo>
                    <a:pt x="3344" y="1868"/>
                  </a:lnTo>
                  <a:lnTo>
                    <a:pt x="3334" y="1871"/>
                  </a:lnTo>
                  <a:lnTo>
                    <a:pt x="3327" y="1876"/>
                  </a:lnTo>
                  <a:lnTo>
                    <a:pt x="3321" y="1882"/>
                  </a:lnTo>
                  <a:lnTo>
                    <a:pt x="3316" y="1889"/>
                  </a:lnTo>
                  <a:lnTo>
                    <a:pt x="3314" y="1899"/>
                  </a:lnTo>
                  <a:lnTo>
                    <a:pt x="3311" y="1911"/>
                  </a:lnTo>
                  <a:lnTo>
                    <a:pt x="3310" y="1924"/>
                  </a:lnTo>
                  <a:lnTo>
                    <a:pt x="3310" y="2057"/>
                  </a:lnTo>
                  <a:lnTo>
                    <a:pt x="3250" y="2057"/>
                  </a:lnTo>
                  <a:lnTo>
                    <a:pt x="3250" y="1812"/>
                  </a:lnTo>
                  <a:lnTo>
                    <a:pt x="3310" y="1812"/>
                  </a:lnTo>
                  <a:lnTo>
                    <a:pt x="3310" y="1833"/>
                  </a:lnTo>
                  <a:lnTo>
                    <a:pt x="3310" y="1833"/>
                  </a:lnTo>
                  <a:lnTo>
                    <a:pt x="3316" y="1827"/>
                  </a:lnTo>
                  <a:lnTo>
                    <a:pt x="3322" y="1821"/>
                  </a:lnTo>
                  <a:lnTo>
                    <a:pt x="3328" y="1817"/>
                  </a:lnTo>
                  <a:lnTo>
                    <a:pt x="3336" y="1813"/>
                  </a:lnTo>
                  <a:lnTo>
                    <a:pt x="3342" y="1810"/>
                  </a:lnTo>
                  <a:lnTo>
                    <a:pt x="3349" y="1808"/>
                  </a:lnTo>
                  <a:lnTo>
                    <a:pt x="3356" y="1807"/>
                  </a:lnTo>
                  <a:lnTo>
                    <a:pt x="3365" y="1806"/>
                  </a:lnTo>
                  <a:lnTo>
                    <a:pt x="3365" y="1806"/>
                  </a:lnTo>
                  <a:lnTo>
                    <a:pt x="3377" y="1807"/>
                  </a:lnTo>
                  <a:lnTo>
                    <a:pt x="3389" y="1811"/>
                  </a:lnTo>
                  <a:lnTo>
                    <a:pt x="3400" y="1815"/>
                  </a:lnTo>
                  <a:lnTo>
                    <a:pt x="3410" y="1821"/>
                  </a:lnTo>
                  <a:lnTo>
                    <a:pt x="3394" y="1880"/>
                  </a:lnTo>
                  <a:lnTo>
                    <a:pt x="3394" y="1880"/>
                  </a:lnTo>
                  <a:close/>
                  <a:moveTo>
                    <a:pt x="654" y="1746"/>
                  </a:moveTo>
                  <a:lnTo>
                    <a:pt x="654" y="1777"/>
                  </a:lnTo>
                  <a:lnTo>
                    <a:pt x="594" y="1777"/>
                  </a:lnTo>
                  <a:lnTo>
                    <a:pt x="594" y="1716"/>
                  </a:lnTo>
                  <a:lnTo>
                    <a:pt x="654" y="1716"/>
                  </a:lnTo>
                  <a:lnTo>
                    <a:pt x="654" y="1746"/>
                  </a:lnTo>
                  <a:lnTo>
                    <a:pt x="654" y="1746"/>
                  </a:lnTo>
                  <a:close/>
                  <a:moveTo>
                    <a:pt x="1076" y="1812"/>
                  </a:moveTo>
                  <a:lnTo>
                    <a:pt x="1137" y="1812"/>
                  </a:lnTo>
                  <a:lnTo>
                    <a:pt x="1137" y="1922"/>
                  </a:lnTo>
                  <a:lnTo>
                    <a:pt x="1137" y="2057"/>
                  </a:lnTo>
                  <a:lnTo>
                    <a:pt x="1076" y="2057"/>
                  </a:lnTo>
                  <a:lnTo>
                    <a:pt x="1076" y="1812"/>
                  </a:lnTo>
                  <a:lnTo>
                    <a:pt x="1076" y="1812"/>
                  </a:lnTo>
                  <a:close/>
                  <a:moveTo>
                    <a:pt x="1137" y="1746"/>
                  </a:moveTo>
                  <a:lnTo>
                    <a:pt x="1137" y="1777"/>
                  </a:lnTo>
                  <a:lnTo>
                    <a:pt x="1076" y="1777"/>
                  </a:lnTo>
                  <a:lnTo>
                    <a:pt x="1076" y="1716"/>
                  </a:lnTo>
                  <a:lnTo>
                    <a:pt x="1137" y="1716"/>
                  </a:lnTo>
                  <a:lnTo>
                    <a:pt x="1137" y="1746"/>
                  </a:lnTo>
                  <a:lnTo>
                    <a:pt x="1137" y="1746"/>
                  </a:lnTo>
                  <a:close/>
                  <a:moveTo>
                    <a:pt x="2804" y="2259"/>
                  </a:moveTo>
                  <a:lnTo>
                    <a:pt x="2804" y="2259"/>
                  </a:lnTo>
                  <a:lnTo>
                    <a:pt x="2798" y="2254"/>
                  </a:lnTo>
                  <a:lnTo>
                    <a:pt x="2792" y="2249"/>
                  </a:lnTo>
                  <a:lnTo>
                    <a:pt x="2786" y="2245"/>
                  </a:lnTo>
                  <a:lnTo>
                    <a:pt x="2779" y="2242"/>
                  </a:lnTo>
                  <a:lnTo>
                    <a:pt x="2773" y="2239"/>
                  </a:lnTo>
                  <a:lnTo>
                    <a:pt x="2765" y="2238"/>
                  </a:lnTo>
                  <a:lnTo>
                    <a:pt x="2749" y="2236"/>
                  </a:lnTo>
                  <a:lnTo>
                    <a:pt x="2749" y="2236"/>
                  </a:lnTo>
                  <a:lnTo>
                    <a:pt x="2738" y="2237"/>
                  </a:lnTo>
                  <a:lnTo>
                    <a:pt x="2729" y="2238"/>
                  </a:lnTo>
                  <a:lnTo>
                    <a:pt x="2719" y="2242"/>
                  </a:lnTo>
                  <a:lnTo>
                    <a:pt x="2709" y="2245"/>
                  </a:lnTo>
                  <a:lnTo>
                    <a:pt x="2701" y="2250"/>
                  </a:lnTo>
                  <a:lnTo>
                    <a:pt x="2693" y="2255"/>
                  </a:lnTo>
                  <a:lnTo>
                    <a:pt x="2686" y="2262"/>
                  </a:lnTo>
                  <a:lnTo>
                    <a:pt x="2679" y="2270"/>
                  </a:lnTo>
                  <a:lnTo>
                    <a:pt x="2674" y="2278"/>
                  </a:lnTo>
                  <a:lnTo>
                    <a:pt x="2668" y="2288"/>
                  </a:lnTo>
                  <a:lnTo>
                    <a:pt x="2664" y="2298"/>
                  </a:lnTo>
                  <a:lnTo>
                    <a:pt x="2660" y="2310"/>
                  </a:lnTo>
                  <a:lnTo>
                    <a:pt x="2657" y="2321"/>
                  </a:lnTo>
                  <a:lnTo>
                    <a:pt x="2656" y="2334"/>
                  </a:lnTo>
                  <a:lnTo>
                    <a:pt x="2654" y="2348"/>
                  </a:lnTo>
                  <a:lnTo>
                    <a:pt x="2653" y="2362"/>
                  </a:lnTo>
                  <a:lnTo>
                    <a:pt x="2653" y="2362"/>
                  </a:lnTo>
                  <a:lnTo>
                    <a:pt x="2654" y="2377"/>
                  </a:lnTo>
                  <a:lnTo>
                    <a:pt x="2656" y="2391"/>
                  </a:lnTo>
                  <a:lnTo>
                    <a:pt x="2657" y="2404"/>
                  </a:lnTo>
                  <a:lnTo>
                    <a:pt x="2660" y="2417"/>
                  </a:lnTo>
                  <a:lnTo>
                    <a:pt x="2663" y="2428"/>
                  </a:lnTo>
                  <a:lnTo>
                    <a:pt x="2668" y="2439"/>
                  </a:lnTo>
                  <a:lnTo>
                    <a:pt x="2673" y="2449"/>
                  </a:lnTo>
                  <a:lnTo>
                    <a:pt x="2679" y="2458"/>
                  </a:lnTo>
                  <a:lnTo>
                    <a:pt x="2685" y="2466"/>
                  </a:lnTo>
                  <a:lnTo>
                    <a:pt x="2692" y="2472"/>
                  </a:lnTo>
                  <a:lnTo>
                    <a:pt x="2699" y="2478"/>
                  </a:lnTo>
                  <a:lnTo>
                    <a:pt x="2708" y="2483"/>
                  </a:lnTo>
                  <a:lnTo>
                    <a:pt x="2718" y="2488"/>
                  </a:lnTo>
                  <a:lnTo>
                    <a:pt x="2728" y="2491"/>
                  </a:lnTo>
                  <a:lnTo>
                    <a:pt x="2737" y="2492"/>
                  </a:lnTo>
                  <a:lnTo>
                    <a:pt x="2748" y="2493"/>
                  </a:lnTo>
                  <a:lnTo>
                    <a:pt x="2748" y="2493"/>
                  </a:lnTo>
                  <a:lnTo>
                    <a:pt x="2756" y="2492"/>
                  </a:lnTo>
                  <a:lnTo>
                    <a:pt x="2764" y="2491"/>
                  </a:lnTo>
                  <a:lnTo>
                    <a:pt x="2771" y="2489"/>
                  </a:lnTo>
                  <a:lnTo>
                    <a:pt x="2777" y="2487"/>
                  </a:lnTo>
                  <a:lnTo>
                    <a:pt x="2785" y="2483"/>
                  </a:lnTo>
                  <a:lnTo>
                    <a:pt x="2792" y="2480"/>
                  </a:lnTo>
                  <a:lnTo>
                    <a:pt x="2798" y="2475"/>
                  </a:lnTo>
                  <a:lnTo>
                    <a:pt x="2804" y="2469"/>
                  </a:lnTo>
                  <a:lnTo>
                    <a:pt x="2804" y="2487"/>
                  </a:lnTo>
                  <a:lnTo>
                    <a:pt x="2865" y="2487"/>
                  </a:lnTo>
                  <a:lnTo>
                    <a:pt x="2865" y="2139"/>
                  </a:lnTo>
                  <a:lnTo>
                    <a:pt x="2804" y="2170"/>
                  </a:lnTo>
                  <a:lnTo>
                    <a:pt x="2804" y="2259"/>
                  </a:lnTo>
                  <a:lnTo>
                    <a:pt x="2804" y="2259"/>
                  </a:lnTo>
                  <a:close/>
                  <a:moveTo>
                    <a:pt x="2762" y="2437"/>
                  </a:moveTo>
                  <a:lnTo>
                    <a:pt x="2762" y="2437"/>
                  </a:lnTo>
                  <a:lnTo>
                    <a:pt x="2753" y="2436"/>
                  </a:lnTo>
                  <a:lnTo>
                    <a:pt x="2746" y="2433"/>
                  </a:lnTo>
                  <a:lnTo>
                    <a:pt x="2737" y="2430"/>
                  </a:lnTo>
                  <a:lnTo>
                    <a:pt x="2730" y="2422"/>
                  </a:lnTo>
                  <a:lnTo>
                    <a:pt x="2724" y="2413"/>
                  </a:lnTo>
                  <a:lnTo>
                    <a:pt x="2719" y="2399"/>
                  </a:lnTo>
                  <a:lnTo>
                    <a:pt x="2717" y="2382"/>
                  </a:lnTo>
                  <a:lnTo>
                    <a:pt x="2715" y="2360"/>
                  </a:lnTo>
                  <a:lnTo>
                    <a:pt x="2715" y="2360"/>
                  </a:lnTo>
                  <a:lnTo>
                    <a:pt x="2717" y="2342"/>
                  </a:lnTo>
                  <a:lnTo>
                    <a:pt x="2719" y="2326"/>
                  </a:lnTo>
                  <a:lnTo>
                    <a:pt x="2724" y="2314"/>
                  </a:lnTo>
                  <a:lnTo>
                    <a:pt x="2730" y="2305"/>
                  </a:lnTo>
                  <a:lnTo>
                    <a:pt x="2737" y="2299"/>
                  </a:lnTo>
                  <a:lnTo>
                    <a:pt x="2745" y="2294"/>
                  </a:lnTo>
                  <a:lnTo>
                    <a:pt x="2753" y="2293"/>
                  </a:lnTo>
                  <a:lnTo>
                    <a:pt x="2760" y="2292"/>
                  </a:lnTo>
                  <a:lnTo>
                    <a:pt x="2760" y="2292"/>
                  </a:lnTo>
                  <a:lnTo>
                    <a:pt x="2769" y="2293"/>
                  </a:lnTo>
                  <a:lnTo>
                    <a:pt x="2776" y="2294"/>
                  </a:lnTo>
                  <a:lnTo>
                    <a:pt x="2782" y="2297"/>
                  </a:lnTo>
                  <a:lnTo>
                    <a:pt x="2788" y="2300"/>
                  </a:lnTo>
                  <a:lnTo>
                    <a:pt x="2793" y="2304"/>
                  </a:lnTo>
                  <a:lnTo>
                    <a:pt x="2798" y="2308"/>
                  </a:lnTo>
                  <a:lnTo>
                    <a:pt x="2804" y="2316"/>
                  </a:lnTo>
                  <a:lnTo>
                    <a:pt x="2804" y="2413"/>
                  </a:lnTo>
                  <a:lnTo>
                    <a:pt x="2804" y="2413"/>
                  </a:lnTo>
                  <a:lnTo>
                    <a:pt x="2797" y="2421"/>
                  </a:lnTo>
                  <a:lnTo>
                    <a:pt x="2788" y="2428"/>
                  </a:lnTo>
                  <a:lnTo>
                    <a:pt x="2782" y="2432"/>
                  </a:lnTo>
                  <a:lnTo>
                    <a:pt x="2776" y="2434"/>
                  </a:lnTo>
                  <a:lnTo>
                    <a:pt x="2769" y="2436"/>
                  </a:lnTo>
                  <a:lnTo>
                    <a:pt x="2762" y="2437"/>
                  </a:lnTo>
                  <a:lnTo>
                    <a:pt x="2762" y="2437"/>
                  </a:lnTo>
                  <a:lnTo>
                    <a:pt x="2762" y="2437"/>
                  </a:lnTo>
                  <a:close/>
                  <a:moveTo>
                    <a:pt x="742" y="2310"/>
                  </a:moveTo>
                  <a:lnTo>
                    <a:pt x="742" y="2310"/>
                  </a:lnTo>
                  <a:lnTo>
                    <a:pt x="734" y="2305"/>
                  </a:lnTo>
                  <a:lnTo>
                    <a:pt x="724" y="2300"/>
                  </a:lnTo>
                  <a:lnTo>
                    <a:pt x="713" y="2298"/>
                  </a:lnTo>
                  <a:lnTo>
                    <a:pt x="702" y="2297"/>
                  </a:lnTo>
                  <a:lnTo>
                    <a:pt x="702" y="2297"/>
                  </a:lnTo>
                  <a:lnTo>
                    <a:pt x="692" y="2298"/>
                  </a:lnTo>
                  <a:lnTo>
                    <a:pt x="682" y="2300"/>
                  </a:lnTo>
                  <a:lnTo>
                    <a:pt x="675" y="2305"/>
                  </a:lnTo>
                  <a:lnTo>
                    <a:pt x="669" y="2311"/>
                  </a:lnTo>
                  <a:lnTo>
                    <a:pt x="664" y="2319"/>
                  </a:lnTo>
                  <a:lnTo>
                    <a:pt x="662" y="2328"/>
                  </a:lnTo>
                  <a:lnTo>
                    <a:pt x="659" y="2341"/>
                  </a:lnTo>
                  <a:lnTo>
                    <a:pt x="658" y="2354"/>
                  </a:lnTo>
                  <a:lnTo>
                    <a:pt x="658" y="2487"/>
                  </a:lnTo>
                  <a:lnTo>
                    <a:pt x="598" y="2487"/>
                  </a:lnTo>
                  <a:lnTo>
                    <a:pt x="598" y="2242"/>
                  </a:lnTo>
                  <a:lnTo>
                    <a:pt x="658" y="2242"/>
                  </a:lnTo>
                  <a:lnTo>
                    <a:pt x="658" y="2262"/>
                  </a:lnTo>
                  <a:lnTo>
                    <a:pt x="658" y="2262"/>
                  </a:lnTo>
                  <a:lnTo>
                    <a:pt x="664" y="2256"/>
                  </a:lnTo>
                  <a:lnTo>
                    <a:pt x="670" y="2250"/>
                  </a:lnTo>
                  <a:lnTo>
                    <a:pt x="676" y="2247"/>
                  </a:lnTo>
                  <a:lnTo>
                    <a:pt x="684" y="2243"/>
                  </a:lnTo>
                  <a:lnTo>
                    <a:pt x="690" y="2239"/>
                  </a:lnTo>
                  <a:lnTo>
                    <a:pt x="697" y="2238"/>
                  </a:lnTo>
                  <a:lnTo>
                    <a:pt x="706" y="2237"/>
                  </a:lnTo>
                  <a:lnTo>
                    <a:pt x="713" y="2236"/>
                  </a:lnTo>
                  <a:lnTo>
                    <a:pt x="713" y="2236"/>
                  </a:lnTo>
                  <a:lnTo>
                    <a:pt x="725" y="2237"/>
                  </a:lnTo>
                  <a:lnTo>
                    <a:pt x="737" y="2240"/>
                  </a:lnTo>
                  <a:lnTo>
                    <a:pt x="750" y="2245"/>
                  </a:lnTo>
                  <a:lnTo>
                    <a:pt x="759" y="2251"/>
                  </a:lnTo>
                  <a:lnTo>
                    <a:pt x="742" y="2310"/>
                  </a:lnTo>
                  <a:lnTo>
                    <a:pt x="742" y="2310"/>
                  </a:lnTo>
                  <a:close/>
                  <a:moveTo>
                    <a:pt x="266" y="2242"/>
                  </a:moveTo>
                  <a:lnTo>
                    <a:pt x="325" y="2242"/>
                  </a:lnTo>
                  <a:lnTo>
                    <a:pt x="256" y="2487"/>
                  </a:lnTo>
                  <a:lnTo>
                    <a:pt x="204" y="2487"/>
                  </a:lnTo>
                  <a:lnTo>
                    <a:pt x="177" y="2386"/>
                  </a:lnTo>
                  <a:lnTo>
                    <a:pt x="177" y="2386"/>
                  </a:lnTo>
                  <a:lnTo>
                    <a:pt x="163" y="2332"/>
                  </a:lnTo>
                  <a:lnTo>
                    <a:pt x="163" y="2332"/>
                  </a:lnTo>
                  <a:lnTo>
                    <a:pt x="157" y="2358"/>
                  </a:lnTo>
                  <a:lnTo>
                    <a:pt x="150" y="2387"/>
                  </a:lnTo>
                  <a:lnTo>
                    <a:pt x="122" y="2487"/>
                  </a:lnTo>
                  <a:lnTo>
                    <a:pt x="69" y="2487"/>
                  </a:lnTo>
                  <a:lnTo>
                    <a:pt x="69" y="2486"/>
                  </a:lnTo>
                  <a:lnTo>
                    <a:pt x="0" y="2242"/>
                  </a:lnTo>
                  <a:lnTo>
                    <a:pt x="63" y="2242"/>
                  </a:lnTo>
                  <a:lnTo>
                    <a:pt x="85" y="2333"/>
                  </a:lnTo>
                  <a:lnTo>
                    <a:pt x="85" y="2333"/>
                  </a:lnTo>
                  <a:lnTo>
                    <a:pt x="91" y="2362"/>
                  </a:lnTo>
                  <a:lnTo>
                    <a:pt x="97" y="2393"/>
                  </a:lnTo>
                  <a:lnTo>
                    <a:pt x="97" y="2393"/>
                  </a:lnTo>
                  <a:lnTo>
                    <a:pt x="105" y="2362"/>
                  </a:lnTo>
                  <a:lnTo>
                    <a:pt x="112" y="2332"/>
                  </a:lnTo>
                  <a:lnTo>
                    <a:pt x="138" y="2242"/>
                  </a:lnTo>
                  <a:lnTo>
                    <a:pt x="190" y="2242"/>
                  </a:lnTo>
                  <a:lnTo>
                    <a:pt x="216" y="2332"/>
                  </a:lnTo>
                  <a:lnTo>
                    <a:pt x="216" y="2332"/>
                  </a:lnTo>
                  <a:lnTo>
                    <a:pt x="223" y="2361"/>
                  </a:lnTo>
                  <a:lnTo>
                    <a:pt x="230" y="2394"/>
                  </a:lnTo>
                  <a:lnTo>
                    <a:pt x="230" y="2394"/>
                  </a:lnTo>
                  <a:lnTo>
                    <a:pt x="235" y="2366"/>
                  </a:lnTo>
                  <a:lnTo>
                    <a:pt x="243" y="2332"/>
                  </a:lnTo>
                  <a:lnTo>
                    <a:pt x="266" y="2242"/>
                  </a:lnTo>
                  <a:lnTo>
                    <a:pt x="266" y="2242"/>
                  </a:lnTo>
                  <a:close/>
                  <a:moveTo>
                    <a:pt x="448" y="2236"/>
                  </a:moveTo>
                  <a:lnTo>
                    <a:pt x="448" y="2236"/>
                  </a:lnTo>
                  <a:lnTo>
                    <a:pt x="438" y="2237"/>
                  </a:lnTo>
                  <a:lnTo>
                    <a:pt x="425" y="2238"/>
                  </a:lnTo>
                  <a:lnTo>
                    <a:pt x="414" y="2242"/>
                  </a:lnTo>
                  <a:lnTo>
                    <a:pt x="405" y="2245"/>
                  </a:lnTo>
                  <a:lnTo>
                    <a:pt x="395" y="2250"/>
                  </a:lnTo>
                  <a:lnTo>
                    <a:pt x="385" y="2256"/>
                  </a:lnTo>
                  <a:lnTo>
                    <a:pt x="377" y="2264"/>
                  </a:lnTo>
                  <a:lnTo>
                    <a:pt x="369" y="2272"/>
                  </a:lnTo>
                  <a:lnTo>
                    <a:pt x="362" y="2281"/>
                  </a:lnTo>
                  <a:lnTo>
                    <a:pt x="356" y="2290"/>
                  </a:lnTo>
                  <a:lnTo>
                    <a:pt x="350" y="2301"/>
                  </a:lnTo>
                  <a:lnTo>
                    <a:pt x="346" y="2312"/>
                  </a:lnTo>
                  <a:lnTo>
                    <a:pt x="342" y="2325"/>
                  </a:lnTo>
                  <a:lnTo>
                    <a:pt x="340" y="2337"/>
                  </a:lnTo>
                  <a:lnTo>
                    <a:pt x="338" y="2350"/>
                  </a:lnTo>
                  <a:lnTo>
                    <a:pt x="338" y="2365"/>
                  </a:lnTo>
                  <a:lnTo>
                    <a:pt x="338" y="2365"/>
                  </a:lnTo>
                  <a:lnTo>
                    <a:pt x="338" y="2378"/>
                  </a:lnTo>
                  <a:lnTo>
                    <a:pt x="340" y="2392"/>
                  </a:lnTo>
                  <a:lnTo>
                    <a:pt x="342" y="2404"/>
                  </a:lnTo>
                  <a:lnTo>
                    <a:pt x="346" y="2416"/>
                  </a:lnTo>
                  <a:lnTo>
                    <a:pt x="350" y="2427"/>
                  </a:lnTo>
                  <a:lnTo>
                    <a:pt x="356" y="2438"/>
                  </a:lnTo>
                  <a:lnTo>
                    <a:pt x="362" y="2448"/>
                  </a:lnTo>
                  <a:lnTo>
                    <a:pt x="369" y="2456"/>
                  </a:lnTo>
                  <a:lnTo>
                    <a:pt x="377" y="2465"/>
                  </a:lnTo>
                  <a:lnTo>
                    <a:pt x="385" y="2472"/>
                  </a:lnTo>
                  <a:lnTo>
                    <a:pt x="395" y="2478"/>
                  </a:lnTo>
                  <a:lnTo>
                    <a:pt x="405" y="2483"/>
                  </a:lnTo>
                  <a:lnTo>
                    <a:pt x="414" y="2487"/>
                  </a:lnTo>
                  <a:lnTo>
                    <a:pt x="425" y="2491"/>
                  </a:lnTo>
                  <a:lnTo>
                    <a:pt x="438" y="2492"/>
                  </a:lnTo>
                  <a:lnTo>
                    <a:pt x="448" y="2493"/>
                  </a:lnTo>
                  <a:lnTo>
                    <a:pt x="448" y="2493"/>
                  </a:lnTo>
                  <a:lnTo>
                    <a:pt x="461" y="2492"/>
                  </a:lnTo>
                  <a:lnTo>
                    <a:pt x="473" y="2491"/>
                  </a:lnTo>
                  <a:lnTo>
                    <a:pt x="484" y="2487"/>
                  </a:lnTo>
                  <a:lnTo>
                    <a:pt x="494" y="2483"/>
                  </a:lnTo>
                  <a:lnTo>
                    <a:pt x="503" y="2478"/>
                  </a:lnTo>
                  <a:lnTo>
                    <a:pt x="513" y="2472"/>
                  </a:lnTo>
                  <a:lnTo>
                    <a:pt x="522" y="2465"/>
                  </a:lnTo>
                  <a:lnTo>
                    <a:pt x="529" y="2456"/>
                  </a:lnTo>
                  <a:lnTo>
                    <a:pt x="536" y="2448"/>
                  </a:lnTo>
                  <a:lnTo>
                    <a:pt x="542" y="2438"/>
                  </a:lnTo>
                  <a:lnTo>
                    <a:pt x="547" y="2427"/>
                  </a:lnTo>
                  <a:lnTo>
                    <a:pt x="552" y="2416"/>
                  </a:lnTo>
                  <a:lnTo>
                    <a:pt x="556" y="2404"/>
                  </a:lnTo>
                  <a:lnTo>
                    <a:pt x="558" y="2392"/>
                  </a:lnTo>
                  <a:lnTo>
                    <a:pt x="561" y="2378"/>
                  </a:lnTo>
                  <a:lnTo>
                    <a:pt x="561" y="2365"/>
                  </a:lnTo>
                  <a:lnTo>
                    <a:pt x="561" y="2365"/>
                  </a:lnTo>
                  <a:lnTo>
                    <a:pt x="561" y="2350"/>
                  </a:lnTo>
                  <a:lnTo>
                    <a:pt x="558" y="2337"/>
                  </a:lnTo>
                  <a:lnTo>
                    <a:pt x="556" y="2325"/>
                  </a:lnTo>
                  <a:lnTo>
                    <a:pt x="552" y="2312"/>
                  </a:lnTo>
                  <a:lnTo>
                    <a:pt x="547" y="2301"/>
                  </a:lnTo>
                  <a:lnTo>
                    <a:pt x="542" y="2290"/>
                  </a:lnTo>
                  <a:lnTo>
                    <a:pt x="536" y="2281"/>
                  </a:lnTo>
                  <a:lnTo>
                    <a:pt x="529" y="2272"/>
                  </a:lnTo>
                  <a:lnTo>
                    <a:pt x="522" y="2264"/>
                  </a:lnTo>
                  <a:lnTo>
                    <a:pt x="513" y="2256"/>
                  </a:lnTo>
                  <a:lnTo>
                    <a:pt x="503" y="2250"/>
                  </a:lnTo>
                  <a:lnTo>
                    <a:pt x="494" y="2245"/>
                  </a:lnTo>
                  <a:lnTo>
                    <a:pt x="484" y="2242"/>
                  </a:lnTo>
                  <a:lnTo>
                    <a:pt x="473" y="2238"/>
                  </a:lnTo>
                  <a:lnTo>
                    <a:pt x="461" y="2237"/>
                  </a:lnTo>
                  <a:lnTo>
                    <a:pt x="448" y="2236"/>
                  </a:lnTo>
                  <a:lnTo>
                    <a:pt x="448" y="2236"/>
                  </a:lnTo>
                  <a:lnTo>
                    <a:pt x="448" y="2236"/>
                  </a:lnTo>
                  <a:close/>
                  <a:moveTo>
                    <a:pt x="448" y="2436"/>
                  </a:moveTo>
                  <a:lnTo>
                    <a:pt x="448" y="2436"/>
                  </a:lnTo>
                  <a:lnTo>
                    <a:pt x="438" y="2434"/>
                  </a:lnTo>
                  <a:lnTo>
                    <a:pt x="428" y="2431"/>
                  </a:lnTo>
                  <a:lnTo>
                    <a:pt x="420" y="2425"/>
                  </a:lnTo>
                  <a:lnTo>
                    <a:pt x="413" y="2416"/>
                  </a:lnTo>
                  <a:lnTo>
                    <a:pt x="407" y="2406"/>
                  </a:lnTo>
                  <a:lnTo>
                    <a:pt x="402" y="2394"/>
                  </a:lnTo>
                  <a:lnTo>
                    <a:pt x="400" y="2380"/>
                  </a:lnTo>
                  <a:lnTo>
                    <a:pt x="400" y="2365"/>
                  </a:lnTo>
                  <a:lnTo>
                    <a:pt x="400" y="2365"/>
                  </a:lnTo>
                  <a:lnTo>
                    <a:pt x="400" y="2349"/>
                  </a:lnTo>
                  <a:lnTo>
                    <a:pt x="402" y="2334"/>
                  </a:lnTo>
                  <a:lnTo>
                    <a:pt x="407" y="2323"/>
                  </a:lnTo>
                  <a:lnTo>
                    <a:pt x="413" y="2312"/>
                  </a:lnTo>
                  <a:lnTo>
                    <a:pt x="420" y="2304"/>
                  </a:lnTo>
                  <a:lnTo>
                    <a:pt x="428" y="2298"/>
                  </a:lnTo>
                  <a:lnTo>
                    <a:pt x="438" y="2294"/>
                  </a:lnTo>
                  <a:lnTo>
                    <a:pt x="448" y="2293"/>
                  </a:lnTo>
                  <a:lnTo>
                    <a:pt x="448" y="2293"/>
                  </a:lnTo>
                  <a:lnTo>
                    <a:pt x="459" y="2294"/>
                  </a:lnTo>
                  <a:lnTo>
                    <a:pt x="469" y="2298"/>
                  </a:lnTo>
                  <a:lnTo>
                    <a:pt x="478" y="2304"/>
                  </a:lnTo>
                  <a:lnTo>
                    <a:pt x="485" y="2312"/>
                  </a:lnTo>
                  <a:lnTo>
                    <a:pt x="491" y="2323"/>
                  </a:lnTo>
                  <a:lnTo>
                    <a:pt x="495" y="2334"/>
                  </a:lnTo>
                  <a:lnTo>
                    <a:pt x="497" y="2349"/>
                  </a:lnTo>
                  <a:lnTo>
                    <a:pt x="498" y="2365"/>
                  </a:lnTo>
                  <a:lnTo>
                    <a:pt x="498" y="2365"/>
                  </a:lnTo>
                  <a:lnTo>
                    <a:pt x="497" y="2380"/>
                  </a:lnTo>
                  <a:lnTo>
                    <a:pt x="495" y="2394"/>
                  </a:lnTo>
                  <a:lnTo>
                    <a:pt x="491" y="2406"/>
                  </a:lnTo>
                  <a:lnTo>
                    <a:pt x="485" y="2416"/>
                  </a:lnTo>
                  <a:lnTo>
                    <a:pt x="478" y="2425"/>
                  </a:lnTo>
                  <a:lnTo>
                    <a:pt x="469" y="2431"/>
                  </a:lnTo>
                  <a:lnTo>
                    <a:pt x="459" y="2434"/>
                  </a:lnTo>
                  <a:lnTo>
                    <a:pt x="448" y="2436"/>
                  </a:lnTo>
                  <a:lnTo>
                    <a:pt x="448" y="2436"/>
                  </a:lnTo>
                  <a:lnTo>
                    <a:pt x="448" y="2436"/>
                  </a:lnTo>
                  <a:close/>
                  <a:moveTo>
                    <a:pt x="2506" y="2310"/>
                  </a:moveTo>
                  <a:lnTo>
                    <a:pt x="2506" y="2310"/>
                  </a:lnTo>
                  <a:lnTo>
                    <a:pt x="2496" y="2305"/>
                  </a:lnTo>
                  <a:lnTo>
                    <a:pt x="2486" y="2300"/>
                  </a:lnTo>
                  <a:lnTo>
                    <a:pt x="2475" y="2298"/>
                  </a:lnTo>
                  <a:lnTo>
                    <a:pt x="2465" y="2297"/>
                  </a:lnTo>
                  <a:lnTo>
                    <a:pt x="2465" y="2297"/>
                  </a:lnTo>
                  <a:lnTo>
                    <a:pt x="2455" y="2298"/>
                  </a:lnTo>
                  <a:lnTo>
                    <a:pt x="2446" y="2300"/>
                  </a:lnTo>
                  <a:lnTo>
                    <a:pt x="2439" y="2305"/>
                  </a:lnTo>
                  <a:lnTo>
                    <a:pt x="2433" y="2311"/>
                  </a:lnTo>
                  <a:lnTo>
                    <a:pt x="2428" y="2319"/>
                  </a:lnTo>
                  <a:lnTo>
                    <a:pt x="2424" y="2328"/>
                  </a:lnTo>
                  <a:lnTo>
                    <a:pt x="2422" y="2341"/>
                  </a:lnTo>
                  <a:lnTo>
                    <a:pt x="2422" y="2354"/>
                  </a:lnTo>
                  <a:lnTo>
                    <a:pt x="2422" y="2487"/>
                  </a:lnTo>
                  <a:lnTo>
                    <a:pt x="2361" y="2487"/>
                  </a:lnTo>
                  <a:lnTo>
                    <a:pt x="2361" y="2242"/>
                  </a:lnTo>
                  <a:lnTo>
                    <a:pt x="2422" y="2242"/>
                  </a:lnTo>
                  <a:lnTo>
                    <a:pt x="2422" y="2262"/>
                  </a:lnTo>
                  <a:lnTo>
                    <a:pt x="2422" y="2262"/>
                  </a:lnTo>
                  <a:lnTo>
                    <a:pt x="2426" y="2256"/>
                  </a:lnTo>
                  <a:lnTo>
                    <a:pt x="2433" y="2250"/>
                  </a:lnTo>
                  <a:lnTo>
                    <a:pt x="2439" y="2247"/>
                  </a:lnTo>
                  <a:lnTo>
                    <a:pt x="2446" y="2243"/>
                  </a:lnTo>
                  <a:lnTo>
                    <a:pt x="2453" y="2239"/>
                  </a:lnTo>
                  <a:lnTo>
                    <a:pt x="2461" y="2238"/>
                  </a:lnTo>
                  <a:lnTo>
                    <a:pt x="2468" y="2237"/>
                  </a:lnTo>
                  <a:lnTo>
                    <a:pt x="2475" y="2236"/>
                  </a:lnTo>
                  <a:lnTo>
                    <a:pt x="2475" y="2236"/>
                  </a:lnTo>
                  <a:lnTo>
                    <a:pt x="2487" y="2237"/>
                  </a:lnTo>
                  <a:lnTo>
                    <a:pt x="2500" y="2240"/>
                  </a:lnTo>
                  <a:lnTo>
                    <a:pt x="2512" y="2245"/>
                  </a:lnTo>
                  <a:lnTo>
                    <a:pt x="2522" y="2251"/>
                  </a:lnTo>
                  <a:lnTo>
                    <a:pt x="2506" y="2310"/>
                  </a:lnTo>
                  <a:lnTo>
                    <a:pt x="2506" y="2310"/>
                  </a:lnTo>
                  <a:close/>
                  <a:moveTo>
                    <a:pt x="2028" y="2242"/>
                  </a:moveTo>
                  <a:lnTo>
                    <a:pt x="2088" y="2242"/>
                  </a:lnTo>
                  <a:lnTo>
                    <a:pt x="2018" y="2487"/>
                  </a:lnTo>
                  <a:lnTo>
                    <a:pt x="1966" y="2487"/>
                  </a:lnTo>
                  <a:lnTo>
                    <a:pt x="1939" y="2386"/>
                  </a:lnTo>
                  <a:lnTo>
                    <a:pt x="1939" y="2386"/>
                  </a:lnTo>
                  <a:lnTo>
                    <a:pt x="1926" y="2332"/>
                  </a:lnTo>
                  <a:lnTo>
                    <a:pt x="1926" y="2332"/>
                  </a:lnTo>
                  <a:lnTo>
                    <a:pt x="1919" y="2358"/>
                  </a:lnTo>
                  <a:lnTo>
                    <a:pt x="1912" y="2387"/>
                  </a:lnTo>
                  <a:lnTo>
                    <a:pt x="1885" y="2487"/>
                  </a:lnTo>
                  <a:lnTo>
                    <a:pt x="1833" y="2487"/>
                  </a:lnTo>
                  <a:lnTo>
                    <a:pt x="1832" y="2486"/>
                  </a:lnTo>
                  <a:lnTo>
                    <a:pt x="1763" y="2242"/>
                  </a:lnTo>
                  <a:lnTo>
                    <a:pt x="1826" y="2242"/>
                  </a:lnTo>
                  <a:lnTo>
                    <a:pt x="1849" y="2333"/>
                  </a:lnTo>
                  <a:lnTo>
                    <a:pt x="1849" y="2333"/>
                  </a:lnTo>
                  <a:lnTo>
                    <a:pt x="1855" y="2362"/>
                  </a:lnTo>
                  <a:lnTo>
                    <a:pt x="1861" y="2393"/>
                  </a:lnTo>
                  <a:lnTo>
                    <a:pt x="1861" y="2393"/>
                  </a:lnTo>
                  <a:lnTo>
                    <a:pt x="1867" y="2362"/>
                  </a:lnTo>
                  <a:lnTo>
                    <a:pt x="1876" y="2332"/>
                  </a:lnTo>
                  <a:lnTo>
                    <a:pt x="1901" y="2242"/>
                  </a:lnTo>
                  <a:lnTo>
                    <a:pt x="1952" y="2242"/>
                  </a:lnTo>
                  <a:lnTo>
                    <a:pt x="1978" y="2332"/>
                  </a:lnTo>
                  <a:lnTo>
                    <a:pt x="1978" y="2332"/>
                  </a:lnTo>
                  <a:lnTo>
                    <a:pt x="1985" y="2361"/>
                  </a:lnTo>
                  <a:lnTo>
                    <a:pt x="1993" y="2394"/>
                  </a:lnTo>
                  <a:lnTo>
                    <a:pt x="1993" y="2394"/>
                  </a:lnTo>
                  <a:lnTo>
                    <a:pt x="1999" y="2366"/>
                  </a:lnTo>
                  <a:lnTo>
                    <a:pt x="2006" y="2332"/>
                  </a:lnTo>
                  <a:lnTo>
                    <a:pt x="2028" y="2242"/>
                  </a:lnTo>
                  <a:lnTo>
                    <a:pt x="2028" y="2242"/>
                  </a:lnTo>
                  <a:close/>
                  <a:moveTo>
                    <a:pt x="2211" y="2236"/>
                  </a:moveTo>
                  <a:lnTo>
                    <a:pt x="2211" y="2236"/>
                  </a:lnTo>
                  <a:lnTo>
                    <a:pt x="2200" y="2237"/>
                  </a:lnTo>
                  <a:lnTo>
                    <a:pt x="2188" y="2238"/>
                  </a:lnTo>
                  <a:lnTo>
                    <a:pt x="2177" y="2242"/>
                  </a:lnTo>
                  <a:lnTo>
                    <a:pt x="2167" y="2245"/>
                  </a:lnTo>
                  <a:lnTo>
                    <a:pt x="2157" y="2250"/>
                  </a:lnTo>
                  <a:lnTo>
                    <a:pt x="2147" y="2258"/>
                  </a:lnTo>
                  <a:lnTo>
                    <a:pt x="2139" y="2264"/>
                  </a:lnTo>
                  <a:lnTo>
                    <a:pt x="2132" y="2272"/>
                  </a:lnTo>
                  <a:lnTo>
                    <a:pt x="2124" y="2281"/>
                  </a:lnTo>
                  <a:lnTo>
                    <a:pt x="2118" y="2290"/>
                  </a:lnTo>
                  <a:lnTo>
                    <a:pt x="2112" y="2301"/>
                  </a:lnTo>
                  <a:lnTo>
                    <a:pt x="2108" y="2312"/>
                  </a:lnTo>
                  <a:lnTo>
                    <a:pt x="2105" y="2325"/>
                  </a:lnTo>
                  <a:lnTo>
                    <a:pt x="2101" y="2338"/>
                  </a:lnTo>
                  <a:lnTo>
                    <a:pt x="2100" y="2350"/>
                  </a:lnTo>
                  <a:lnTo>
                    <a:pt x="2100" y="2365"/>
                  </a:lnTo>
                  <a:lnTo>
                    <a:pt x="2100" y="2365"/>
                  </a:lnTo>
                  <a:lnTo>
                    <a:pt x="2100" y="2378"/>
                  </a:lnTo>
                  <a:lnTo>
                    <a:pt x="2101" y="2392"/>
                  </a:lnTo>
                  <a:lnTo>
                    <a:pt x="2105" y="2404"/>
                  </a:lnTo>
                  <a:lnTo>
                    <a:pt x="2108" y="2416"/>
                  </a:lnTo>
                  <a:lnTo>
                    <a:pt x="2112" y="2427"/>
                  </a:lnTo>
                  <a:lnTo>
                    <a:pt x="2118" y="2438"/>
                  </a:lnTo>
                  <a:lnTo>
                    <a:pt x="2124" y="2448"/>
                  </a:lnTo>
                  <a:lnTo>
                    <a:pt x="2132" y="2456"/>
                  </a:lnTo>
                  <a:lnTo>
                    <a:pt x="2139" y="2465"/>
                  </a:lnTo>
                  <a:lnTo>
                    <a:pt x="2147" y="2472"/>
                  </a:lnTo>
                  <a:lnTo>
                    <a:pt x="2157" y="2478"/>
                  </a:lnTo>
                  <a:lnTo>
                    <a:pt x="2167" y="2483"/>
                  </a:lnTo>
                  <a:lnTo>
                    <a:pt x="2177" y="2487"/>
                  </a:lnTo>
                  <a:lnTo>
                    <a:pt x="2188" y="2491"/>
                  </a:lnTo>
                  <a:lnTo>
                    <a:pt x="2200" y="2492"/>
                  </a:lnTo>
                  <a:lnTo>
                    <a:pt x="2211" y="2493"/>
                  </a:lnTo>
                  <a:lnTo>
                    <a:pt x="2211" y="2493"/>
                  </a:lnTo>
                  <a:lnTo>
                    <a:pt x="2223" y="2492"/>
                  </a:lnTo>
                  <a:lnTo>
                    <a:pt x="2235" y="2491"/>
                  </a:lnTo>
                  <a:lnTo>
                    <a:pt x="2246" y="2487"/>
                  </a:lnTo>
                  <a:lnTo>
                    <a:pt x="2256" y="2483"/>
                  </a:lnTo>
                  <a:lnTo>
                    <a:pt x="2266" y="2478"/>
                  </a:lnTo>
                  <a:lnTo>
                    <a:pt x="2275" y="2472"/>
                  </a:lnTo>
                  <a:lnTo>
                    <a:pt x="2284" y="2465"/>
                  </a:lnTo>
                  <a:lnTo>
                    <a:pt x="2291" y="2456"/>
                  </a:lnTo>
                  <a:lnTo>
                    <a:pt x="2299" y="2448"/>
                  </a:lnTo>
                  <a:lnTo>
                    <a:pt x="2305" y="2438"/>
                  </a:lnTo>
                  <a:lnTo>
                    <a:pt x="2309" y="2427"/>
                  </a:lnTo>
                  <a:lnTo>
                    <a:pt x="2314" y="2416"/>
                  </a:lnTo>
                  <a:lnTo>
                    <a:pt x="2318" y="2404"/>
                  </a:lnTo>
                  <a:lnTo>
                    <a:pt x="2320" y="2392"/>
                  </a:lnTo>
                  <a:lnTo>
                    <a:pt x="2323" y="2378"/>
                  </a:lnTo>
                  <a:lnTo>
                    <a:pt x="2323" y="2365"/>
                  </a:lnTo>
                  <a:lnTo>
                    <a:pt x="2323" y="2365"/>
                  </a:lnTo>
                  <a:lnTo>
                    <a:pt x="2323" y="2350"/>
                  </a:lnTo>
                  <a:lnTo>
                    <a:pt x="2320" y="2338"/>
                  </a:lnTo>
                  <a:lnTo>
                    <a:pt x="2318" y="2325"/>
                  </a:lnTo>
                  <a:lnTo>
                    <a:pt x="2314" y="2312"/>
                  </a:lnTo>
                  <a:lnTo>
                    <a:pt x="2309" y="2301"/>
                  </a:lnTo>
                  <a:lnTo>
                    <a:pt x="2305" y="2290"/>
                  </a:lnTo>
                  <a:lnTo>
                    <a:pt x="2299" y="2281"/>
                  </a:lnTo>
                  <a:lnTo>
                    <a:pt x="2291" y="2272"/>
                  </a:lnTo>
                  <a:lnTo>
                    <a:pt x="2284" y="2264"/>
                  </a:lnTo>
                  <a:lnTo>
                    <a:pt x="2275" y="2258"/>
                  </a:lnTo>
                  <a:lnTo>
                    <a:pt x="2266" y="2250"/>
                  </a:lnTo>
                  <a:lnTo>
                    <a:pt x="2256" y="2245"/>
                  </a:lnTo>
                  <a:lnTo>
                    <a:pt x="2246" y="2242"/>
                  </a:lnTo>
                  <a:lnTo>
                    <a:pt x="2235" y="2238"/>
                  </a:lnTo>
                  <a:lnTo>
                    <a:pt x="2223" y="2237"/>
                  </a:lnTo>
                  <a:lnTo>
                    <a:pt x="2211" y="2236"/>
                  </a:lnTo>
                  <a:lnTo>
                    <a:pt x="2211" y="2236"/>
                  </a:lnTo>
                  <a:lnTo>
                    <a:pt x="2211" y="2236"/>
                  </a:lnTo>
                  <a:close/>
                  <a:moveTo>
                    <a:pt x="2211" y="2436"/>
                  </a:moveTo>
                  <a:lnTo>
                    <a:pt x="2211" y="2436"/>
                  </a:lnTo>
                  <a:lnTo>
                    <a:pt x="2200" y="2434"/>
                  </a:lnTo>
                  <a:lnTo>
                    <a:pt x="2191" y="2431"/>
                  </a:lnTo>
                  <a:lnTo>
                    <a:pt x="2183" y="2425"/>
                  </a:lnTo>
                  <a:lnTo>
                    <a:pt x="2175" y="2416"/>
                  </a:lnTo>
                  <a:lnTo>
                    <a:pt x="2169" y="2406"/>
                  </a:lnTo>
                  <a:lnTo>
                    <a:pt x="2164" y="2394"/>
                  </a:lnTo>
                  <a:lnTo>
                    <a:pt x="2162" y="2380"/>
                  </a:lnTo>
                  <a:lnTo>
                    <a:pt x="2162" y="2365"/>
                  </a:lnTo>
                  <a:lnTo>
                    <a:pt x="2162" y="2365"/>
                  </a:lnTo>
                  <a:lnTo>
                    <a:pt x="2162" y="2349"/>
                  </a:lnTo>
                  <a:lnTo>
                    <a:pt x="2164" y="2336"/>
                  </a:lnTo>
                  <a:lnTo>
                    <a:pt x="2169" y="2323"/>
                  </a:lnTo>
                  <a:lnTo>
                    <a:pt x="2175" y="2312"/>
                  </a:lnTo>
                  <a:lnTo>
                    <a:pt x="2183" y="2304"/>
                  </a:lnTo>
                  <a:lnTo>
                    <a:pt x="2191" y="2298"/>
                  </a:lnTo>
                  <a:lnTo>
                    <a:pt x="2200" y="2294"/>
                  </a:lnTo>
                  <a:lnTo>
                    <a:pt x="2211" y="2293"/>
                  </a:lnTo>
                  <a:lnTo>
                    <a:pt x="2211" y="2293"/>
                  </a:lnTo>
                  <a:lnTo>
                    <a:pt x="2222" y="2294"/>
                  </a:lnTo>
                  <a:lnTo>
                    <a:pt x="2231" y="2298"/>
                  </a:lnTo>
                  <a:lnTo>
                    <a:pt x="2240" y="2304"/>
                  </a:lnTo>
                  <a:lnTo>
                    <a:pt x="2247" y="2312"/>
                  </a:lnTo>
                  <a:lnTo>
                    <a:pt x="2253" y="2323"/>
                  </a:lnTo>
                  <a:lnTo>
                    <a:pt x="2257" y="2336"/>
                  </a:lnTo>
                  <a:lnTo>
                    <a:pt x="2260" y="2349"/>
                  </a:lnTo>
                  <a:lnTo>
                    <a:pt x="2261" y="2365"/>
                  </a:lnTo>
                  <a:lnTo>
                    <a:pt x="2261" y="2365"/>
                  </a:lnTo>
                  <a:lnTo>
                    <a:pt x="2260" y="2380"/>
                  </a:lnTo>
                  <a:lnTo>
                    <a:pt x="2257" y="2394"/>
                  </a:lnTo>
                  <a:lnTo>
                    <a:pt x="2253" y="2406"/>
                  </a:lnTo>
                  <a:lnTo>
                    <a:pt x="2247" y="2416"/>
                  </a:lnTo>
                  <a:lnTo>
                    <a:pt x="2240" y="2425"/>
                  </a:lnTo>
                  <a:lnTo>
                    <a:pt x="2231" y="2431"/>
                  </a:lnTo>
                  <a:lnTo>
                    <a:pt x="2222" y="2434"/>
                  </a:lnTo>
                  <a:lnTo>
                    <a:pt x="2211" y="2436"/>
                  </a:lnTo>
                  <a:lnTo>
                    <a:pt x="2211" y="2436"/>
                  </a:lnTo>
                  <a:lnTo>
                    <a:pt x="2211" y="2436"/>
                  </a:lnTo>
                  <a:close/>
                  <a:moveTo>
                    <a:pt x="924" y="2322"/>
                  </a:moveTo>
                  <a:lnTo>
                    <a:pt x="998" y="2487"/>
                  </a:lnTo>
                  <a:lnTo>
                    <a:pt x="931" y="2487"/>
                  </a:lnTo>
                  <a:lnTo>
                    <a:pt x="880" y="2373"/>
                  </a:lnTo>
                  <a:lnTo>
                    <a:pt x="847" y="2414"/>
                  </a:lnTo>
                  <a:lnTo>
                    <a:pt x="847" y="2487"/>
                  </a:lnTo>
                  <a:lnTo>
                    <a:pt x="787" y="2487"/>
                  </a:lnTo>
                  <a:lnTo>
                    <a:pt x="787" y="2170"/>
                  </a:lnTo>
                  <a:lnTo>
                    <a:pt x="847" y="2139"/>
                  </a:lnTo>
                  <a:lnTo>
                    <a:pt x="847" y="2336"/>
                  </a:lnTo>
                  <a:lnTo>
                    <a:pt x="847" y="2336"/>
                  </a:lnTo>
                  <a:lnTo>
                    <a:pt x="870" y="2304"/>
                  </a:lnTo>
                  <a:lnTo>
                    <a:pt x="919" y="2242"/>
                  </a:lnTo>
                  <a:lnTo>
                    <a:pt x="990" y="2242"/>
                  </a:lnTo>
                  <a:lnTo>
                    <a:pt x="924" y="2322"/>
                  </a:lnTo>
                  <a:lnTo>
                    <a:pt x="924" y="2322"/>
                  </a:lnTo>
                  <a:close/>
                  <a:moveTo>
                    <a:pt x="1211" y="2487"/>
                  </a:moveTo>
                  <a:lnTo>
                    <a:pt x="1150" y="2487"/>
                  </a:lnTo>
                  <a:lnTo>
                    <a:pt x="1150" y="2242"/>
                  </a:lnTo>
                  <a:lnTo>
                    <a:pt x="1211" y="2242"/>
                  </a:lnTo>
                  <a:lnTo>
                    <a:pt x="1211" y="2262"/>
                  </a:lnTo>
                  <a:lnTo>
                    <a:pt x="1211" y="2262"/>
                  </a:lnTo>
                  <a:lnTo>
                    <a:pt x="1218" y="2256"/>
                  </a:lnTo>
                  <a:lnTo>
                    <a:pt x="1224" y="2251"/>
                  </a:lnTo>
                  <a:lnTo>
                    <a:pt x="1231" y="2247"/>
                  </a:lnTo>
                  <a:lnTo>
                    <a:pt x="1238" y="2243"/>
                  </a:lnTo>
                  <a:lnTo>
                    <a:pt x="1247" y="2240"/>
                  </a:lnTo>
                  <a:lnTo>
                    <a:pt x="1255" y="2238"/>
                  </a:lnTo>
                  <a:lnTo>
                    <a:pt x="1264" y="2237"/>
                  </a:lnTo>
                  <a:lnTo>
                    <a:pt x="1274" y="2236"/>
                  </a:lnTo>
                  <a:lnTo>
                    <a:pt x="1274" y="2236"/>
                  </a:lnTo>
                  <a:lnTo>
                    <a:pt x="1285" y="2237"/>
                  </a:lnTo>
                  <a:lnTo>
                    <a:pt x="1294" y="2238"/>
                  </a:lnTo>
                  <a:lnTo>
                    <a:pt x="1303" y="2240"/>
                  </a:lnTo>
                  <a:lnTo>
                    <a:pt x="1313" y="2243"/>
                  </a:lnTo>
                  <a:lnTo>
                    <a:pt x="1320" y="2248"/>
                  </a:lnTo>
                  <a:lnTo>
                    <a:pt x="1327" y="2253"/>
                  </a:lnTo>
                  <a:lnTo>
                    <a:pt x="1335" y="2258"/>
                  </a:lnTo>
                  <a:lnTo>
                    <a:pt x="1341" y="2265"/>
                  </a:lnTo>
                  <a:lnTo>
                    <a:pt x="1345" y="2272"/>
                  </a:lnTo>
                  <a:lnTo>
                    <a:pt x="1350" y="2281"/>
                  </a:lnTo>
                  <a:lnTo>
                    <a:pt x="1354" y="2289"/>
                  </a:lnTo>
                  <a:lnTo>
                    <a:pt x="1358" y="2300"/>
                  </a:lnTo>
                  <a:lnTo>
                    <a:pt x="1360" y="2311"/>
                  </a:lnTo>
                  <a:lnTo>
                    <a:pt x="1361" y="2322"/>
                  </a:lnTo>
                  <a:lnTo>
                    <a:pt x="1363" y="2334"/>
                  </a:lnTo>
                  <a:lnTo>
                    <a:pt x="1364" y="2348"/>
                  </a:lnTo>
                  <a:lnTo>
                    <a:pt x="1364" y="2487"/>
                  </a:lnTo>
                  <a:lnTo>
                    <a:pt x="1303" y="2487"/>
                  </a:lnTo>
                  <a:lnTo>
                    <a:pt x="1303" y="2351"/>
                  </a:lnTo>
                  <a:lnTo>
                    <a:pt x="1303" y="2351"/>
                  </a:lnTo>
                  <a:lnTo>
                    <a:pt x="1302" y="2338"/>
                  </a:lnTo>
                  <a:lnTo>
                    <a:pt x="1300" y="2325"/>
                  </a:lnTo>
                  <a:lnTo>
                    <a:pt x="1297" y="2315"/>
                  </a:lnTo>
                  <a:lnTo>
                    <a:pt x="1292" y="2306"/>
                  </a:lnTo>
                  <a:lnTo>
                    <a:pt x="1286" y="2300"/>
                  </a:lnTo>
                  <a:lnTo>
                    <a:pt x="1278" y="2295"/>
                  </a:lnTo>
                  <a:lnTo>
                    <a:pt x="1269" y="2293"/>
                  </a:lnTo>
                  <a:lnTo>
                    <a:pt x="1258" y="2292"/>
                  </a:lnTo>
                  <a:lnTo>
                    <a:pt x="1258" y="2292"/>
                  </a:lnTo>
                  <a:lnTo>
                    <a:pt x="1248" y="2293"/>
                  </a:lnTo>
                  <a:lnTo>
                    <a:pt x="1238" y="2295"/>
                  </a:lnTo>
                  <a:lnTo>
                    <a:pt x="1230" y="2300"/>
                  </a:lnTo>
                  <a:lnTo>
                    <a:pt x="1224" y="2308"/>
                  </a:lnTo>
                  <a:lnTo>
                    <a:pt x="1219" y="2315"/>
                  </a:lnTo>
                  <a:lnTo>
                    <a:pt x="1215" y="2326"/>
                  </a:lnTo>
                  <a:lnTo>
                    <a:pt x="1213" y="2338"/>
                  </a:lnTo>
                  <a:lnTo>
                    <a:pt x="1211" y="2351"/>
                  </a:lnTo>
                  <a:lnTo>
                    <a:pt x="1211" y="2487"/>
                  </a:lnTo>
                  <a:lnTo>
                    <a:pt x="1211" y="2487"/>
                  </a:lnTo>
                  <a:close/>
                  <a:moveTo>
                    <a:pt x="1555" y="2259"/>
                  </a:moveTo>
                  <a:lnTo>
                    <a:pt x="1555" y="2259"/>
                  </a:lnTo>
                  <a:lnTo>
                    <a:pt x="1549" y="2254"/>
                  </a:lnTo>
                  <a:lnTo>
                    <a:pt x="1543" y="2249"/>
                  </a:lnTo>
                  <a:lnTo>
                    <a:pt x="1537" y="2245"/>
                  </a:lnTo>
                  <a:lnTo>
                    <a:pt x="1530" y="2242"/>
                  </a:lnTo>
                  <a:lnTo>
                    <a:pt x="1522" y="2239"/>
                  </a:lnTo>
                  <a:lnTo>
                    <a:pt x="1515" y="2238"/>
                  </a:lnTo>
                  <a:lnTo>
                    <a:pt x="1508" y="2237"/>
                  </a:lnTo>
                  <a:lnTo>
                    <a:pt x="1500" y="2236"/>
                  </a:lnTo>
                  <a:lnTo>
                    <a:pt x="1500" y="2236"/>
                  </a:lnTo>
                  <a:lnTo>
                    <a:pt x="1489" y="2237"/>
                  </a:lnTo>
                  <a:lnTo>
                    <a:pt x="1480" y="2238"/>
                  </a:lnTo>
                  <a:lnTo>
                    <a:pt x="1470" y="2240"/>
                  </a:lnTo>
                  <a:lnTo>
                    <a:pt x="1460" y="2245"/>
                  </a:lnTo>
                  <a:lnTo>
                    <a:pt x="1452" y="2249"/>
                  </a:lnTo>
                  <a:lnTo>
                    <a:pt x="1444" y="2255"/>
                  </a:lnTo>
                  <a:lnTo>
                    <a:pt x="1437" y="2262"/>
                  </a:lnTo>
                  <a:lnTo>
                    <a:pt x="1430" y="2270"/>
                  </a:lnTo>
                  <a:lnTo>
                    <a:pt x="1423" y="2278"/>
                  </a:lnTo>
                  <a:lnTo>
                    <a:pt x="1419" y="2288"/>
                  </a:lnTo>
                  <a:lnTo>
                    <a:pt x="1414" y="2298"/>
                  </a:lnTo>
                  <a:lnTo>
                    <a:pt x="1410" y="2310"/>
                  </a:lnTo>
                  <a:lnTo>
                    <a:pt x="1408" y="2321"/>
                  </a:lnTo>
                  <a:lnTo>
                    <a:pt x="1405" y="2334"/>
                  </a:lnTo>
                  <a:lnTo>
                    <a:pt x="1404" y="2348"/>
                  </a:lnTo>
                  <a:lnTo>
                    <a:pt x="1404" y="2361"/>
                  </a:lnTo>
                  <a:lnTo>
                    <a:pt x="1404" y="2361"/>
                  </a:lnTo>
                  <a:lnTo>
                    <a:pt x="1404" y="2377"/>
                  </a:lnTo>
                  <a:lnTo>
                    <a:pt x="1405" y="2391"/>
                  </a:lnTo>
                  <a:lnTo>
                    <a:pt x="1408" y="2404"/>
                  </a:lnTo>
                  <a:lnTo>
                    <a:pt x="1410" y="2417"/>
                  </a:lnTo>
                  <a:lnTo>
                    <a:pt x="1414" y="2428"/>
                  </a:lnTo>
                  <a:lnTo>
                    <a:pt x="1419" y="2439"/>
                  </a:lnTo>
                  <a:lnTo>
                    <a:pt x="1423" y="2449"/>
                  </a:lnTo>
                  <a:lnTo>
                    <a:pt x="1430" y="2458"/>
                  </a:lnTo>
                  <a:lnTo>
                    <a:pt x="1436" y="2466"/>
                  </a:lnTo>
                  <a:lnTo>
                    <a:pt x="1443" y="2472"/>
                  </a:lnTo>
                  <a:lnTo>
                    <a:pt x="1450" y="2478"/>
                  </a:lnTo>
                  <a:lnTo>
                    <a:pt x="1459" y="2483"/>
                  </a:lnTo>
                  <a:lnTo>
                    <a:pt x="1469" y="2487"/>
                  </a:lnTo>
                  <a:lnTo>
                    <a:pt x="1478" y="2491"/>
                  </a:lnTo>
                  <a:lnTo>
                    <a:pt x="1488" y="2492"/>
                  </a:lnTo>
                  <a:lnTo>
                    <a:pt x="1499" y="2493"/>
                  </a:lnTo>
                  <a:lnTo>
                    <a:pt x="1499" y="2493"/>
                  </a:lnTo>
                  <a:lnTo>
                    <a:pt x="1506" y="2492"/>
                  </a:lnTo>
                  <a:lnTo>
                    <a:pt x="1515" y="2491"/>
                  </a:lnTo>
                  <a:lnTo>
                    <a:pt x="1522" y="2489"/>
                  </a:lnTo>
                  <a:lnTo>
                    <a:pt x="1530" y="2487"/>
                  </a:lnTo>
                  <a:lnTo>
                    <a:pt x="1536" y="2483"/>
                  </a:lnTo>
                  <a:lnTo>
                    <a:pt x="1543" y="2480"/>
                  </a:lnTo>
                  <a:lnTo>
                    <a:pt x="1549" y="2475"/>
                  </a:lnTo>
                  <a:lnTo>
                    <a:pt x="1555" y="2469"/>
                  </a:lnTo>
                  <a:lnTo>
                    <a:pt x="1555" y="2475"/>
                  </a:lnTo>
                  <a:lnTo>
                    <a:pt x="1555" y="2475"/>
                  </a:lnTo>
                  <a:lnTo>
                    <a:pt x="1555" y="2484"/>
                  </a:lnTo>
                  <a:lnTo>
                    <a:pt x="1554" y="2495"/>
                  </a:lnTo>
                  <a:lnTo>
                    <a:pt x="1550" y="2506"/>
                  </a:lnTo>
                  <a:lnTo>
                    <a:pt x="1548" y="2511"/>
                  </a:lnTo>
                  <a:lnTo>
                    <a:pt x="1545" y="2516"/>
                  </a:lnTo>
                  <a:lnTo>
                    <a:pt x="1540" y="2521"/>
                  </a:lnTo>
                  <a:lnTo>
                    <a:pt x="1536" y="2526"/>
                  </a:lnTo>
                  <a:lnTo>
                    <a:pt x="1530" y="2530"/>
                  </a:lnTo>
                  <a:lnTo>
                    <a:pt x="1522" y="2533"/>
                  </a:lnTo>
                  <a:lnTo>
                    <a:pt x="1512" y="2536"/>
                  </a:lnTo>
                  <a:lnTo>
                    <a:pt x="1503" y="2538"/>
                  </a:lnTo>
                  <a:lnTo>
                    <a:pt x="1491" y="2539"/>
                  </a:lnTo>
                  <a:lnTo>
                    <a:pt x="1476" y="2539"/>
                  </a:lnTo>
                  <a:lnTo>
                    <a:pt x="1473" y="2539"/>
                  </a:lnTo>
                  <a:lnTo>
                    <a:pt x="1495" y="2587"/>
                  </a:lnTo>
                  <a:lnTo>
                    <a:pt x="1497" y="2587"/>
                  </a:lnTo>
                  <a:lnTo>
                    <a:pt x="1497" y="2587"/>
                  </a:lnTo>
                  <a:lnTo>
                    <a:pt x="1511" y="2587"/>
                  </a:lnTo>
                  <a:lnTo>
                    <a:pt x="1525" y="2586"/>
                  </a:lnTo>
                  <a:lnTo>
                    <a:pt x="1537" y="2582"/>
                  </a:lnTo>
                  <a:lnTo>
                    <a:pt x="1549" y="2580"/>
                  </a:lnTo>
                  <a:lnTo>
                    <a:pt x="1560" y="2575"/>
                  </a:lnTo>
                  <a:lnTo>
                    <a:pt x="1570" y="2570"/>
                  </a:lnTo>
                  <a:lnTo>
                    <a:pt x="1578" y="2564"/>
                  </a:lnTo>
                  <a:lnTo>
                    <a:pt x="1586" y="2556"/>
                  </a:lnTo>
                  <a:lnTo>
                    <a:pt x="1593" y="2548"/>
                  </a:lnTo>
                  <a:lnTo>
                    <a:pt x="1599" y="2539"/>
                  </a:lnTo>
                  <a:lnTo>
                    <a:pt x="1604" y="2528"/>
                  </a:lnTo>
                  <a:lnTo>
                    <a:pt x="1608" y="2517"/>
                  </a:lnTo>
                  <a:lnTo>
                    <a:pt x="1611" y="2506"/>
                  </a:lnTo>
                  <a:lnTo>
                    <a:pt x="1614" y="2493"/>
                  </a:lnTo>
                  <a:lnTo>
                    <a:pt x="1615" y="2480"/>
                  </a:lnTo>
                  <a:lnTo>
                    <a:pt x="1615" y="2465"/>
                  </a:lnTo>
                  <a:lnTo>
                    <a:pt x="1615" y="2242"/>
                  </a:lnTo>
                  <a:lnTo>
                    <a:pt x="1555" y="2242"/>
                  </a:lnTo>
                  <a:lnTo>
                    <a:pt x="1555" y="2259"/>
                  </a:lnTo>
                  <a:lnTo>
                    <a:pt x="1555" y="2259"/>
                  </a:lnTo>
                  <a:close/>
                  <a:moveTo>
                    <a:pt x="1555" y="2316"/>
                  </a:moveTo>
                  <a:lnTo>
                    <a:pt x="1555" y="2413"/>
                  </a:lnTo>
                  <a:lnTo>
                    <a:pt x="1555" y="2413"/>
                  </a:lnTo>
                  <a:lnTo>
                    <a:pt x="1547" y="2421"/>
                  </a:lnTo>
                  <a:lnTo>
                    <a:pt x="1538" y="2430"/>
                  </a:lnTo>
                  <a:lnTo>
                    <a:pt x="1532" y="2432"/>
                  </a:lnTo>
                  <a:lnTo>
                    <a:pt x="1526" y="2434"/>
                  </a:lnTo>
                  <a:lnTo>
                    <a:pt x="1520" y="2436"/>
                  </a:lnTo>
                  <a:lnTo>
                    <a:pt x="1511" y="2437"/>
                  </a:lnTo>
                  <a:lnTo>
                    <a:pt x="1511" y="2437"/>
                  </a:lnTo>
                  <a:lnTo>
                    <a:pt x="1504" y="2436"/>
                  </a:lnTo>
                  <a:lnTo>
                    <a:pt x="1495" y="2433"/>
                  </a:lnTo>
                  <a:lnTo>
                    <a:pt x="1488" y="2430"/>
                  </a:lnTo>
                  <a:lnTo>
                    <a:pt x="1481" y="2422"/>
                  </a:lnTo>
                  <a:lnTo>
                    <a:pt x="1475" y="2413"/>
                  </a:lnTo>
                  <a:lnTo>
                    <a:pt x="1470" y="2399"/>
                  </a:lnTo>
                  <a:lnTo>
                    <a:pt x="1467" y="2382"/>
                  </a:lnTo>
                  <a:lnTo>
                    <a:pt x="1466" y="2360"/>
                  </a:lnTo>
                  <a:lnTo>
                    <a:pt x="1466" y="2360"/>
                  </a:lnTo>
                  <a:lnTo>
                    <a:pt x="1467" y="2342"/>
                  </a:lnTo>
                  <a:lnTo>
                    <a:pt x="1470" y="2326"/>
                  </a:lnTo>
                  <a:lnTo>
                    <a:pt x="1475" y="2314"/>
                  </a:lnTo>
                  <a:lnTo>
                    <a:pt x="1481" y="2305"/>
                  </a:lnTo>
                  <a:lnTo>
                    <a:pt x="1488" y="2299"/>
                  </a:lnTo>
                  <a:lnTo>
                    <a:pt x="1495" y="2294"/>
                  </a:lnTo>
                  <a:lnTo>
                    <a:pt x="1504" y="2293"/>
                  </a:lnTo>
                  <a:lnTo>
                    <a:pt x="1511" y="2292"/>
                  </a:lnTo>
                  <a:lnTo>
                    <a:pt x="1511" y="2292"/>
                  </a:lnTo>
                  <a:lnTo>
                    <a:pt x="1520" y="2293"/>
                  </a:lnTo>
                  <a:lnTo>
                    <a:pt x="1527" y="2294"/>
                  </a:lnTo>
                  <a:lnTo>
                    <a:pt x="1533" y="2297"/>
                  </a:lnTo>
                  <a:lnTo>
                    <a:pt x="1539" y="2300"/>
                  </a:lnTo>
                  <a:lnTo>
                    <a:pt x="1544" y="2304"/>
                  </a:lnTo>
                  <a:lnTo>
                    <a:pt x="1548" y="2308"/>
                  </a:lnTo>
                  <a:lnTo>
                    <a:pt x="1555" y="2316"/>
                  </a:lnTo>
                  <a:lnTo>
                    <a:pt x="1555" y="2316"/>
                  </a:lnTo>
                  <a:lnTo>
                    <a:pt x="1555" y="2316"/>
                  </a:lnTo>
                  <a:close/>
                  <a:moveTo>
                    <a:pt x="1036" y="2242"/>
                  </a:moveTo>
                  <a:lnTo>
                    <a:pt x="1097" y="2242"/>
                  </a:lnTo>
                  <a:lnTo>
                    <a:pt x="1097" y="2348"/>
                  </a:lnTo>
                  <a:lnTo>
                    <a:pt x="1097" y="2487"/>
                  </a:lnTo>
                  <a:lnTo>
                    <a:pt x="1036" y="2487"/>
                  </a:lnTo>
                  <a:lnTo>
                    <a:pt x="1036" y="2242"/>
                  </a:lnTo>
                  <a:lnTo>
                    <a:pt x="1036" y="2242"/>
                  </a:lnTo>
                  <a:close/>
                  <a:moveTo>
                    <a:pt x="1097" y="2176"/>
                  </a:moveTo>
                  <a:lnTo>
                    <a:pt x="1097" y="2206"/>
                  </a:lnTo>
                  <a:lnTo>
                    <a:pt x="1036" y="2206"/>
                  </a:lnTo>
                  <a:lnTo>
                    <a:pt x="1036" y="2145"/>
                  </a:lnTo>
                  <a:lnTo>
                    <a:pt x="1097" y="2145"/>
                  </a:lnTo>
                  <a:lnTo>
                    <a:pt x="1097" y="2176"/>
                  </a:lnTo>
                  <a:lnTo>
                    <a:pt x="1097" y="2176"/>
                  </a:lnTo>
                  <a:close/>
                  <a:moveTo>
                    <a:pt x="2550" y="2170"/>
                  </a:moveTo>
                  <a:lnTo>
                    <a:pt x="2611" y="2139"/>
                  </a:lnTo>
                  <a:lnTo>
                    <a:pt x="2611" y="2353"/>
                  </a:lnTo>
                  <a:lnTo>
                    <a:pt x="2611" y="2487"/>
                  </a:lnTo>
                  <a:lnTo>
                    <a:pt x="2550" y="2487"/>
                  </a:lnTo>
                  <a:lnTo>
                    <a:pt x="2550" y="2170"/>
                  </a:lnTo>
                  <a:lnTo>
                    <a:pt x="2550" y="2170"/>
                  </a:lnTo>
                  <a:close/>
                  <a:moveTo>
                    <a:pt x="439" y="837"/>
                  </a:moveTo>
                  <a:lnTo>
                    <a:pt x="938" y="837"/>
                  </a:lnTo>
                  <a:lnTo>
                    <a:pt x="938" y="547"/>
                  </a:lnTo>
                  <a:lnTo>
                    <a:pt x="439" y="547"/>
                  </a:lnTo>
                  <a:lnTo>
                    <a:pt x="439" y="319"/>
                  </a:lnTo>
                  <a:lnTo>
                    <a:pt x="992" y="319"/>
                  </a:lnTo>
                  <a:lnTo>
                    <a:pt x="808" y="0"/>
                  </a:lnTo>
                  <a:lnTo>
                    <a:pt x="24" y="0"/>
                  </a:lnTo>
                  <a:lnTo>
                    <a:pt x="24" y="1384"/>
                  </a:lnTo>
                  <a:lnTo>
                    <a:pt x="1130" y="1384"/>
                  </a:lnTo>
                  <a:lnTo>
                    <a:pt x="1130" y="1065"/>
                  </a:lnTo>
                  <a:lnTo>
                    <a:pt x="439" y="1065"/>
                  </a:lnTo>
                  <a:lnTo>
                    <a:pt x="439" y="837"/>
                  </a:lnTo>
                  <a:lnTo>
                    <a:pt x="439" y="837"/>
                  </a:lnTo>
                  <a:close/>
                  <a:moveTo>
                    <a:pt x="1866" y="0"/>
                  </a:moveTo>
                  <a:lnTo>
                    <a:pt x="1631" y="452"/>
                  </a:lnTo>
                  <a:lnTo>
                    <a:pt x="1397" y="0"/>
                  </a:lnTo>
                  <a:lnTo>
                    <a:pt x="938" y="0"/>
                  </a:lnTo>
                  <a:lnTo>
                    <a:pt x="1421" y="837"/>
                  </a:lnTo>
                  <a:lnTo>
                    <a:pt x="1421" y="1384"/>
                  </a:lnTo>
                  <a:lnTo>
                    <a:pt x="1834" y="1384"/>
                  </a:lnTo>
                  <a:lnTo>
                    <a:pt x="1834" y="837"/>
                  </a:lnTo>
                  <a:lnTo>
                    <a:pt x="2318" y="0"/>
                  </a:lnTo>
                  <a:lnTo>
                    <a:pt x="1866" y="0"/>
                  </a:lnTo>
                  <a:lnTo>
                    <a:pt x="186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501" tIns="43250" rIns="86501" bIns="43250" numCol="1" anchor="t" anchorCtr="0" compatLnSpc="1">
              <a:prstTxWarp prst="textNoShape">
                <a:avLst/>
              </a:prstTxWarp>
            </a:bodyPr>
            <a:lstStyle/>
            <a:p>
              <a:pPr marL="0" marR="0" lvl="0" indent="0" defTabSz="993626" eaLnBrk="1" fontAlgn="auto" latinLnBrk="0" hangingPunct="1">
                <a:lnSpc>
                  <a:spcPct val="100000"/>
                </a:lnSpc>
                <a:spcBef>
                  <a:spcPts val="0"/>
                </a:spcBef>
                <a:spcAft>
                  <a:spcPts val="0"/>
                </a:spcAft>
                <a:buClrTx/>
                <a:buSzTx/>
                <a:buFontTx/>
                <a:buNone/>
                <a:tabLst/>
                <a:defRPr/>
              </a:pPr>
              <a:endParaRPr kumimoji="0" lang="en-US" sz="1702" b="0" i="0" u="none" strike="noStrike" kern="0" cap="none" spc="0" normalizeH="0" baseline="0" noProof="0">
                <a:ln>
                  <a:noFill/>
                </a:ln>
                <a:solidFill>
                  <a:srgbClr val="FFFFFF"/>
                </a:solidFill>
                <a:effectLst/>
                <a:uLnTx/>
                <a:uFillTx/>
                <a:latin typeface="Arial"/>
              </a:endParaRPr>
            </a:p>
          </p:txBody>
        </p:sp>
      </p:grpSp>
    </p:spTree>
    <p:extLst>
      <p:ext uri="{BB962C8B-B14F-4D97-AF65-F5344CB8AC3E}">
        <p14:creationId xmlns:p14="http://schemas.microsoft.com/office/powerpoint/2010/main" val="253823294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Key statement">
    <p:bg>
      <p:bgRef idx="1001">
        <a:schemeClr val="bg2"/>
      </p:bgRef>
    </p:bg>
    <p:spTree>
      <p:nvGrpSpPr>
        <p:cNvPr id="1" name=""/>
        <p:cNvGrpSpPr/>
        <p:nvPr/>
      </p:nvGrpSpPr>
      <p:grpSpPr>
        <a:xfrm>
          <a:off x="0" y="0"/>
          <a:ext cx="0" cy="0"/>
          <a:chOff x="0" y="0"/>
          <a:chExt cx="0" cy="0"/>
        </a:xfrm>
      </p:grpSpPr>
      <p:sp>
        <p:nvSpPr>
          <p:cNvPr id="4" name="Rectangle 3"/>
          <p:cNvSpPr/>
          <p:nvPr userDrawn="1"/>
        </p:nvSpPr>
        <p:spPr>
          <a:xfrm>
            <a:off x="148960" y="143853"/>
            <a:ext cx="11905465" cy="645169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rgbClr val="000000"/>
              </a:solidFill>
              <a:latin typeface="Arial"/>
            </a:endParaRPr>
          </a:p>
        </p:txBody>
      </p:sp>
      <p:sp>
        <p:nvSpPr>
          <p:cNvPr id="3" name="Text Placeholder 2"/>
          <p:cNvSpPr>
            <a:spLocks noGrp="1"/>
          </p:cNvSpPr>
          <p:nvPr>
            <p:ph type="body" sz="quarter" idx="11"/>
          </p:nvPr>
        </p:nvSpPr>
        <p:spPr>
          <a:xfrm>
            <a:off x="607803" y="754607"/>
            <a:ext cx="10978515" cy="1643063"/>
          </a:xfrm>
        </p:spPr>
        <p:txBody>
          <a:bodyPr/>
          <a:lstStyle>
            <a:lvl1pPr marL="0" indent="0" algn="l">
              <a:lnSpc>
                <a:spcPct val="85000"/>
              </a:lnSpc>
              <a:spcBef>
                <a:spcPts val="0"/>
              </a:spcBef>
              <a:buNone/>
              <a:defRPr sz="4996" b="1">
                <a:solidFill>
                  <a:schemeClr val="tx2"/>
                </a:solidFill>
                <a:latin typeface="EYInterstate Light" panose="02000506000000020004" pitchFamily="2"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pic>
        <p:nvPicPr>
          <p:cNvPr id="8" name="Picture 7" descr="ey_grey.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03700" y="328847"/>
            <a:ext cx="432985" cy="442693"/>
          </a:xfrm>
          <a:prstGeom prst="rect">
            <a:avLst/>
          </a:prstGeom>
        </p:spPr>
      </p:pic>
    </p:spTree>
    <p:extLst>
      <p:ext uri="{BB962C8B-B14F-4D97-AF65-F5344CB8AC3E}">
        <p14:creationId xmlns:p14="http://schemas.microsoft.com/office/powerpoint/2010/main" val="959665590"/>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Key statemen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1" y="0"/>
            <a:ext cx="1219835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rgbClr val="000000"/>
              </a:solidFill>
              <a:latin typeface="Arial"/>
            </a:endParaRPr>
          </a:p>
        </p:txBody>
      </p:sp>
      <p:pic>
        <p:nvPicPr>
          <p:cNvPr id="8" name="Picture 7" descr="ey_grey.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03700" y="328847"/>
            <a:ext cx="432985" cy="442693"/>
          </a:xfrm>
          <a:prstGeom prst="rect">
            <a:avLst/>
          </a:prstGeom>
        </p:spPr>
      </p:pic>
    </p:spTree>
    <p:extLst>
      <p:ext uri="{BB962C8B-B14F-4D97-AF65-F5344CB8AC3E}">
        <p14:creationId xmlns:p14="http://schemas.microsoft.com/office/powerpoint/2010/main" val="1324027881"/>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Blank 1">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76809" name="think-cell Slide" r:id="rId4" imgW="482" imgH="481" progId="TCLayout.ActiveDocument.1">
                  <p:embed/>
                </p:oleObj>
              </mc:Choice>
              <mc:Fallback>
                <p:oleObj name="think-cell Slide" r:id="rId4" imgW="482" imgH="481" progId="TCLayout.ActiveDocument.1">
                  <p:embed/>
                  <p:pic>
                    <p:nvPicPr>
                      <p:cNvPr id="5" name="Object 4" hidden="1"/>
                      <p:cNvPicPr/>
                      <p:nvPr/>
                    </p:nvPicPr>
                    <p:blipFill>
                      <a:blip r:embed="rId5"/>
                      <a:stretch>
                        <a:fillRect/>
                      </a:stretch>
                    </p:blipFill>
                    <p:spPr>
                      <a:xfrm>
                        <a:off x="1589" y="1589"/>
                        <a:ext cx="1588" cy="1587"/>
                      </a:xfrm>
                      <a:prstGeom prst="rect">
                        <a:avLst/>
                      </a:prstGeom>
                    </p:spPr>
                  </p:pic>
                </p:oleObj>
              </mc:Fallback>
            </mc:AlternateContent>
          </a:graphicData>
        </a:graphic>
      </p:graphicFrame>
      <p:sp>
        <p:nvSpPr>
          <p:cNvPr id="8" name="Slide Number Placeholder 4">
            <a:extLst>
              <a:ext uri="{FF2B5EF4-FFF2-40B4-BE49-F238E27FC236}">
                <a16:creationId xmlns:a16="http://schemas.microsoft.com/office/drawing/2014/main" id="{AAEDB040-AD45-4F20-AE62-914772F8B9FA}"/>
              </a:ext>
            </a:extLst>
          </p:cNvPr>
          <p:cNvSpPr>
            <a:spLocks noGrp="1"/>
          </p:cNvSpPr>
          <p:nvPr>
            <p:ph type="sldNum" sz="quarter" idx="12"/>
          </p:nvPr>
        </p:nvSpPr>
        <p:spPr>
          <a:xfrm>
            <a:off x="617221" y="6471244"/>
            <a:ext cx="663066" cy="180000"/>
          </a:xfrm>
          <a:prstGeom prst="rect">
            <a:avLst/>
          </a:prstGeom>
        </p:spPr>
        <p:txBody>
          <a:bodyPr/>
          <a:lstStyle>
            <a:lvl1pPr>
              <a:defRPr>
                <a:latin typeface="+mj-lt"/>
              </a:defRPr>
            </a:lvl1pPr>
          </a:lstStyle>
          <a:p>
            <a:r>
              <a:rPr lang="en-IN"/>
              <a:t>Page </a:t>
            </a:r>
            <a:fld id="{F1BC30E3-FFE5-4B91-AA19-87A149EBB9EE}" type="slidenum">
              <a:rPr smtClean="0"/>
              <a:pPr/>
              <a:t>‹#›</a:t>
            </a:fld>
            <a:endParaRPr/>
          </a:p>
        </p:txBody>
      </p:sp>
      <p:pic>
        <p:nvPicPr>
          <p:cNvPr id="4" name="Picture 3">
            <a:extLst>
              <a:ext uri="{FF2B5EF4-FFF2-40B4-BE49-F238E27FC236}">
                <a16:creationId xmlns:a16="http://schemas.microsoft.com/office/drawing/2014/main" id="{4C27B735-E891-4646-828D-48A84AC9DD5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81"/>
            <a:ext cx="12192000" cy="6857641"/>
          </a:xfrm>
          <a:prstGeom prst="rect">
            <a:avLst/>
          </a:prstGeom>
        </p:spPr>
      </p:pic>
    </p:spTree>
    <p:extLst>
      <p:ext uri="{BB962C8B-B14F-4D97-AF65-F5344CB8AC3E}">
        <p14:creationId xmlns:p14="http://schemas.microsoft.com/office/powerpoint/2010/main" val="424240705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567042" y="460629"/>
            <a:ext cx="10978515" cy="590400"/>
          </a:xfrm>
          <a:prstGeom prst="rect">
            <a:avLst/>
          </a:prstGeom>
        </p:spPr>
        <p:txBody>
          <a:bodyPr/>
          <a:lstStyle>
            <a:lvl1pPr>
              <a:defRPr lang="en-GB" sz="1998" b="1" kern="1200" spc="-49" dirty="0">
                <a:solidFill>
                  <a:schemeClr val="bg2"/>
                </a:solidFill>
                <a:latin typeface="EYInterstate Light" panose="02000506000000020004" pitchFamily="2" charset="0"/>
                <a:ea typeface="+mn-ea"/>
                <a:cs typeface="Arial" pitchFamily="34" charset="0"/>
              </a:defRPr>
            </a:lvl1pPr>
          </a:lstStyle>
          <a:p>
            <a:endParaRPr lang="en-GB"/>
          </a:p>
        </p:txBody>
      </p:sp>
      <p:grpSp>
        <p:nvGrpSpPr>
          <p:cNvPr id="6" name="Group 5">
            <a:extLst>
              <a:ext uri="{FF2B5EF4-FFF2-40B4-BE49-F238E27FC236}">
                <a16:creationId xmlns:a16="http://schemas.microsoft.com/office/drawing/2014/main" id="{C996CDEE-AE51-49F1-A4FA-63BFFC2302E3}"/>
              </a:ext>
            </a:extLst>
          </p:cNvPr>
          <p:cNvGrpSpPr/>
          <p:nvPr userDrawn="1"/>
        </p:nvGrpSpPr>
        <p:grpSpPr>
          <a:xfrm>
            <a:off x="567876" y="293523"/>
            <a:ext cx="383100" cy="89662"/>
            <a:chOff x="567876" y="293523"/>
            <a:chExt cx="573024" cy="134112"/>
          </a:xfrm>
          <a:solidFill>
            <a:schemeClr val="tx2"/>
          </a:solidFill>
        </p:grpSpPr>
        <p:sp>
          <p:nvSpPr>
            <p:cNvPr id="7" name="Oval 6">
              <a:extLst>
                <a:ext uri="{FF2B5EF4-FFF2-40B4-BE49-F238E27FC236}">
                  <a16:creationId xmlns:a16="http://schemas.microsoft.com/office/drawing/2014/main" id="{692448B8-1534-4002-84A5-C4BBB153244F}"/>
                </a:ext>
              </a:extLst>
            </p:cNvPr>
            <p:cNvSpPr/>
            <p:nvPr userDrawn="1"/>
          </p:nvSpPr>
          <p:spPr>
            <a:xfrm>
              <a:off x="567876"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chemeClr val="tx1"/>
                </a:solidFill>
                <a:latin typeface="Arial" panose="020B0604020202020204" pitchFamily="34" charset="0"/>
              </a:endParaRPr>
            </a:p>
          </p:txBody>
        </p:sp>
        <p:sp>
          <p:nvSpPr>
            <p:cNvPr id="8" name="Oval 7">
              <a:extLst>
                <a:ext uri="{FF2B5EF4-FFF2-40B4-BE49-F238E27FC236}">
                  <a16:creationId xmlns:a16="http://schemas.microsoft.com/office/drawing/2014/main" id="{E0FF5770-DB33-462D-9AE7-C86245D21155}"/>
                </a:ext>
              </a:extLst>
            </p:cNvPr>
            <p:cNvSpPr/>
            <p:nvPr userDrawn="1"/>
          </p:nvSpPr>
          <p:spPr>
            <a:xfrm>
              <a:off x="787332"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chemeClr val="tx1"/>
                </a:solidFill>
                <a:latin typeface="Arial" panose="020B0604020202020204" pitchFamily="34" charset="0"/>
              </a:endParaRPr>
            </a:p>
          </p:txBody>
        </p:sp>
        <p:sp>
          <p:nvSpPr>
            <p:cNvPr id="9" name="Oval 8">
              <a:extLst>
                <a:ext uri="{FF2B5EF4-FFF2-40B4-BE49-F238E27FC236}">
                  <a16:creationId xmlns:a16="http://schemas.microsoft.com/office/drawing/2014/main" id="{D61FA468-781A-4EA6-AEEA-38565A990D3F}"/>
                </a:ext>
              </a:extLst>
            </p:cNvPr>
            <p:cNvSpPr/>
            <p:nvPr userDrawn="1"/>
          </p:nvSpPr>
          <p:spPr>
            <a:xfrm>
              <a:off x="1006788"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chemeClr val="tx1"/>
                </a:solidFill>
                <a:latin typeface="Arial" panose="020B0604020202020204" pitchFamily="34" charset="0"/>
              </a:endParaRPr>
            </a:p>
          </p:txBody>
        </p:sp>
      </p:grpSp>
      <p:cxnSp>
        <p:nvCxnSpPr>
          <p:cNvPr id="10" name="Straight Connector 9">
            <a:extLst>
              <a:ext uri="{FF2B5EF4-FFF2-40B4-BE49-F238E27FC236}">
                <a16:creationId xmlns:a16="http://schemas.microsoft.com/office/drawing/2014/main" id="{A3C9CC9A-B6F7-4C7D-AC6F-685174F69D54}"/>
              </a:ext>
            </a:extLst>
          </p:cNvPr>
          <p:cNvCxnSpPr/>
          <p:nvPr userDrawn="1"/>
        </p:nvCxnSpPr>
        <p:spPr>
          <a:xfrm>
            <a:off x="1055479" y="338354"/>
            <a:ext cx="11155680" cy="0"/>
          </a:xfrm>
          <a:prstGeom prst="line">
            <a:avLst/>
          </a:prstGeom>
          <a:ln w="19050">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9549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0"/>
            <a:ext cx="12198350" cy="6858000"/>
          </a:xfrm>
          <a:prstGeom prst="rect">
            <a:avLst/>
          </a:prstGeom>
        </p:spPr>
      </p:pic>
      <p:sp>
        <p:nvSpPr>
          <p:cNvPr id="5" name="Flowchart: Manual Input 4"/>
          <p:cNvSpPr/>
          <p:nvPr userDrawn="1"/>
        </p:nvSpPr>
        <p:spPr>
          <a:xfrm rot="5400000" flipH="1">
            <a:off x="1041495" y="-1041490"/>
            <a:ext cx="6858000" cy="8941000"/>
          </a:xfrm>
          <a:prstGeom prst="flowChartManualInput">
            <a:avLst/>
          </a:prstGeom>
          <a:solidFill>
            <a:srgbClr val="52525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71910" tIns="71910" rIns="71910" bIns="71910" rtlCol="0" anchor="ctr"/>
          <a:lstStyle/>
          <a:p>
            <a:pPr algn="ctr" fontAlgn="base">
              <a:spcBef>
                <a:spcPct val="0"/>
              </a:spcBef>
              <a:spcAft>
                <a:spcPct val="0"/>
              </a:spcAft>
            </a:pPr>
            <a:endParaRPr lang="en-US" sz="1000" b="1">
              <a:solidFill>
                <a:srgbClr val="FFFFFF"/>
              </a:solidFill>
            </a:endParaRPr>
          </a:p>
        </p:txBody>
      </p:sp>
    </p:spTree>
    <p:extLst>
      <p:ext uri="{BB962C8B-B14F-4D97-AF65-F5344CB8AC3E}">
        <p14:creationId xmlns:p14="http://schemas.microsoft.com/office/powerpoint/2010/main" val="943811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19902451"/>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80905"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42380234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20004750"/>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81929"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37432124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5" name="Line 10"/>
          <p:cNvSpPr>
            <a:spLocks noChangeShapeType="1"/>
          </p:cNvSpPr>
          <p:nvPr/>
        </p:nvSpPr>
        <p:spPr bwMode="auto">
          <a:xfrm>
            <a:off x="609600" y="900000"/>
            <a:ext cx="1097915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
        <p:nvSpPr>
          <p:cNvPr id="6" name="Line 11"/>
          <p:cNvSpPr>
            <a:spLocks noChangeShapeType="1"/>
          </p:cNvSpPr>
          <p:nvPr/>
        </p:nvSpPr>
        <p:spPr bwMode="auto">
          <a:xfrm>
            <a:off x="609600" y="6242050"/>
            <a:ext cx="1097915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917" y="1600201"/>
            <a:ext cx="5387605"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600201"/>
            <a:ext cx="5387605"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167838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996158346"/>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tandard_2_Sub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9037C4-3E4B-4BCD-B76A-55B910818024}"/>
              </a:ext>
            </a:extLst>
          </p:cNvPr>
          <p:cNvGraphicFramePr>
            <a:graphicFrameLocks noChangeAspect="1"/>
          </p:cNvGraphicFramePr>
          <p:nvPr userDrawn="1">
            <p:custDataLst>
              <p:tags r:id="rId2"/>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83977"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1C9037C4-3E4B-4BCD-B76A-55B910818024}"/>
                          </a:ext>
                        </a:extLst>
                      </p:cNvPr>
                      <p:cNvPicPr/>
                      <p:nvPr/>
                    </p:nvPicPr>
                    <p:blipFill>
                      <a:blip r:embed="rId6"/>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C36CF8A-5DD2-4305-8A92-2D1E94CA8090}"/>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0" i="0" baseline="0">
              <a:solidFill>
                <a:schemeClr val="tx1"/>
              </a:solidFill>
              <a:latin typeface="EYInterstate Light" panose="02000506000000020004" pitchFamily="2" charset="0"/>
              <a:ea typeface="+mn-ea"/>
              <a:cs typeface="Arial" panose="020B0604020202020204" pitchFamily="34" charset="0"/>
              <a:sym typeface="EYInterstate Light" panose="02000506000000020004" pitchFamily="2" charset="0"/>
            </a:endParaRPr>
          </a:p>
        </p:txBody>
      </p:sp>
      <p:sp>
        <p:nvSpPr>
          <p:cNvPr id="8" name="Title Placeholder 1">
            <a:extLst>
              <a:ext uri="{FF2B5EF4-FFF2-40B4-BE49-F238E27FC236}">
                <a16:creationId xmlns:a16="http://schemas.microsoft.com/office/drawing/2014/main" id="{070974BE-CE33-42A0-92B4-A0B1612E504F}"/>
              </a:ext>
            </a:extLst>
          </p:cNvPr>
          <p:cNvSpPr>
            <a:spLocks noGrp="1"/>
          </p:cNvSpPr>
          <p:nvPr>
            <p:ph type="title"/>
          </p:nvPr>
        </p:nvSpPr>
        <p:spPr>
          <a:xfrm>
            <a:off x="943905" y="609598"/>
            <a:ext cx="10742128" cy="739984"/>
          </a:xfrm>
          <a:prstGeom prst="rect">
            <a:avLst/>
          </a:prstGeom>
        </p:spPr>
        <p:txBody>
          <a:bodyPr vert="horz" lIns="0" tIns="0" rIns="0" bIns="0" rtlCol="0" anchor="t" anchorCtr="0">
            <a:noAutofit/>
          </a:bodyPr>
          <a:lstStyle>
            <a:lvl1pPr algn="l">
              <a:defRPr sz="2399" b="1">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7849902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39939C-FFFF-4840-A630-5920D91EA450}"/>
              </a:ext>
            </a:extLst>
          </p:cNvPr>
          <p:cNvSpPr>
            <a:spLocks noGrp="1"/>
          </p:cNvSpPr>
          <p:nvPr>
            <p:ph type="dt" sz="half" idx="10"/>
          </p:nvPr>
        </p:nvSpPr>
        <p:spPr/>
        <p:txBody>
          <a:bodyPr/>
          <a:lstStyle/>
          <a:p>
            <a:fld id="{336D77D1-63ED-4070-807B-83BAD09C8E31}" type="datetimeFigureOut">
              <a:rPr lang="en-US" smtClean="0"/>
              <a:t>1/20/2021</a:t>
            </a:fld>
            <a:endParaRPr lang="en-US"/>
          </a:p>
        </p:txBody>
      </p:sp>
      <p:sp>
        <p:nvSpPr>
          <p:cNvPr id="3" name="Footer Placeholder 2">
            <a:extLst>
              <a:ext uri="{FF2B5EF4-FFF2-40B4-BE49-F238E27FC236}">
                <a16:creationId xmlns:a16="http://schemas.microsoft.com/office/drawing/2014/main" id="{1B2B493B-1CD5-4667-BC2D-E77AE925391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D16C7C-E73E-454F-B53E-32F9E3354B7D}"/>
              </a:ext>
            </a:extLst>
          </p:cNvPr>
          <p:cNvSpPr>
            <a:spLocks noGrp="1"/>
          </p:cNvSpPr>
          <p:nvPr>
            <p:ph type="sldNum" sz="quarter" idx="12"/>
          </p:nvPr>
        </p:nvSpPr>
        <p:spPr/>
        <p:txBody>
          <a:bodyPr/>
          <a:lstStyle/>
          <a:p>
            <a:fld id="{6A1D4153-0DCD-4099-94AB-8352168082D9}" type="slidenum">
              <a:rPr lang="en-US" smtClean="0"/>
              <a:t>‹#›</a:t>
            </a:fld>
            <a:endParaRPr lang="en-US"/>
          </a:p>
        </p:txBody>
      </p:sp>
    </p:spTree>
    <p:extLst>
      <p:ext uri="{BB962C8B-B14F-4D97-AF65-F5344CB8AC3E}">
        <p14:creationId xmlns:p14="http://schemas.microsoft.com/office/powerpoint/2010/main" val="12560999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26436784"/>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87049"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34448848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00350788"/>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88073"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14444030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3700308127"/>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3198085"/>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9684760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879"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79"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8" indent="-176128" algn="l" defTabSz="994879"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79"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1" indent="-188821" algn="l" defTabSz="994879"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899864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93193"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1" y="1442"/>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4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878"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87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29255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7" name="Line 10"/>
          <p:cNvSpPr>
            <a:spLocks noChangeShapeType="1"/>
          </p:cNvSpPr>
          <p:nvPr/>
        </p:nvSpPr>
        <p:spPr bwMode="auto">
          <a:xfrm>
            <a:off x="609600" y="1044575"/>
            <a:ext cx="1097915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
        <p:nvSpPr>
          <p:cNvPr id="8" name="Line 11"/>
          <p:cNvSpPr>
            <a:spLocks noChangeShapeType="1"/>
          </p:cNvSpPr>
          <p:nvPr/>
        </p:nvSpPr>
        <p:spPr bwMode="auto">
          <a:xfrm>
            <a:off x="609600" y="6242050"/>
            <a:ext cx="1097915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917" y="2196001"/>
            <a:ext cx="5393208"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4830" y="2178000"/>
            <a:ext cx="5393208"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7" y="1490400"/>
            <a:ext cx="5393208" cy="640800"/>
          </a:xfrm>
        </p:spPr>
        <p:txBody>
          <a:bodyPr anchor="b"/>
          <a:lstStyle>
            <a:lvl1pPr marL="0" indent="0">
              <a:buNone/>
              <a:defRPr b="1"/>
            </a:lvl1pPr>
          </a:lstStyle>
          <a:p>
            <a:pPr lvl="0"/>
            <a:endParaRPr lang="en-GB"/>
          </a:p>
        </p:txBody>
      </p:sp>
      <p:sp>
        <p:nvSpPr>
          <p:cNvPr id="11" name="Text Placeholder 9"/>
          <p:cNvSpPr>
            <a:spLocks noGrp="1"/>
          </p:cNvSpPr>
          <p:nvPr>
            <p:ph type="body" sz="quarter" idx="13"/>
          </p:nvPr>
        </p:nvSpPr>
        <p:spPr>
          <a:xfrm>
            <a:off x="6204830" y="1490400"/>
            <a:ext cx="5393208" cy="640800"/>
          </a:xfrm>
        </p:spPr>
        <p:txBody>
          <a:bodyPr anchor="b"/>
          <a:lstStyle>
            <a:lvl1pPr marL="0" indent="0">
              <a:buNone/>
              <a:defRPr b="1"/>
            </a:lvl1pPr>
          </a:lstStyle>
          <a:p>
            <a:pPr lvl="0"/>
            <a:endParaRPr lang="en-GB"/>
          </a:p>
        </p:txBody>
      </p:sp>
    </p:spTree>
    <p:extLst>
      <p:ext uri="{BB962C8B-B14F-4D97-AF65-F5344CB8AC3E}">
        <p14:creationId xmlns:p14="http://schemas.microsoft.com/office/powerpoint/2010/main" val="3829558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00610990"/>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95241"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2627112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2678584"/>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96265"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513203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3802017632"/>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3138521"/>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4846051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879"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79"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8" indent="-176128" algn="l" defTabSz="994879"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79"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1" indent="-188821" algn="l" defTabSz="994879"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25107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101385"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1" y="1442"/>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4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878"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87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193116064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18239232"/>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103433"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83BE9ED-87EF-4BBE-B243-0CE42D8AFCDD}"/>
              </a:ext>
            </a:extLst>
          </p:cNvPr>
          <p:cNvPicPr>
            <a:picLocks noChangeAspect="1"/>
          </p:cNvPicPr>
          <p:nvPr userDrawn="1"/>
        </p:nvPicPr>
        <p:blipFill rotWithShape="1">
          <a:blip r:embed="rId6" cstate="print">
            <a:duotone>
              <a:prstClr val="black"/>
              <a:schemeClr val="tx2">
                <a:tint val="45000"/>
                <a:satMod val="400000"/>
              </a:schemeClr>
            </a:duotone>
            <a:extLst>
              <a:ext uri="{28A0092B-C50C-407E-A947-70E740481C1C}">
                <a14:useLocalDpi xmlns:a14="http://schemas.microsoft.com/office/drawing/2010/main" val="0"/>
              </a:ext>
            </a:extLst>
          </a:blip>
          <a:srcRect b="15599"/>
          <a:stretch/>
        </p:blipFill>
        <p:spPr>
          <a:xfrm>
            <a:off x="1" y="0"/>
            <a:ext cx="12194055" cy="6858000"/>
          </a:xfrm>
          <a:prstGeom prst="rect">
            <a:avLst/>
          </a:prstGeom>
        </p:spPr>
      </p:pic>
    </p:spTree>
    <p:extLst>
      <p:ext uri="{BB962C8B-B14F-4D97-AF65-F5344CB8AC3E}">
        <p14:creationId xmlns:p14="http://schemas.microsoft.com/office/powerpoint/2010/main" val="252957275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743339"/>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104457"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20397050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46292161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442" y="1440"/>
          <a:ext cx="1441" cy="1440"/>
        </p:xfrm>
        <a:graphic>
          <a:graphicData uri="http://schemas.openxmlformats.org/presentationml/2006/ole">
            <mc:AlternateContent xmlns:mc="http://schemas.openxmlformats.org/markup-compatibility/2006">
              <mc:Choice xmlns:v="urn:schemas-microsoft-com:vml" Requires="v">
                <p:oleObj spid="_x0000_s10249"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442" y="1440"/>
                        <a:ext cx="1441" cy="1440"/>
                      </a:xfrm>
                      <a:prstGeom prst="rect">
                        <a:avLst/>
                      </a:prstGeom>
                    </p:spPr>
                  </p:pic>
                </p:oleObj>
              </mc:Fallback>
            </mc:AlternateContent>
          </a:graphicData>
        </a:graphic>
      </p:graphicFrame>
      <p:sp>
        <p:nvSpPr>
          <p:cNvPr id="6" name="Rectangle 5" hidden="1"/>
          <p:cNvSpPr/>
          <p:nvPr userDrawn="1">
            <p:custDataLst>
              <p:tags r:id="rId3"/>
            </p:custDataLst>
          </p:nvPr>
        </p:nvSpPr>
        <p:spPr>
          <a:xfrm>
            <a:off x="0" y="1"/>
            <a:ext cx="144054" cy="143985"/>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2176" b="0" i="0" baseline="0">
              <a:latin typeface="EYInterstate" panose="02000503020000020004" pitchFamily="2" charset="0"/>
              <a:ea typeface="+mj-ea"/>
              <a:cs typeface="+mj-cs"/>
              <a:sym typeface="EYInterstate" panose="02000503020000020004" pitchFamily="2" charset="0"/>
            </a:endParaRPr>
          </a:p>
        </p:txBody>
      </p:sp>
      <p:sp>
        <p:nvSpPr>
          <p:cNvPr id="5" name="Rectangle 4"/>
          <p:cNvSpPr/>
          <p:nvPr userDrawn="1"/>
        </p:nvSpPr>
        <p:spPr>
          <a:xfrm>
            <a:off x="1" y="6"/>
            <a:ext cx="12198350" cy="1012457"/>
          </a:xfrm>
          <a:prstGeom prst="rect">
            <a:avLst/>
          </a:prstGeom>
          <a:solidFill>
            <a:schemeClr val="bg1">
              <a:lumMod val="5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4308" tIns="64308" rIns="64308" bIns="64308" rtlCol="0" anchor="ctr"/>
          <a:lstStyle/>
          <a:p>
            <a:pPr algn="ctr" defTabSz="931535" eaLnBrk="1"/>
            <a:endParaRPr lang="en-GB" sz="907" b="1">
              <a:solidFill>
                <a:srgbClr val="FFFFFF"/>
              </a:solidFill>
              <a:latin typeface="EYInterstate Light" panose="02000506000000020004" pitchFamily="2" charset="0"/>
            </a:endParaRPr>
          </a:p>
        </p:txBody>
      </p:sp>
      <p:sp>
        <p:nvSpPr>
          <p:cNvPr id="2" name="Title 1"/>
          <p:cNvSpPr>
            <a:spLocks noGrp="1"/>
          </p:cNvSpPr>
          <p:nvPr>
            <p:ph type="title"/>
          </p:nvPr>
        </p:nvSpPr>
        <p:spPr>
          <a:xfrm>
            <a:off x="622959" y="207223"/>
            <a:ext cx="10841972" cy="555079"/>
          </a:xfrm>
        </p:spPr>
        <p:txBody>
          <a:bodyPr/>
          <a:lstStyle/>
          <a:p>
            <a:r>
              <a:rPr lang="en-GB"/>
              <a:t>Click to edit Master title style</a:t>
            </a:r>
          </a:p>
        </p:txBody>
      </p:sp>
      <p:sp>
        <p:nvSpPr>
          <p:cNvPr id="4" name="Slide Number Placeholder 3"/>
          <p:cNvSpPr>
            <a:spLocks noGrp="1"/>
          </p:cNvSpPr>
          <p:nvPr>
            <p:ph type="sldNum" sz="quarter" idx="11"/>
          </p:nvPr>
        </p:nvSpPr>
        <p:spPr>
          <a:xfrm>
            <a:off x="10952438" y="6396466"/>
            <a:ext cx="557764" cy="130607"/>
          </a:xfrm>
          <a:prstGeom prst="rect">
            <a:avLst/>
          </a:prstGeom>
        </p:spPr>
        <p:txBody>
          <a:bodyPr vert="horz" lIns="0" tIns="0" rIns="0" bIns="0" rtlCol="0" anchor="ctr"/>
          <a:lstStyle>
            <a:lvl1pPr marL="0" algn="r" defTabSz="945935" rtl="0" eaLnBrk="1" latinLnBrk="0" hangingPunct="1">
              <a:defRPr lang="en-GB" sz="635" kern="1200" smtClean="0">
                <a:solidFill>
                  <a:srgbClr val="404040"/>
                </a:solidFill>
                <a:latin typeface="+mn-lt"/>
                <a:ea typeface="+mn-ea"/>
                <a:cs typeface="+mn-cs"/>
              </a:defRPr>
            </a:lvl1pPr>
          </a:lstStyle>
          <a:p>
            <a:fld id="{F9A56513-F998-4254-9CEB-F507EE6F3742}" type="slidenum">
              <a:rPr lang="en-GB" smtClean="0"/>
              <a:pPr/>
              <a:t>‹#›</a:t>
            </a:fld>
            <a:endParaRPr lang="en-GB"/>
          </a:p>
        </p:txBody>
      </p:sp>
      <p:sp>
        <p:nvSpPr>
          <p:cNvPr id="8" name="Line 10">
            <a:extLst>
              <a:ext uri="{FF2B5EF4-FFF2-40B4-BE49-F238E27FC236}">
                <a16:creationId xmlns:a16="http://schemas.microsoft.com/office/drawing/2014/main" id="{F3695ED4-347C-4D8A-8DE6-1C9F183285C9}"/>
              </a:ext>
            </a:extLst>
          </p:cNvPr>
          <p:cNvSpPr>
            <a:spLocks noChangeShapeType="1"/>
          </p:cNvSpPr>
          <p:nvPr userDrawn="1"/>
        </p:nvSpPr>
        <p:spPr bwMode="auto">
          <a:xfrm>
            <a:off x="609600" y="1044575"/>
            <a:ext cx="1097915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a:solidFill>
                <a:schemeClr val="bg1"/>
              </a:solidFill>
            </a:endParaRPr>
          </a:p>
        </p:txBody>
      </p:sp>
    </p:spTree>
    <p:extLst>
      <p:ext uri="{BB962C8B-B14F-4D97-AF65-F5344CB8AC3E}">
        <p14:creationId xmlns:p14="http://schemas.microsoft.com/office/powerpoint/2010/main" val="38799044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4388096"/>
      </p:ext>
    </p:extLst>
  </p:cSld>
  <p:clrMapOvr>
    <a:overrideClrMapping bg1="dk1" tx1="lt1" bg2="dk2" tx2="lt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21865644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2587550"/>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109577"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BA8B177-D175-4D5D-8912-2C8BA53F5CE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Tree>
    <p:extLst>
      <p:ext uri="{BB962C8B-B14F-4D97-AF65-F5344CB8AC3E}">
        <p14:creationId xmlns:p14="http://schemas.microsoft.com/office/powerpoint/2010/main" val="12720654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tandard slide_no bullets_no header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72304827"/>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110601"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41" y="1442"/>
                        <a:ext cx="1441" cy="1439"/>
                      </a:xfrm>
                      <a:prstGeom prst="rect">
                        <a:avLst/>
                      </a:prstGeom>
                    </p:spPr>
                  </p:pic>
                </p:oleObj>
              </mc:Fallback>
            </mc:AlternateContent>
          </a:graphicData>
        </a:graphic>
      </p:graphicFrame>
      <p:sp>
        <p:nvSpPr>
          <p:cNvPr id="2" name="Title 1"/>
          <p:cNvSpPr>
            <a:spLocks noGrp="1"/>
          </p:cNvSpPr>
          <p:nvPr>
            <p:ph type="title" hasCustomPrompt="1"/>
          </p:nvPr>
        </p:nvSpPr>
        <p:spPr>
          <a:xfrm>
            <a:off x="855875" y="551813"/>
            <a:ext cx="10616769" cy="672625"/>
          </a:xfrm>
          <a:prstGeom prst="rect">
            <a:avLst/>
          </a:prstGeom>
        </p:spPr>
        <p:txBody>
          <a:bodyPr/>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2309783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BBA6AB-52DA-1F4F-A9F2-32A0449550D3}"/>
              </a:ext>
            </a:extLst>
          </p:cNvPr>
          <p:cNvSpPr/>
          <p:nvPr userDrawn="1"/>
        </p:nvSpPr>
        <p:spPr>
          <a:xfrm>
            <a:off x="856514" y="388329"/>
            <a:ext cx="1143344" cy="979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CEA215F3-869A-0348-BB46-F05B965212F4}"/>
              </a:ext>
            </a:extLst>
          </p:cNvPr>
          <p:cNvSpPr>
            <a:spLocks noGrp="1"/>
          </p:cNvSpPr>
          <p:nvPr>
            <p:ph type="title"/>
          </p:nvPr>
        </p:nvSpPr>
        <p:spPr>
          <a:xfrm>
            <a:off x="856514" y="551813"/>
            <a:ext cx="10978516" cy="736156"/>
          </a:xfrm>
          <a:prstGeom prst="rect">
            <a:avLst/>
          </a:prstGeom>
        </p:spPr>
        <p:txBody>
          <a:bodyPr lIns="0"/>
          <a:lstStyle>
            <a:lvl1pPr>
              <a:defRPr sz="2177"/>
            </a:lvl1pPr>
          </a:lstStyle>
          <a:p>
            <a:r>
              <a:rPr lang="en-US"/>
              <a:t>Click to edit Master title style</a:t>
            </a:r>
            <a:endParaRPr lang="en-GB"/>
          </a:p>
        </p:txBody>
      </p:sp>
    </p:spTree>
    <p:extLst>
      <p:ext uri="{BB962C8B-B14F-4D97-AF65-F5344CB8AC3E}">
        <p14:creationId xmlns:p14="http://schemas.microsoft.com/office/powerpoint/2010/main" val="1268203437"/>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21717"/>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5_Blank">
    <p:bg>
      <p:bgPr>
        <a:solidFill>
          <a:schemeClr val="tx1"/>
        </a:solidFill>
        <a:effectLst/>
      </p:bgPr>
    </p:bg>
    <p:spTree>
      <p:nvGrpSpPr>
        <p:cNvPr id="1" name=""/>
        <p:cNvGrpSpPr/>
        <p:nvPr/>
      </p:nvGrpSpPr>
      <p:grpSpPr>
        <a:xfrm>
          <a:off x="0" y="0"/>
          <a:ext cx="0" cy="0"/>
          <a:chOff x="0" y="0"/>
          <a:chExt cx="0" cy="0"/>
        </a:xfrm>
      </p:grpSpPr>
      <p:sp>
        <p:nvSpPr>
          <p:cNvPr id="15" name="object 7">
            <a:extLst>
              <a:ext uri="{FF2B5EF4-FFF2-40B4-BE49-F238E27FC236}">
                <a16:creationId xmlns:a16="http://schemas.microsoft.com/office/drawing/2014/main" id="{A9E07F53-5493-D745-9EB3-56AA82429EB9}"/>
              </a:ext>
            </a:extLst>
          </p:cNvPr>
          <p:cNvSpPr/>
          <p:nvPr userDrawn="1"/>
        </p:nvSpPr>
        <p:spPr>
          <a:xfrm>
            <a:off x="648084" y="360000"/>
            <a:ext cx="3600469" cy="0"/>
          </a:xfrm>
          <a:custGeom>
            <a:avLst/>
            <a:gdLst/>
            <a:ahLst/>
            <a:cxnLst/>
            <a:rect l="l" t="t" r="r" b="b"/>
            <a:pathLst>
              <a:path w="7721600">
                <a:moveTo>
                  <a:pt x="0" y="0"/>
                </a:moveTo>
                <a:lnTo>
                  <a:pt x="7721600" y="0"/>
                </a:lnTo>
              </a:path>
            </a:pathLst>
          </a:custGeom>
          <a:ln w="19050">
            <a:solidFill>
              <a:schemeClr val="accent3"/>
            </a:solidFill>
          </a:ln>
        </p:spPr>
        <p:txBody>
          <a:bodyPr wrap="square" lIns="0" tIns="0" rIns="0" bIns="0" rtlCol="0"/>
          <a:lstStyle/>
          <a:p>
            <a:endParaRPr sz="1471"/>
          </a:p>
        </p:txBody>
      </p:sp>
      <p:sp>
        <p:nvSpPr>
          <p:cNvPr id="24" name="Title 23">
            <a:extLst>
              <a:ext uri="{FF2B5EF4-FFF2-40B4-BE49-F238E27FC236}">
                <a16:creationId xmlns:a16="http://schemas.microsoft.com/office/drawing/2014/main" id="{74582B84-AFBF-C14B-A4DA-884520648B28}"/>
              </a:ext>
            </a:extLst>
          </p:cNvPr>
          <p:cNvSpPr>
            <a:spLocks noGrp="1"/>
          </p:cNvSpPr>
          <p:nvPr>
            <p:ph type="title" hasCustomPrompt="1"/>
          </p:nvPr>
        </p:nvSpPr>
        <p:spPr>
          <a:xfrm>
            <a:off x="648085" y="432003"/>
            <a:ext cx="10801405" cy="503999"/>
          </a:xfrm>
          <a:prstGeom prst="rect">
            <a:avLst/>
          </a:prstGeom>
        </p:spPr>
        <p:txBody>
          <a:bodyPr vert="horz" wrap="square" lIns="0" tIns="0" rIns="0" bIns="0" rtlCol="0">
            <a:noAutofit/>
          </a:bodyPr>
          <a:lstStyle>
            <a:lvl1pPr>
              <a:defRPr lang="en-US" sz="2000" spc="-49" dirty="0">
                <a:solidFill>
                  <a:srgbClr val="575756"/>
                </a:solidFill>
                <a:latin typeface="EYInterstate Light" panose="02000506000000020004" pitchFamily="2" charset="0"/>
                <a:ea typeface="+mn-ea"/>
                <a:cs typeface="EYInterstate Light" panose="02000506000000020004" pitchFamily="2" charset="0"/>
              </a:defRPr>
            </a:lvl1pPr>
          </a:lstStyle>
          <a:p>
            <a:pPr marL="11206" lvl="0" defTabSz="806841">
              <a:lnSpc>
                <a:spcPct val="100000"/>
              </a:lnSpc>
            </a:pPr>
            <a:r>
              <a:rPr lang="en-US"/>
              <a:t>CLICK TO EDIT MASTER TITLE STYLE</a:t>
            </a:r>
          </a:p>
        </p:txBody>
      </p:sp>
    </p:spTree>
    <p:extLst>
      <p:ext uri="{BB962C8B-B14F-4D97-AF65-F5344CB8AC3E}">
        <p14:creationId xmlns:p14="http://schemas.microsoft.com/office/powerpoint/2010/main" val="400809102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800" y="719139"/>
            <a:ext cx="4677635" cy="5210062"/>
          </a:xfrm>
        </p:spPr>
        <p:txBody>
          <a:bodyPr/>
          <a:lstStyle>
            <a:lvl1pPr marL="0" indent="0" algn="l" defTabSz="994879"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79"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8" indent="-176128" algn="l" defTabSz="994879"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79"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1" indent="-188821" algn="l" defTabSz="994879"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33201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tandard slide_no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115721" name="think-cell Slide" r:id="rId5" imgW="493" imgH="493" progId="TCLayout.ActiveDocument.1">
                  <p:embed/>
                </p:oleObj>
              </mc:Choice>
              <mc:Fallback>
                <p:oleObj name="think-cell Slide" r:id="rId5" imgW="493" imgH="493" progId="TCLayout.ActiveDocument.1">
                  <p:embed/>
                  <p:pic>
                    <p:nvPicPr>
                      <p:cNvPr id="4" name="Object 3" hidden="1"/>
                      <p:cNvPicPr/>
                      <p:nvPr/>
                    </p:nvPicPr>
                    <p:blipFill>
                      <a:blip r:embed="rId6"/>
                      <a:stretch>
                        <a:fillRect/>
                      </a:stretch>
                    </p:blipFill>
                    <p:spPr>
                      <a:xfrm>
                        <a:off x="1441" y="1442"/>
                        <a:ext cx="1441"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8C480-31F7-4AF2-94A8-D031DC713528}"/>
              </a:ext>
            </a:extLst>
          </p:cNvPr>
          <p:cNvSpPr/>
          <p:nvPr userDrawn="1">
            <p:custDataLst>
              <p:tags r:id="rId3"/>
            </p:custDataLst>
          </p:nvPr>
        </p:nvSpPr>
        <p:spPr>
          <a:xfrm>
            <a:off x="0" y="0"/>
            <a:ext cx="144052" cy="14398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540"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hasCustomPrompt="1"/>
          </p:nvPr>
        </p:nvSpPr>
        <p:spPr/>
        <p:txBody>
          <a:bodyPr/>
          <a:lstStyle/>
          <a:p>
            <a:r>
              <a:rPr lang="en-US"/>
              <a:t>CLICK TO EDIT MASTER TITLE STYLE</a:t>
            </a:r>
          </a:p>
        </p:txBody>
      </p:sp>
      <p:sp>
        <p:nvSpPr>
          <p:cNvPr id="5" name="Text Placeholder 2"/>
          <p:cNvSpPr>
            <a:spLocks noGrp="1"/>
          </p:cNvSpPr>
          <p:nvPr>
            <p:ph type="body" sz="quarter" idx="10" hasCustomPrompt="1"/>
          </p:nvPr>
        </p:nvSpPr>
        <p:spPr>
          <a:xfrm>
            <a:off x="609918" y="5915242"/>
            <a:ext cx="10980470" cy="324092"/>
          </a:xfrm>
        </p:spPr>
        <p:txBody>
          <a:bodyPr anchor="b"/>
          <a:lstStyle>
            <a:lvl1pPr marL="0" marR="0" indent="0" algn="l" defTabSz="781878" rtl="0" eaLnBrk="1" fontAlgn="auto" latinLnBrk="0" hangingPunct="1">
              <a:lnSpc>
                <a:spcPct val="100000"/>
              </a:lnSpc>
              <a:spcBef>
                <a:spcPts val="0"/>
              </a:spcBef>
              <a:spcAft>
                <a:spcPts val="0"/>
              </a:spcAft>
              <a:buClr>
                <a:schemeClr val="accent2"/>
              </a:buClr>
              <a:buSzPct val="70000"/>
              <a:buFont typeface="Arial" pitchFamily="34" charset="0"/>
              <a:buNone/>
              <a:tabLst/>
              <a:defRPr sz="684" baseline="0">
                <a:solidFill>
                  <a:schemeClr val="bg1"/>
                </a:solidFill>
                <a:latin typeface="EYInterstate" panose="02000503020000020004" pitchFamily="2" charset="0"/>
                <a:cs typeface="Arial" panose="020B0604020202020204" pitchFamily="34" charset="0"/>
                <a:sym typeface="EYInterstate"/>
              </a:defRPr>
            </a:lvl1pPr>
          </a:lstStyle>
          <a:p>
            <a:pPr marL="0" marR="0" lvl="0" indent="0" algn="l" defTabSz="781878"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a:t>Notes and sources:</a:t>
            </a:r>
          </a:p>
        </p:txBody>
      </p:sp>
    </p:spTree>
    <p:extLst>
      <p:ext uri="{BB962C8B-B14F-4D97-AF65-F5344CB8AC3E}">
        <p14:creationId xmlns:p14="http://schemas.microsoft.com/office/powerpoint/2010/main" val="24172715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65000"/>
                    <a:lumOff val="35000"/>
                  </a:schemeClr>
                </a:solidFill>
              </a:defRPr>
            </a:lvl1pPr>
          </a:lstStyle>
          <a:p>
            <a:r>
              <a:rPr lang="en-US"/>
              <a:t>Click to edit Master title style</a:t>
            </a:r>
            <a:endParaRPr lang="en-GB"/>
          </a:p>
        </p:txBody>
      </p:sp>
      <p:sp>
        <p:nvSpPr>
          <p:cNvPr id="4" name="Footer Placeholder 4"/>
          <p:cNvSpPr>
            <a:spLocks noGrp="1"/>
          </p:cNvSpPr>
          <p:nvPr>
            <p:ph type="ftr" sz="quarter" idx="3"/>
          </p:nvPr>
        </p:nvSpPr>
        <p:spPr>
          <a:xfrm>
            <a:off x="3811104" y="6415200"/>
            <a:ext cx="4581585" cy="201600"/>
          </a:xfrm>
          <a:prstGeom prst="rect">
            <a:avLst/>
          </a:prstGeom>
        </p:spPr>
        <p:txBody>
          <a:bodyPr vert="horz" lIns="0" tIns="0" rIns="0" bIns="0" rtlCol="0" anchor="b" anchorCtr="0">
            <a:noAutofit/>
          </a:bodyPr>
          <a:lstStyle>
            <a:lvl1pPr algn="l">
              <a:defRPr sz="725">
                <a:solidFill>
                  <a:schemeClr val="bg1"/>
                </a:solidFill>
                <a:latin typeface="EYInterstate Light" panose="02000506000000020004" pitchFamily="2" charset="0"/>
              </a:defRPr>
            </a:lvl1pPr>
          </a:lstStyle>
          <a:p>
            <a:pPr algn="ctr"/>
            <a:r>
              <a:rPr lang="en-US"/>
              <a:t>EY Confidential – All Rights Reserved</a:t>
            </a:r>
          </a:p>
        </p:txBody>
      </p:sp>
      <p:sp>
        <p:nvSpPr>
          <p:cNvPr id="9" name="Text Placeholder 6"/>
          <p:cNvSpPr>
            <a:spLocks noGrp="1"/>
          </p:cNvSpPr>
          <p:nvPr>
            <p:ph type="body" sz="quarter" idx="10"/>
          </p:nvPr>
        </p:nvSpPr>
        <p:spPr>
          <a:xfrm>
            <a:off x="610591" y="609322"/>
            <a:ext cx="10977246" cy="347916"/>
          </a:xfrm>
          <a:noFill/>
        </p:spPr>
        <p:txBody>
          <a:bodyPr>
            <a:spAutoFit/>
          </a:bodyPr>
          <a:lstStyle>
            <a:lvl1pPr marL="0" indent="0">
              <a:buNone/>
              <a:defRPr>
                <a:solidFill>
                  <a:schemeClr val="tx1">
                    <a:lumMod val="65000"/>
                    <a:lumOff val="35000"/>
                  </a:schemeClr>
                </a:solidFill>
              </a:defRPr>
            </a:lvl1pPr>
          </a:lstStyle>
          <a:p>
            <a:pPr lvl="0"/>
            <a:endParaRPr lang="en-GB"/>
          </a:p>
        </p:txBody>
      </p:sp>
    </p:spTree>
    <p:extLst>
      <p:ext uri="{BB962C8B-B14F-4D97-AF65-F5344CB8AC3E}">
        <p14:creationId xmlns:p14="http://schemas.microsoft.com/office/powerpoint/2010/main" val="747062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theme" Target="../theme/theme10.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slideLayout" Target="../slideLayouts/slideLayout70.xml"/><Relationship Id="rId7" Type="http://schemas.openxmlformats.org/officeDocument/2006/relationships/vmlDrawing" Target="../drawings/vmlDrawing34.vml"/><Relationship Id="rId12" Type="http://schemas.openxmlformats.org/officeDocument/2006/relationships/image" Target="../media/image19.png"/><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theme" Target="../theme/theme11.xml"/><Relationship Id="rId11" Type="http://schemas.openxmlformats.org/officeDocument/2006/relationships/image" Target="../media/image14.emf"/><Relationship Id="rId5" Type="http://schemas.openxmlformats.org/officeDocument/2006/relationships/slideLayout" Target="../slideLayouts/slideLayout72.xml"/><Relationship Id="rId10" Type="http://schemas.openxmlformats.org/officeDocument/2006/relationships/oleObject" Target="../embeddings/oleObject27.bin"/><Relationship Id="rId4" Type="http://schemas.openxmlformats.org/officeDocument/2006/relationships/slideLayout" Target="../slideLayouts/slideLayout71.xml"/><Relationship Id="rId9" Type="http://schemas.openxmlformats.org/officeDocument/2006/relationships/tags" Target="../tags/tag52.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13" Type="http://schemas.openxmlformats.org/officeDocument/2006/relationships/image" Target="../media/image14.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31.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58.xml"/><Relationship Id="rId5" Type="http://schemas.openxmlformats.org/officeDocument/2006/relationships/slideLayout" Target="../slideLayouts/slideLayout77.xml"/><Relationship Id="rId10" Type="http://schemas.openxmlformats.org/officeDocument/2006/relationships/tags" Target="../tags/tag57.xml"/><Relationship Id="rId4" Type="http://schemas.openxmlformats.org/officeDocument/2006/relationships/slideLayout" Target="../slideLayouts/slideLayout76.xml"/><Relationship Id="rId9" Type="http://schemas.openxmlformats.org/officeDocument/2006/relationships/vmlDrawing" Target="../drawings/vmlDrawing38.vml"/><Relationship Id="rId14" Type="http://schemas.openxmlformats.org/officeDocument/2006/relationships/image" Target="../media/image15.png"/></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13" Type="http://schemas.openxmlformats.org/officeDocument/2006/relationships/image" Target="../media/image14.emf"/><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oleObject" Target="../embeddings/oleObject35.bin"/><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tags" Target="../tags/tag64.xml"/><Relationship Id="rId5" Type="http://schemas.openxmlformats.org/officeDocument/2006/relationships/slideLayout" Target="../slideLayouts/slideLayout84.xml"/><Relationship Id="rId10" Type="http://schemas.openxmlformats.org/officeDocument/2006/relationships/tags" Target="../tags/tag63.xml"/><Relationship Id="rId4" Type="http://schemas.openxmlformats.org/officeDocument/2006/relationships/slideLayout" Target="../slideLayouts/slideLayout83.xml"/><Relationship Id="rId9" Type="http://schemas.openxmlformats.org/officeDocument/2006/relationships/vmlDrawing" Target="../drawings/vmlDrawing42.vml"/><Relationship Id="rId14" Type="http://schemas.openxmlformats.org/officeDocument/2006/relationships/image" Target="../media/image15.pn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slideLayout" Target="../slideLayouts/slideLayout89.xml"/><Relationship Id="rId7" Type="http://schemas.openxmlformats.org/officeDocument/2006/relationships/vmlDrawing" Target="../drawings/vmlDrawing46.vml"/><Relationship Id="rId12" Type="http://schemas.openxmlformats.org/officeDocument/2006/relationships/image" Target="../media/image15.png"/><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theme" Target="../theme/theme14.xml"/><Relationship Id="rId11" Type="http://schemas.openxmlformats.org/officeDocument/2006/relationships/image" Target="../media/image14.emf"/><Relationship Id="rId5" Type="http://schemas.openxmlformats.org/officeDocument/2006/relationships/slideLayout" Target="../slideLayouts/slideLayout91.xml"/><Relationship Id="rId10" Type="http://schemas.openxmlformats.org/officeDocument/2006/relationships/oleObject" Target="../embeddings/oleObject39.bin"/><Relationship Id="rId4" Type="http://schemas.openxmlformats.org/officeDocument/2006/relationships/slideLayout" Target="../slideLayouts/slideLayout90.xml"/><Relationship Id="rId9" Type="http://schemas.openxmlformats.org/officeDocument/2006/relationships/tags" Target="../tags/tag7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oleObject" Target="../embeddings/oleObject42.bin"/><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ags" Target="../tags/tag74.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ags" Target="../tags/tag73.xml"/><Relationship Id="rId5" Type="http://schemas.openxmlformats.org/officeDocument/2006/relationships/slideLayout" Target="../slideLayouts/slideLayout96.xml"/><Relationship Id="rId15" Type="http://schemas.openxmlformats.org/officeDocument/2006/relationships/image" Target="../media/image19.png"/><Relationship Id="rId10" Type="http://schemas.openxmlformats.org/officeDocument/2006/relationships/vmlDrawing" Target="../drawings/vmlDrawing49.vml"/><Relationship Id="rId4" Type="http://schemas.openxmlformats.org/officeDocument/2006/relationships/slideLayout" Target="../slideLayouts/slideLayout95.xml"/><Relationship Id="rId9" Type="http://schemas.openxmlformats.org/officeDocument/2006/relationships/theme" Target="../theme/theme15.xml"/><Relationship Id="rId14" Type="http://schemas.openxmlformats.org/officeDocument/2006/relationships/image" Target="../media/image14.emf"/></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slideLayout" Target="../slideLayouts/slideLayout102.xml"/><Relationship Id="rId7" Type="http://schemas.openxmlformats.org/officeDocument/2006/relationships/vmlDrawing" Target="../drawings/vmlDrawing53.vml"/><Relationship Id="rId12" Type="http://schemas.openxmlformats.org/officeDocument/2006/relationships/image" Target="../media/image19.png"/><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theme" Target="../theme/theme16.xml"/><Relationship Id="rId11" Type="http://schemas.openxmlformats.org/officeDocument/2006/relationships/image" Target="../media/image14.emf"/><Relationship Id="rId5" Type="http://schemas.openxmlformats.org/officeDocument/2006/relationships/slideLayout" Target="../slideLayouts/slideLayout104.xml"/><Relationship Id="rId10" Type="http://schemas.openxmlformats.org/officeDocument/2006/relationships/oleObject" Target="../embeddings/oleObject46.bin"/><Relationship Id="rId4" Type="http://schemas.openxmlformats.org/officeDocument/2006/relationships/slideLayout" Target="../slideLayouts/slideLayout103.xml"/><Relationship Id="rId9" Type="http://schemas.openxmlformats.org/officeDocument/2006/relationships/tags" Target="../tags/tag80.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slideLayout" Target="../slideLayouts/slideLayout107.xml"/><Relationship Id="rId7" Type="http://schemas.openxmlformats.org/officeDocument/2006/relationships/vmlDrawing" Target="../drawings/vmlDrawing56.vml"/><Relationship Id="rId12" Type="http://schemas.openxmlformats.org/officeDocument/2006/relationships/image" Target="../media/image15.png"/><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theme" Target="../theme/theme17.xml"/><Relationship Id="rId11" Type="http://schemas.openxmlformats.org/officeDocument/2006/relationships/image" Target="../media/image14.emf"/><Relationship Id="rId5" Type="http://schemas.openxmlformats.org/officeDocument/2006/relationships/slideLayout" Target="../slideLayouts/slideLayout109.xml"/><Relationship Id="rId10" Type="http://schemas.openxmlformats.org/officeDocument/2006/relationships/oleObject" Target="../embeddings/oleObject49.bin"/><Relationship Id="rId4" Type="http://schemas.openxmlformats.org/officeDocument/2006/relationships/slideLayout" Target="../slideLayouts/slideLayout108.xml"/><Relationship Id="rId9" Type="http://schemas.openxmlformats.org/officeDocument/2006/relationships/tags" Target="../tags/tag84.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13" Type="http://schemas.openxmlformats.org/officeDocument/2006/relationships/image" Target="../media/image14.emf"/><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oleObject" Target="../embeddings/oleObject52.bin"/><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tags" Target="../tags/tag88.xml"/><Relationship Id="rId5" Type="http://schemas.openxmlformats.org/officeDocument/2006/relationships/slideLayout" Target="../slideLayouts/slideLayout114.xml"/><Relationship Id="rId10" Type="http://schemas.openxmlformats.org/officeDocument/2006/relationships/tags" Target="../tags/tag87.xml"/><Relationship Id="rId4" Type="http://schemas.openxmlformats.org/officeDocument/2006/relationships/slideLayout" Target="../slideLayouts/slideLayout113.xml"/><Relationship Id="rId9" Type="http://schemas.openxmlformats.org/officeDocument/2006/relationships/vmlDrawing" Target="../drawings/vmlDrawing59.vml"/><Relationship Id="rId14" Type="http://schemas.openxmlformats.org/officeDocument/2006/relationships/image" Target="../media/image15.png"/></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13" Type="http://schemas.openxmlformats.org/officeDocument/2006/relationships/image" Target="../media/image14.emf"/><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oleObject" Target="../embeddings/oleObject56.bin"/><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94.xml"/><Relationship Id="rId5" Type="http://schemas.openxmlformats.org/officeDocument/2006/relationships/slideLayout" Target="../slideLayouts/slideLayout121.xml"/><Relationship Id="rId10" Type="http://schemas.openxmlformats.org/officeDocument/2006/relationships/tags" Target="../tags/tag93.xml"/><Relationship Id="rId4" Type="http://schemas.openxmlformats.org/officeDocument/2006/relationships/slideLayout" Target="../slideLayouts/slideLayout120.xml"/><Relationship Id="rId9" Type="http://schemas.openxmlformats.org/officeDocument/2006/relationships/vmlDrawing" Target="../drawings/vmlDrawing63.vml"/><Relationship Id="rId14" Type="http://schemas.openxmlformats.org/officeDocument/2006/relationships/image" Target="../media/image15.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heme" Target="../theme/theme2.xml"/><Relationship Id="rId7" Type="http://schemas.openxmlformats.org/officeDocument/2006/relationships/oleObject" Target="../embeddings/oleObject7.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vmlDrawing" Target="../drawings/vmlDrawing7.vml"/></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slideLayout" Target="../slideLayouts/slideLayout126.xml"/><Relationship Id="rId7" Type="http://schemas.openxmlformats.org/officeDocument/2006/relationships/vmlDrawing" Target="../drawings/vmlDrawing67.vml"/><Relationship Id="rId12" Type="http://schemas.openxmlformats.org/officeDocument/2006/relationships/image" Target="../media/image15.png"/><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theme" Target="../theme/theme20.xml"/><Relationship Id="rId11" Type="http://schemas.openxmlformats.org/officeDocument/2006/relationships/image" Target="../media/image14.emf"/><Relationship Id="rId5" Type="http://schemas.openxmlformats.org/officeDocument/2006/relationships/slideLayout" Target="../slideLayouts/slideLayout128.xml"/><Relationship Id="rId10" Type="http://schemas.openxmlformats.org/officeDocument/2006/relationships/oleObject" Target="../embeddings/oleObject60.bin"/><Relationship Id="rId4" Type="http://schemas.openxmlformats.org/officeDocument/2006/relationships/slideLayout" Target="../slideLayouts/slideLayout127.xml"/><Relationship Id="rId9" Type="http://schemas.openxmlformats.org/officeDocument/2006/relationships/tags" Target="../tags/tag100.xml"/></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13" Type="http://schemas.openxmlformats.org/officeDocument/2006/relationships/image" Target="../media/image14.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63.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104.xml"/><Relationship Id="rId5" Type="http://schemas.openxmlformats.org/officeDocument/2006/relationships/slideLayout" Target="../slideLayouts/slideLayout133.xml"/><Relationship Id="rId10" Type="http://schemas.openxmlformats.org/officeDocument/2006/relationships/tags" Target="../tags/tag103.xml"/><Relationship Id="rId4" Type="http://schemas.openxmlformats.org/officeDocument/2006/relationships/slideLayout" Target="../slideLayouts/slideLayout132.xml"/><Relationship Id="rId9" Type="http://schemas.openxmlformats.org/officeDocument/2006/relationships/vmlDrawing" Target="../drawings/vmlDrawing70.vml"/><Relationship Id="rId14" Type="http://schemas.openxmlformats.org/officeDocument/2006/relationships/image" Target="../media/image15.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tags" Target="../tags/tag109.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7.emf"/><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vmlDrawing" Target="../drawings/vmlDrawing74.v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oleObject" Target="../embeddings/oleObject67.bin"/><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theme" Target="../theme/theme22.xml"/><Relationship Id="rId30" Type="http://schemas.openxmlformats.org/officeDocument/2006/relationships/tags" Target="../tags/tag110.xml"/></Relationships>
</file>

<file path=ppt/slideMasters/_rels/slideMaster23.xml.rels><?xml version="1.0" encoding="UTF-8" standalone="yes"?>
<Relationships xmlns="http://schemas.openxmlformats.org/package/2006/relationships"><Relationship Id="rId8" Type="http://schemas.openxmlformats.org/officeDocument/2006/relationships/tags" Target="../tags/tag154.xml"/><Relationship Id="rId3" Type="http://schemas.openxmlformats.org/officeDocument/2006/relationships/slideLayout" Target="../slideLayouts/slideLayout164.xml"/><Relationship Id="rId7" Type="http://schemas.openxmlformats.org/officeDocument/2006/relationships/vmlDrawing" Target="../drawings/vmlDrawing97.vml"/><Relationship Id="rId12" Type="http://schemas.openxmlformats.org/officeDocument/2006/relationships/image" Target="../media/image15.png"/><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theme" Target="../theme/theme23.xml"/><Relationship Id="rId11" Type="http://schemas.openxmlformats.org/officeDocument/2006/relationships/image" Target="../media/image14.emf"/><Relationship Id="rId5" Type="http://schemas.openxmlformats.org/officeDocument/2006/relationships/slideLayout" Target="../slideLayouts/slideLayout166.xml"/><Relationship Id="rId10" Type="http://schemas.openxmlformats.org/officeDocument/2006/relationships/oleObject" Target="../embeddings/oleObject90.bin"/><Relationship Id="rId4" Type="http://schemas.openxmlformats.org/officeDocument/2006/relationships/slideLayout" Target="../slideLayouts/slideLayout165.xml"/><Relationship Id="rId9" Type="http://schemas.openxmlformats.org/officeDocument/2006/relationships/tags" Target="../tags/tag155.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13" Type="http://schemas.openxmlformats.org/officeDocument/2006/relationships/image" Target="../media/image14.emf"/><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oleObject" Target="../embeddings/oleObject93.bin"/><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ags" Target="../tags/tag159.xml"/><Relationship Id="rId5" Type="http://schemas.openxmlformats.org/officeDocument/2006/relationships/slideLayout" Target="../slideLayouts/slideLayout171.xml"/><Relationship Id="rId10" Type="http://schemas.openxmlformats.org/officeDocument/2006/relationships/tags" Target="../tags/tag158.xml"/><Relationship Id="rId4" Type="http://schemas.openxmlformats.org/officeDocument/2006/relationships/slideLayout" Target="../slideLayouts/slideLayout170.xml"/><Relationship Id="rId9" Type="http://schemas.openxmlformats.org/officeDocument/2006/relationships/vmlDrawing" Target="../drawings/vmlDrawing100.vml"/><Relationship Id="rId14" Type="http://schemas.openxmlformats.org/officeDocument/2006/relationships/image" Target="../media/image15.png"/></Relationships>
</file>

<file path=ppt/slideMasters/_rels/slideMaster25.xml.rels><?xml version="1.0" encoding="UTF-8" standalone="yes"?>
<Relationships xmlns="http://schemas.openxmlformats.org/package/2006/relationships"><Relationship Id="rId8" Type="http://schemas.openxmlformats.org/officeDocument/2006/relationships/tags" Target="../tags/tag164.xml"/><Relationship Id="rId3" Type="http://schemas.openxmlformats.org/officeDocument/2006/relationships/slideLayout" Target="../slideLayouts/slideLayout176.xml"/><Relationship Id="rId7" Type="http://schemas.openxmlformats.org/officeDocument/2006/relationships/vmlDrawing" Target="../drawings/vmlDrawing104.vml"/><Relationship Id="rId12" Type="http://schemas.openxmlformats.org/officeDocument/2006/relationships/image" Target="../media/image15.png"/><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theme" Target="../theme/theme25.xml"/><Relationship Id="rId11" Type="http://schemas.openxmlformats.org/officeDocument/2006/relationships/image" Target="../media/image14.emf"/><Relationship Id="rId5" Type="http://schemas.openxmlformats.org/officeDocument/2006/relationships/slideLayout" Target="../slideLayouts/slideLayout178.xml"/><Relationship Id="rId10" Type="http://schemas.openxmlformats.org/officeDocument/2006/relationships/oleObject" Target="../embeddings/oleObject97.bin"/><Relationship Id="rId4" Type="http://schemas.openxmlformats.org/officeDocument/2006/relationships/slideLayout" Target="../slideLayouts/slideLayout177.xml"/><Relationship Id="rId9" Type="http://schemas.openxmlformats.org/officeDocument/2006/relationships/tags" Target="../tags/tag165.xml"/></Relationships>
</file>

<file path=ppt/slideMasters/_rels/slideMaster26.xml.rels><?xml version="1.0" encoding="UTF-8" standalone="yes"?>
<Relationships xmlns="http://schemas.openxmlformats.org/package/2006/relationships"><Relationship Id="rId8" Type="http://schemas.openxmlformats.org/officeDocument/2006/relationships/theme" Target="../theme/theme26.xml"/><Relationship Id="rId13" Type="http://schemas.openxmlformats.org/officeDocument/2006/relationships/image" Target="../media/image14.emf"/><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oleObject" Target="../embeddings/oleObject100.bin"/><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tags" Target="../tags/tag169.xml"/><Relationship Id="rId5" Type="http://schemas.openxmlformats.org/officeDocument/2006/relationships/slideLayout" Target="../slideLayouts/slideLayout183.xml"/><Relationship Id="rId10" Type="http://schemas.openxmlformats.org/officeDocument/2006/relationships/tags" Target="../tags/tag168.xml"/><Relationship Id="rId4" Type="http://schemas.openxmlformats.org/officeDocument/2006/relationships/slideLayout" Target="../slideLayouts/slideLayout182.xml"/><Relationship Id="rId9" Type="http://schemas.openxmlformats.org/officeDocument/2006/relationships/vmlDrawing" Target="../drawings/vmlDrawing107.vml"/><Relationship Id="rId14" Type="http://schemas.openxmlformats.org/officeDocument/2006/relationships/image" Target="../media/image15.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4.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oleObject" Target="../embeddings/oleObject8.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ags" Target="../tags/tag15.xml"/><Relationship Id="rId5" Type="http://schemas.openxmlformats.org/officeDocument/2006/relationships/slideLayout" Target="../slideLayouts/slideLayout23.xml"/><Relationship Id="rId10" Type="http://schemas.openxmlformats.org/officeDocument/2006/relationships/tags" Target="../tags/tag14.xml"/><Relationship Id="rId4" Type="http://schemas.openxmlformats.org/officeDocument/2006/relationships/slideLayout" Target="../slideLayouts/slideLayout22.xml"/><Relationship Id="rId9" Type="http://schemas.openxmlformats.org/officeDocument/2006/relationships/vmlDrawing" Target="../drawings/vmlDrawing8.vml"/><Relationship Id="rId14" Type="http://schemas.openxmlformats.org/officeDocument/2006/relationships/image" Target="../media/image15.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4.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oleObject" Target="../embeddings/oleObject11.bin"/><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ags" Target="../tags/tag21.xml"/><Relationship Id="rId5" Type="http://schemas.openxmlformats.org/officeDocument/2006/relationships/slideLayout" Target="../slideLayouts/slideLayout30.xml"/><Relationship Id="rId10" Type="http://schemas.openxmlformats.org/officeDocument/2006/relationships/tags" Target="../tags/tag20.xml"/><Relationship Id="rId4" Type="http://schemas.openxmlformats.org/officeDocument/2006/relationships/slideLayout" Target="../slideLayouts/slideLayout29.xml"/><Relationship Id="rId9" Type="http://schemas.openxmlformats.org/officeDocument/2006/relationships/vmlDrawing" Target="../drawings/vmlDrawing12.vml"/><Relationship Id="rId14" Type="http://schemas.openxmlformats.org/officeDocument/2006/relationships/image" Target="../media/image19.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14.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15.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7.xml"/><Relationship Id="rId5" Type="http://schemas.openxmlformats.org/officeDocument/2006/relationships/slideLayout" Target="../slideLayouts/slideLayout37.xml"/><Relationship Id="rId10" Type="http://schemas.openxmlformats.org/officeDocument/2006/relationships/tags" Target="../tags/tag26.xml"/><Relationship Id="rId4" Type="http://schemas.openxmlformats.org/officeDocument/2006/relationships/slideLayout" Target="../slideLayouts/slideLayout36.xml"/><Relationship Id="rId9" Type="http://schemas.openxmlformats.org/officeDocument/2006/relationships/vmlDrawing" Target="../drawings/vmlDrawing16.vml"/><Relationship Id="rId14" Type="http://schemas.openxmlformats.org/officeDocument/2006/relationships/image" Target="../media/image15.png"/></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slideLayout" Target="../slideLayouts/slideLayout42.xml"/><Relationship Id="rId7" Type="http://schemas.openxmlformats.org/officeDocument/2006/relationships/vmlDrawing" Target="../drawings/vmlDrawing20.vml"/><Relationship Id="rId12" Type="http://schemas.openxmlformats.org/officeDocument/2006/relationships/image" Target="../media/image19.png"/><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6.xml"/><Relationship Id="rId11" Type="http://schemas.openxmlformats.org/officeDocument/2006/relationships/image" Target="../media/image14.emf"/><Relationship Id="rId5" Type="http://schemas.openxmlformats.org/officeDocument/2006/relationships/slideLayout" Target="../slideLayouts/slideLayout44.xml"/><Relationship Id="rId10" Type="http://schemas.openxmlformats.org/officeDocument/2006/relationships/oleObject" Target="../embeddings/oleObject19.bin"/><Relationship Id="rId4" Type="http://schemas.openxmlformats.org/officeDocument/2006/relationships/slideLayout" Target="../slideLayouts/slideLayout43.xml"/><Relationship Id="rId9" Type="http://schemas.openxmlformats.org/officeDocument/2006/relationships/tags" Target="../tags/tag33.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slideLayout" Target="../slideLayouts/slideLayout47.xml"/><Relationship Id="rId7" Type="http://schemas.openxmlformats.org/officeDocument/2006/relationships/vmlDrawing" Target="../drawings/vmlDrawing23.vml"/><Relationship Id="rId12"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7.xml"/><Relationship Id="rId11" Type="http://schemas.openxmlformats.org/officeDocument/2006/relationships/image" Target="../media/image14.emf"/><Relationship Id="rId5" Type="http://schemas.openxmlformats.org/officeDocument/2006/relationships/slideLayout" Target="../slideLayouts/slideLayout49.xml"/><Relationship Id="rId10" Type="http://schemas.openxmlformats.org/officeDocument/2006/relationships/oleObject" Target="../embeddings/oleObject19.bin"/><Relationship Id="rId4" Type="http://schemas.openxmlformats.org/officeDocument/2006/relationships/slideLayout" Target="../slideLayouts/slideLayout48.xml"/><Relationship Id="rId9" Type="http://schemas.openxmlformats.org/officeDocument/2006/relationships/tags" Target="../tags/tag37.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14.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oleObject" Target="../embeddings/oleObject22.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ags" Target="../tags/tag41.xml"/><Relationship Id="rId5" Type="http://schemas.openxmlformats.org/officeDocument/2006/relationships/slideLayout" Target="../slideLayouts/slideLayout54.xml"/><Relationship Id="rId10" Type="http://schemas.openxmlformats.org/officeDocument/2006/relationships/tags" Target="../tags/tag40.xml"/><Relationship Id="rId4" Type="http://schemas.openxmlformats.org/officeDocument/2006/relationships/slideLayout" Target="../slideLayouts/slideLayout53.xml"/><Relationship Id="rId9" Type="http://schemas.openxmlformats.org/officeDocument/2006/relationships/vmlDrawing" Target="../drawings/vmlDrawing26.vml"/><Relationship Id="rId14" Type="http://schemas.openxmlformats.org/officeDocument/2006/relationships/image" Target="../media/image15.pn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slideLayout" Target="../slideLayouts/slideLayout59.xml"/><Relationship Id="rId7" Type="http://schemas.openxmlformats.org/officeDocument/2006/relationships/vmlDrawing" Target="../drawings/vmlDrawing30.vml"/><Relationship Id="rId12" Type="http://schemas.openxmlformats.org/officeDocument/2006/relationships/image" Target="../media/image19.pn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9.xml"/><Relationship Id="rId11" Type="http://schemas.openxmlformats.org/officeDocument/2006/relationships/image" Target="../media/image14.emf"/><Relationship Id="rId5" Type="http://schemas.openxmlformats.org/officeDocument/2006/relationships/slideLayout" Target="../slideLayouts/slideLayout61.xml"/><Relationship Id="rId10" Type="http://schemas.openxmlformats.org/officeDocument/2006/relationships/oleObject" Target="../embeddings/oleObject19.bin"/><Relationship Id="rId4" Type="http://schemas.openxmlformats.org/officeDocument/2006/relationships/slideLayout" Target="../slideLayouts/slideLayout60.xml"/><Relationship Id="rId9" Type="http://schemas.openxmlformats.org/officeDocument/2006/relationships/tags" Target="../tags/tag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6146" name="Picture 11"/>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191875" y="6224588"/>
            <a:ext cx="403225"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itle Placeholder 1"/>
          <p:cNvSpPr>
            <a:spLocks noGrp="1"/>
          </p:cNvSpPr>
          <p:nvPr>
            <p:ph type="title"/>
          </p:nvPr>
        </p:nvSpPr>
        <p:spPr bwMode="auto">
          <a:xfrm>
            <a:off x="622800" y="208800"/>
            <a:ext cx="10828800" cy="56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AU" altLang="en-US"/>
              <a:t>Click to edit Master title style</a:t>
            </a:r>
            <a:endParaRPr lang="en-GB" altLang="en-US"/>
          </a:p>
        </p:txBody>
      </p:sp>
      <p:sp>
        <p:nvSpPr>
          <p:cNvPr id="6148" name="Text Placeholder 2"/>
          <p:cNvSpPr>
            <a:spLocks noGrp="1"/>
          </p:cNvSpPr>
          <p:nvPr>
            <p:ph type="body" idx="1"/>
          </p:nvPr>
        </p:nvSpPr>
        <p:spPr bwMode="auto">
          <a:xfrm>
            <a:off x="609600" y="1425575"/>
            <a:ext cx="10979150" cy="469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AU" altLang="en-US"/>
              <a:t>Click to edit Master text styles</a:t>
            </a:r>
          </a:p>
          <a:p>
            <a:pPr lvl="1"/>
            <a:r>
              <a:rPr lang="en-AU" altLang="en-US"/>
              <a:t>Second level</a:t>
            </a:r>
          </a:p>
          <a:p>
            <a:pPr lvl="2"/>
            <a:r>
              <a:rPr lang="en-AU" altLang="en-US"/>
              <a:t>Third level</a:t>
            </a:r>
          </a:p>
          <a:p>
            <a:pPr lvl="3"/>
            <a:r>
              <a:rPr lang="en-AU" altLang="en-US"/>
              <a:t>Fourth level</a:t>
            </a:r>
          </a:p>
          <a:p>
            <a:pPr lvl="4"/>
            <a:r>
              <a:rPr lang="en-AU" altLang="en-US"/>
              <a:t>Fifth level</a:t>
            </a:r>
            <a:endParaRPr lang="en-GB" altLang="en-US"/>
          </a:p>
        </p:txBody>
      </p:sp>
      <p:sp>
        <p:nvSpPr>
          <p:cNvPr id="3076" name="TextBox 6"/>
          <p:cNvSpPr txBox="1">
            <a:spLocks noChangeArrowheads="1"/>
          </p:cNvSpPr>
          <p:nvPr/>
        </p:nvSpPr>
        <p:spPr bwMode="auto">
          <a:xfrm>
            <a:off x="609600" y="6423025"/>
            <a:ext cx="960438"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charset="0"/>
                <a:ea typeface="Arial"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100">
                <a:solidFill>
                  <a:schemeClr val="bg1"/>
                </a:solidFill>
                <a:latin typeface="EYInterstate" charset="0"/>
                <a:ea typeface="EYInterstate" charset="0"/>
                <a:cs typeface="EYInterstate" charset="0"/>
              </a:rPr>
              <a:t>Page </a:t>
            </a:r>
            <a:fld id="{46C63E6E-8BB7-AD45-AC5E-FF37000FE9D1}" type="slidenum">
              <a:rPr lang="en-GB" altLang="en-US" sz="1100">
                <a:solidFill>
                  <a:schemeClr val="bg1"/>
                </a:solidFill>
                <a:latin typeface="EYInterstate" charset="0"/>
                <a:ea typeface="EYInterstate" charset="0"/>
                <a:cs typeface="EYInterstate" charset="0"/>
              </a:rPr>
              <a:pPr eaLnBrk="1" hangingPunct="1"/>
              <a:t>‹#›</a:t>
            </a:fld>
            <a:endParaRPr lang="en-GB" altLang="en-US" sz="1100">
              <a:solidFill>
                <a:schemeClr val="bg1"/>
              </a:solidFill>
              <a:latin typeface="EYInterstate" charset="0"/>
              <a:ea typeface="EYInterstate" charset="0"/>
              <a:cs typeface="EYInterstate" charset="0"/>
            </a:endParaRPr>
          </a:p>
        </p:txBody>
      </p:sp>
      <p:sp>
        <p:nvSpPr>
          <p:cNvPr id="7" name="Footer Placeholder 4"/>
          <p:cNvSpPr>
            <a:spLocks noGrp="1"/>
          </p:cNvSpPr>
          <p:nvPr/>
        </p:nvSpPr>
        <p:spPr>
          <a:xfrm>
            <a:off x="2441575" y="6423025"/>
            <a:ext cx="6659563" cy="196850"/>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AU" sz="800">
                <a:solidFill>
                  <a:schemeClr val="bg1"/>
                </a:solidFill>
                <a:latin typeface="EYInterstate" charset="0"/>
                <a:ea typeface="EYInterstate" charset="0"/>
                <a:cs typeface="EYInterstate" charset="0"/>
              </a:rPr>
              <a:t>Copyright © 2019 Ernst &amp; Young. All Rights Reserved. </a:t>
            </a:r>
          </a:p>
        </p:txBody>
      </p:sp>
      <p:pic>
        <p:nvPicPr>
          <p:cNvPr id="6151" name="Picture 9"/>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495425" y="6365875"/>
            <a:ext cx="67310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78" r:id="rId1"/>
    <p:sldLayoutId id="2147485379" r:id="rId2"/>
    <p:sldLayoutId id="2147485380" r:id="rId3"/>
    <p:sldLayoutId id="2147485381" r:id="rId4"/>
    <p:sldLayoutId id="2147485382" r:id="rId5"/>
    <p:sldLayoutId id="2147485383" r:id="rId6"/>
    <p:sldLayoutId id="2147485384" r:id="rId7"/>
    <p:sldLayoutId id="2147485385" r:id="rId8"/>
    <p:sldLayoutId id="2147485411" r:id="rId9"/>
    <p:sldLayoutId id="2147485412" r:id="rId10"/>
    <p:sldLayoutId id="2147485413" r:id="rId11"/>
    <p:sldLayoutId id="2147485414" r:id="rId12"/>
    <p:sldLayoutId id="2147485416" r:id="rId13"/>
    <p:sldLayoutId id="2147485418" r:id="rId14"/>
    <p:sldLayoutId id="2147485419" r:id="rId15"/>
    <p:sldLayoutId id="2147486042" r:id="rId16"/>
  </p:sldLayoutIdLst>
  <p:hf sldNum="0" hdr="0" dt="0"/>
  <p:txStyles>
    <p:titleStyle>
      <a:lvl1pPr algn="l" rtl="0" eaLnBrk="0" fontAlgn="base" hangingPunct="0">
        <a:lnSpc>
          <a:spcPct val="85000"/>
        </a:lnSpc>
        <a:spcBef>
          <a:spcPct val="0"/>
        </a:spcBef>
        <a:spcAft>
          <a:spcPct val="0"/>
        </a:spcAft>
        <a:defRPr sz="2400" b="1" kern="1200">
          <a:solidFill>
            <a:schemeClr val="bg1"/>
          </a:solidFill>
          <a:latin typeface="EYInterstate" charset="0"/>
          <a:ea typeface="EYInterstate" charset="0"/>
          <a:cs typeface="EYInterstate" charset="0"/>
        </a:defRPr>
      </a:lvl1pPr>
      <a:lvl2pPr algn="l" rtl="0" eaLnBrk="0" fontAlgn="base" hangingPunct="0">
        <a:lnSpc>
          <a:spcPct val="85000"/>
        </a:lnSpc>
        <a:spcBef>
          <a:spcPct val="0"/>
        </a:spcBef>
        <a:spcAft>
          <a:spcPct val="0"/>
        </a:spcAft>
        <a:defRPr sz="3000" b="1">
          <a:solidFill>
            <a:schemeClr val="bg1"/>
          </a:solidFill>
          <a:latin typeface="Arial" charset="0"/>
          <a:ea typeface="Arial" charset="0"/>
          <a:cs typeface="Arial" charset="0"/>
        </a:defRPr>
      </a:lvl2pPr>
      <a:lvl3pPr algn="l" rtl="0" eaLnBrk="0" fontAlgn="base" hangingPunct="0">
        <a:lnSpc>
          <a:spcPct val="85000"/>
        </a:lnSpc>
        <a:spcBef>
          <a:spcPct val="0"/>
        </a:spcBef>
        <a:spcAft>
          <a:spcPct val="0"/>
        </a:spcAft>
        <a:defRPr sz="3000" b="1">
          <a:solidFill>
            <a:schemeClr val="bg1"/>
          </a:solidFill>
          <a:latin typeface="Arial" charset="0"/>
          <a:ea typeface="Arial" charset="0"/>
          <a:cs typeface="Arial" charset="0"/>
        </a:defRPr>
      </a:lvl3pPr>
      <a:lvl4pPr algn="l" rtl="0" eaLnBrk="0" fontAlgn="base" hangingPunct="0">
        <a:lnSpc>
          <a:spcPct val="85000"/>
        </a:lnSpc>
        <a:spcBef>
          <a:spcPct val="0"/>
        </a:spcBef>
        <a:spcAft>
          <a:spcPct val="0"/>
        </a:spcAft>
        <a:defRPr sz="3000" b="1">
          <a:solidFill>
            <a:schemeClr val="bg1"/>
          </a:solidFill>
          <a:latin typeface="Arial" charset="0"/>
          <a:ea typeface="Arial" charset="0"/>
          <a:cs typeface="Arial" charset="0"/>
        </a:defRPr>
      </a:lvl4pPr>
      <a:lvl5pPr algn="l" rtl="0" eaLnBrk="0" fontAlgn="base" hangingPunct="0">
        <a:lnSpc>
          <a:spcPct val="85000"/>
        </a:lnSpc>
        <a:spcBef>
          <a:spcPct val="0"/>
        </a:spcBef>
        <a:spcAft>
          <a:spcPct val="0"/>
        </a:spcAft>
        <a:defRPr sz="3000" b="1">
          <a:solidFill>
            <a:schemeClr val="bg1"/>
          </a:solidFill>
          <a:latin typeface="Arial" charset="0"/>
          <a:ea typeface="Arial" charset="0"/>
          <a:cs typeface="Arial" charset="0"/>
        </a:defRPr>
      </a:lvl5pPr>
      <a:lvl6pPr marL="457200" algn="l" rtl="0" fontAlgn="base">
        <a:lnSpc>
          <a:spcPct val="85000"/>
        </a:lnSpc>
        <a:spcBef>
          <a:spcPct val="0"/>
        </a:spcBef>
        <a:spcAft>
          <a:spcPct val="0"/>
        </a:spcAft>
        <a:defRPr sz="3000" b="1">
          <a:solidFill>
            <a:schemeClr val="bg1"/>
          </a:solidFill>
          <a:latin typeface="Arial" charset="0"/>
          <a:cs typeface="Arial" charset="0"/>
        </a:defRPr>
      </a:lvl6pPr>
      <a:lvl7pPr marL="914400" algn="l" rtl="0" fontAlgn="base">
        <a:lnSpc>
          <a:spcPct val="85000"/>
        </a:lnSpc>
        <a:spcBef>
          <a:spcPct val="0"/>
        </a:spcBef>
        <a:spcAft>
          <a:spcPct val="0"/>
        </a:spcAft>
        <a:defRPr sz="3000" b="1">
          <a:solidFill>
            <a:schemeClr val="bg1"/>
          </a:solidFill>
          <a:latin typeface="Arial" charset="0"/>
          <a:cs typeface="Arial" charset="0"/>
        </a:defRPr>
      </a:lvl7pPr>
      <a:lvl8pPr marL="1371600" algn="l" rtl="0" fontAlgn="base">
        <a:lnSpc>
          <a:spcPct val="85000"/>
        </a:lnSpc>
        <a:spcBef>
          <a:spcPct val="0"/>
        </a:spcBef>
        <a:spcAft>
          <a:spcPct val="0"/>
        </a:spcAft>
        <a:defRPr sz="3000" b="1">
          <a:solidFill>
            <a:schemeClr val="bg1"/>
          </a:solidFill>
          <a:latin typeface="Arial" charset="0"/>
          <a:cs typeface="Arial" charset="0"/>
        </a:defRPr>
      </a:lvl8pPr>
      <a:lvl9pPr marL="1828800" algn="l" rtl="0" fontAlgn="base">
        <a:lnSpc>
          <a:spcPct val="85000"/>
        </a:lnSpc>
        <a:spcBef>
          <a:spcPct val="0"/>
        </a:spcBef>
        <a:spcAft>
          <a:spcPct val="0"/>
        </a:spcAft>
        <a:defRPr sz="3000" b="1">
          <a:solidFill>
            <a:schemeClr val="bg1"/>
          </a:solidFill>
          <a:latin typeface="Arial" charset="0"/>
          <a:cs typeface="Arial" charset="0"/>
        </a:defRPr>
      </a:lvl9pPr>
    </p:titleStyle>
    <p:bodyStyle>
      <a:lvl1pPr marL="342900" indent="-342900" algn="l" rtl="0" eaLnBrk="0" fontAlgn="base" hangingPunct="0">
        <a:spcBef>
          <a:spcPct val="20000"/>
        </a:spcBef>
        <a:spcAft>
          <a:spcPct val="0"/>
        </a:spcAft>
        <a:buClr>
          <a:schemeClr val="accent2"/>
        </a:buClr>
        <a:buSzPct val="70000"/>
        <a:buFont typeface="Arial" charset="0"/>
        <a:buChar char="►"/>
        <a:defRPr sz="2400" kern="1200">
          <a:solidFill>
            <a:schemeClr val="bg1"/>
          </a:solidFill>
          <a:latin typeface="EYInterstate" charset="0"/>
          <a:ea typeface="EYInterstate" charset="0"/>
          <a:cs typeface="EYInterstate" charset="0"/>
        </a:defRPr>
      </a:lvl1pPr>
      <a:lvl2pPr marL="709613" indent="-354013" algn="l" rtl="0" eaLnBrk="0" fontAlgn="base" hangingPunct="0">
        <a:spcBef>
          <a:spcPct val="20000"/>
        </a:spcBef>
        <a:spcAft>
          <a:spcPct val="0"/>
        </a:spcAft>
        <a:buClr>
          <a:schemeClr val="accent2"/>
        </a:buClr>
        <a:buSzPct val="70000"/>
        <a:buFont typeface="Arial" charset="0"/>
        <a:buChar char="►"/>
        <a:defRPr sz="2000" kern="1200">
          <a:solidFill>
            <a:schemeClr val="bg1"/>
          </a:solidFill>
          <a:latin typeface="EYInterstate" charset="0"/>
          <a:ea typeface="EYInterstate" charset="0"/>
          <a:cs typeface="EYInterstate" charset="0"/>
        </a:defRPr>
      </a:lvl2pPr>
      <a:lvl3pPr marL="1077913" indent="-354013" algn="l" rtl="0" eaLnBrk="0" fontAlgn="base" hangingPunct="0">
        <a:spcBef>
          <a:spcPct val="20000"/>
        </a:spcBef>
        <a:spcAft>
          <a:spcPct val="0"/>
        </a:spcAft>
        <a:buClr>
          <a:schemeClr val="accent2"/>
        </a:buClr>
        <a:buSzPct val="70000"/>
        <a:buFont typeface="Arial" charset="0"/>
        <a:buChar char="►"/>
        <a:defRPr kern="1200">
          <a:solidFill>
            <a:schemeClr val="bg1"/>
          </a:solidFill>
          <a:latin typeface="EYInterstate" charset="0"/>
          <a:ea typeface="EYInterstate" charset="0"/>
          <a:cs typeface="EYInterstate" charset="0"/>
        </a:defRPr>
      </a:lvl3pPr>
      <a:lvl4pPr marL="1433513" indent="-355600" algn="l" rtl="0" eaLnBrk="0" fontAlgn="base" hangingPunct="0">
        <a:spcBef>
          <a:spcPct val="20000"/>
        </a:spcBef>
        <a:spcAft>
          <a:spcPct val="0"/>
        </a:spcAft>
        <a:buClr>
          <a:schemeClr val="accent2"/>
        </a:buClr>
        <a:buSzPct val="70000"/>
        <a:buFont typeface="Arial" charset="0"/>
        <a:buChar char="►"/>
        <a:defRPr sz="1600" kern="1200">
          <a:solidFill>
            <a:schemeClr val="bg1"/>
          </a:solidFill>
          <a:latin typeface="EYInterstate" charset="0"/>
          <a:ea typeface="EYInterstate" charset="0"/>
          <a:cs typeface="EYInterstate" charset="0"/>
        </a:defRPr>
      </a:lvl4pPr>
      <a:lvl5pPr marL="1787525" indent="-354013" algn="l" rtl="0" eaLnBrk="0" fontAlgn="base" hangingPunct="0">
        <a:spcBef>
          <a:spcPct val="20000"/>
        </a:spcBef>
        <a:spcAft>
          <a:spcPct val="0"/>
        </a:spcAft>
        <a:buClr>
          <a:schemeClr val="accent2"/>
        </a:buClr>
        <a:buSzPct val="70000"/>
        <a:buFont typeface="Arial" charset="0"/>
        <a:buChar char="►"/>
        <a:defRPr sz="1600" kern="1200">
          <a:solidFill>
            <a:schemeClr val="bg1"/>
          </a:solidFill>
          <a:latin typeface="EYInterstate" charset="0"/>
          <a:ea typeface="EYInterstate" charset="0"/>
          <a:cs typeface="EYInterstate"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386359" y="63848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
        <p:nvSpPr>
          <p:cNvPr id="26" name="Title 1">
            <a:extLst>
              <a:ext uri="{FF2B5EF4-FFF2-40B4-BE49-F238E27FC236}">
                <a16:creationId xmlns:a16="http://schemas.microsoft.com/office/drawing/2014/main" id="{2CDEFBA4-D09B-4EF7-A6D0-581A052D9916}"/>
              </a:ext>
            </a:extLst>
          </p:cNvPr>
          <p:cNvSpPr txBox="1">
            <a:spLocks/>
          </p:cNvSpPr>
          <p:nvPr userDrawn="1"/>
        </p:nvSpPr>
        <p:spPr>
          <a:xfrm>
            <a:off x="567042" y="485789"/>
            <a:ext cx="10978515" cy="590400"/>
          </a:xfrm>
          <a:prstGeom prst="rect">
            <a:avLst/>
          </a:prstGeom>
        </p:spPr>
        <p:txBody>
          <a:bodyPr/>
          <a:lstStyle>
            <a:lvl1pPr algn="l" defTabSz="914400" rtl="0" eaLnBrk="1" latinLnBrk="0" hangingPunct="1">
              <a:lnSpc>
                <a:spcPct val="85000"/>
              </a:lnSpc>
              <a:spcBef>
                <a:spcPct val="0"/>
              </a:spcBef>
              <a:buNone/>
              <a:defRPr sz="2000" b="0" kern="1200">
                <a:solidFill>
                  <a:schemeClr val="bg1"/>
                </a:solidFill>
                <a:latin typeface="EYInterstate Light" panose="02000506000000020004" pitchFamily="2" charset="0"/>
                <a:ea typeface="+mj-ea"/>
                <a:cs typeface="Arial" pitchFamily="34" charset="0"/>
              </a:defRPr>
            </a:lvl1pPr>
          </a:lstStyle>
          <a:p>
            <a:endParaRPr lang="en-GB" sz="1998" b="1"/>
          </a:p>
        </p:txBody>
      </p:sp>
      <p:grpSp>
        <p:nvGrpSpPr>
          <p:cNvPr id="29" name="Group 28">
            <a:extLst>
              <a:ext uri="{FF2B5EF4-FFF2-40B4-BE49-F238E27FC236}">
                <a16:creationId xmlns:a16="http://schemas.microsoft.com/office/drawing/2014/main" id="{962A59C9-984D-42CA-BC16-101EDAC79B1F}"/>
              </a:ext>
            </a:extLst>
          </p:cNvPr>
          <p:cNvGrpSpPr/>
          <p:nvPr userDrawn="1"/>
        </p:nvGrpSpPr>
        <p:grpSpPr>
          <a:xfrm>
            <a:off x="567876" y="293523"/>
            <a:ext cx="383100" cy="89662"/>
            <a:chOff x="567876" y="293523"/>
            <a:chExt cx="573024" cy="134112"/>
          </a:xfrm>
          <a:solidFill>
            <a:schemeClr val="tx2"/>
          </a:solidFill>
        </p:grpSpPr>
        <p:sp>
          <p:nvSpPr>
            <p:cNvPr id="30" name="Oval 29">
              <a:extLst>
                <a:ext uri="{FF2B5EF4-FFF2-40B4-BE49-F238E27FC236}">
                  <a16:creationId xmlns:a16="http://schemas.microsoft.com/office/drawing/2014/main" id="{61B09C4F-AD4A-40C2-8ACF-13E384B8FB7E}"/>
                </a:ext>
              </a:extLst>
            </p:cNvPr>
            <p:cNvSpPr/>
            <p:nvPr userDrawn="1"/>
          </p:nvSpPr>
          <p:spPr>
            <a:xfrm>
              <a:off x="567876"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chemeClr val="tx1"/>
                </a:solidFill>
                <a:latin typeface="Arial" panose="020B0604020202020204" pitchFamily="34" charset="0"/>
              </a:endParaRPr>
            </a:p>
          </p:txBody>
        </p:sp>
        <p:sp>
          <p:nvSpPr>
            <p:cNvPr id="31" name="Oval 30">
              <a:extLst>
                <a:ext uri="{FF2B5EF4-FFF2-40B4-BE49-F238E27FC236}">
                  <a16:creationId xmlns:a16="http://schemas.microsoft.com/office/drawing/2014/main" id="{FCF1002F-39ED-4A5A-8FCB-58B6339C9DC5}"/>
                </a:ext>
              </a:extLst>
            </p:cNvPr>
            <p:cNvSpPr/>
            <p:nvPr userDrawn="1"/>
          </p:nvSpPr>
          <p:spPr>
            <a:xfrm>
              <a:off x="787332"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chemeClr val="tx1"/>
                </a:solidFill>
                <a:latin typeface="Arial" panose="020B0604020202020204" pitchFamily="34" charset="0"/>
              </a:endParaRPr>
            </a:p>
          </p:txBody>
        </p:sp>
        <p:sp>
          <p:nvSpPr>
            <p:cNvPr id="32" name="Oval 31">
              <a:extLst>
                <a:ext uri="{FF2B5EF4-FFF2-40B4-BE49-F238E27FC236}">
                  <a16:creationId xmlns:a16="http://schemas.microsoft.com/office/drawing/2014/main" id="{D0BFF75D-EFCA-4700-9342-05354370F696}"/>
                </a:ext>
              </a:extLst>
            </p:cNvPr>
            <p:cNvSpPr/>
            <p:nvPr userDrawn="1"/>
          </p:nvSpPr>
          <p:spPr>
            <a:xfrm>
              <a:off x="1006788" y="293523"/>
              <a:ext cx="134112" cy="134112"/>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chemeClr val="tx1"/>
                </a:solidFill>
                <a:latin typeface="Arial" panose="020B0604020202020204" pitchFamily="34" charset="0"/>
              </a:endParaRPr>
            </a:p>
          </p:txBody>
        </p:sp>
      </p:grpSp>
      <p:cxnSp>
        <p:nvCxnSpPr>
          <p:cNvPr id="33" name="Straight Connector 32">
            <a:extLst>
              <a:ext uri="{FF2B5EF4-FFF2-40B4-BE49-F238E27FC236}">
                <a16:creationId xmlns:a16="http://schemas.microsoft.com/office/drawing/2014/main" id="{02C7EAE4-0615-4A79-A768-F553768F1A73}"/>
              </a:ext>
            </a:extLst>
          </p:cNvPr>
          <p:cNvCxnSpPr/>
          <p:nvPr userDrawn="1"/>
        </p:nvCxnSpPr>
        <p:spPr>
          <a:xfrm>
            <a:off x="1055479" y="338354"/>
            <a:ext cx="11155680" cy="0"/>
          </a:xfrm>
          <a:prstGeom prst="line">
            <a:avLst/>
          </a:prstGeom>
          <a:ln w="19050">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0" name="object 24">
            <a:extLst>
              <a:ext uri="{FF2B5EF4-FFF2-40B4-BE49-F238E27FC236}">
                <a16:creationId xmlns:a16="http://schemas.microsoft.com/office/drawing/2014/main" id="{C28156C2-AD8D-4E3F-A678-0E67D4ED7159}"/>
              </a:ext>
            </a:extLst>
          </p:cNvPr>
          <p:cNvSpPr/>
          <p:nvPr userDrawn="1"/>
        </p:nvSpPr>
        <p:spPr>
          <a:xfrm>
            <a:off x="10987201" y="6552001"/>
            <a:ext cx="0" cy="144000"/>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03931"/>
            <a:endParaRPr sz="1351" b="1">
              <a:solidFill>
                <a:srgbClr val="000000"/>
              </a:solidFill>
              <a:cs typeface="EYInterstate Light"/>
            </a:endParaRPr>
          </a:p>
        </p:txBody>
      </p:sp>
      <p:sp>
        <p:nvSpPr>
          <p:cNvPr id="21" name="object 24">
            <a:extLst>
              <a:ext uri="{FF2B5EF4-FFF2-40B4-BE49-F238E27FC236}">
                <a16:creationId xmlns:a16="http://schemas.microsoft.com/office/drawing/2014/main" id="{F52190F7-5DFC-469E-B2CD-13C9C8B1C075}"/>
              </a:ext>
            </a:extLst>
          </p:cNvPr>
          <p:cNvSpPr/>
          <p:nvPr userDrawn="1"/>
        </p:nvSpPr>
        <p:spPr>
          <a:xfrm>
            <a:off x="11297832" y="6552001"/>
            <a:ext cx="0" cy="144000"/>
          </a:xfrm>
          <a:custGeom>
            <a:avLst/>
            <a:gdLst/>
            <a:ahLst/>
            <a:cxnLst/>
            <a:rect l="l" t="t" r="r" b="b"/>
            <a:pathLst>
              <a:path h="342900">
                <a:moveTo>
                  <a:pt x="0" y="0"/>
                </a:moveTo>
                <a:lnTo>
                  <a:pt x="0" y="342900"/>
                </a:lnTo>
              </a:path>
            </a:pathLst>
          </a:custGeom>
          <a:ln w="3175">
            <a:solidFill>
              <a:srgbClr val="333333"/>
            </a:solidFill>
          </a:ln>
        </p:spPr>
        <p:txBody>
          <a:bodyPr wrap="square" lIns="0" tIns="0" rIns="0" bIns="0" rtlCol="0" anchor="ctr"/>
          <a:lstStyle/>
          <a:p>
            <a:pPr defTabSz="703931"/>
            <a:endParaRPr sz="1351" b="1">
              <a:solidFill>
                <a:srgbClr val="000000"/>
              </a:solidFill>
              <a:cs typeface="EYInterstate Light"/>
            </a:endParaRPr>
          </a:p>
        </p:txBody>
      </p:sp>
      <p:sp>
        <p:nvSpPr>
          <p:cNvPr id="22" name="object 27">
            <a:extLst>
              <a:ext uri="{FF2B5EF4-FFF2-40B4-BE49-F238E27FC236}">
                <a16:creationId xmlns:a16="http://schemas.microsoft.com/office/drawing/2014/main" id="{D8671FBD-BE9E-41AF-A8D9-FF139A2C0798}"/>
              </a:ext>
            </a:extLst>
          </p:cNvPr>
          <p:cNvSpPr txBox="1">
            <a:spLocks/>
          </p:cNvSpPr>
          <p:nvPr userDrawn="1"/>
        </p:nvSpPr>
        <p:spPr>
          <a:xfrm>
            <a:off x="11083624" y="6570128"/>
            <a:ext cx="124073" cy="107594"/>
          </a:xfrm>
          <a:prstGeom prst="rect">
            <a:avLst/>
          </a:prstGeom>
        </p:spPr>
        <p:txBody>
          <a:bodyPr wrap="none" lIns="0" tIns="0" rIns="0" bIns="0" anchor="b" anchorCtr="0">
            <a:spAutoFit/>
          </a:bodyPr>
          <a:lstStyle>
            <a:defPPr>
              <a:defRPr lang="en-US"/>
            </a:defPPr>
            <a:lvl1pPr marL="0" algn="ctr" defTabSz="910035" rtl="0" eaLnBrk="1" latinLnBrk="0" hangingPunct="1">
              <a:defRPr lang="en-US" sz="1000" b="0" i="0" kern="1200" smtClean="0">
                <a:solidFill>
                  <a:srgbClr val="6F7072"/>
                </a:solidFill>
                <a:latin typeface="EYInterstate Light"/>
                <a:ea typeface="+mn-ea"/>
                <a:cs typeface="EYInterstate Light"/>
              </a:defRPr>
            </a:lvl1pPr>
            <a:lvl2pPr marL="455018" algn="l" defTabSz="910035" rtl="0" eaLnBrk="1" latinLnBrk="0" hangingPunct="1">
              <a:defRPr sz="1800" kern="1200">
                <a:solidFill>
                  <a:schemeClr val="tx1"/>
                </a:solidFill>
                <a:latin typeface="+mn-lt"/>
                <a:ea typeface="+mn-ea"/>
                <a:cs typeface="+mn-cs"/>
              </a:defRPr>
            </a:lvl2pPr>
            <a:lvl3pPr marL="910035" algn="l" defTabSz="910035" rtl="0" eaLnBrk="1" latinLnBrk="0" hangingPunct="1">
              <a:defRPr sz="1800" kern="1200">
                <a:solidFill>
                  <a:schemeClr val="tx1"/>
                </a:solidFill>
                <a:latin typeface="+mn-lt"/>
                <a:ea typeface="+mn-ea"/>
                <a:cs typeface="+mn-cs"/>
              </a:defRPr>
            </a:lvl3pPr>
            <a:lvl4pPr marL="1365047" algn="l" defTabSz="910035" rtl="0" eaLnBrk="1" latinLnBrk="0" hangingPunct="1">
              <a:defRPr sz="1800" kern="1200">
                <a:solidFill>
                  <a:schemeClr val="tx1"/>
                </a:solidFill>
                <a:latin typeface="+mn-lt"/>
                <a:ea typeface="+mn-ea"/>
                <a:cs typeface="+mn-cs"/>
              </a:defRPr>
            </a:lvl4pPr>
            <a:lvl5pPr marL="1820062" algn="l" defTabSz="910035" rtl="0" eaLnBrk="1" latinLnBrk="0" hangingPunct="1">
              <a:defRPr sz="1800" kern="1200">
                <a:solidFill>
                  <a:schemeClr val="tx1"/>
                </a:solidFill>
                <a:latin typeface="+mn-lt"/>
                <a:ea typeface="+mn-ea"/>
                <a:cs typeface="+mn-cs"/>
              </a:defRPr>
            </a:lvl5pPr>
            <a:lvl6pPr marL="2275080" algn="l" defTabSz="910035" rtl="0" eaLnBrk="1" latinLnBrk="0" hangingPunct="1">
              <a:defRPr sz="1800" kern="1200">
                <a:solidFill>
                  <a:schemeClr val="tx1"/>
                </a:solidFill>
                <a:latin typeface="+mn-lt"/>
                <a:ea typeface="+mn-ea"/>
                <a:cs typeface="+mn-cs"/>
              </a:defRPr>
            </a:lvl6pPr>
            <a:lvl7pPr marL="2730097" algn="l" defTabSz="910035" rtl="0" eaLnBrk="1" latinLnBrk="0" hangingPunct="1">
              <a:defRPr sz="1800" kern="1200">
                <a:solidFill>
                  <a:schemeClr val="tx1"/>
                </a:solidFill>
                <a:latin typeface="+mn-lt"/>
                <a:ea typeface="+mn-ea"/>
                <a:cs typeface="+mn-cs"/>
              </a:defRPr>
            </a:lvl7pPr>
            <a:lvl8pPr marL="3185114" algn="l" defTabSz="910035" rtl="0" eaLnBrk="1" latinLnBrk="0" hangingPunct="1">
              <a:defRPr sz="1800" kern="1200">
                <a:solidFill>
                  <a:schemeClr val="tx1"/>
                </a:solidFill>
                <a:latin typeface="+mn-lt"/>
                <a:ea typeface="+mn-ea"/>
                <a:cs typeface="+mn-cs"/>
              </a:defRPr>
            </a:lvl8pPr>
            <a:lvl9pPr marL="3640125" algn="l" defTabSz="910035" rtl="0" eaLnBrk="1" latinLnBrk="0" hangingPunct="1">
              <a:defRPr sz="1800" kern="1200">
                <a:solidFill>
                  <a:schemeClr val="tx1"/>
                </a:solidFill>
                <a:latin typeface="+mn-lt"/>
                <a:ea typeface="+mn-ea"/>
                <a:cs typeface="+mn-cs"/>
              </a:defRPr>
            </a:lvl9pPr>
          </a:lstStyle>
          <a:p>
            <a:pPr marL="0" marR="3922">
              <a:spcBef>
                <a:spcPts val="0"/>
              </a:spcBef>
              <a:spcAft>
                <a:spcPts val="0"/>
              </a:spcAft>
            </a:pPr>
            <a:fld id="{81D60167-4931-47E6-BA6A-407CBD079E47}" type="slidenum">
              <a:rPr sz="699" b="0" i="0">
                <a:solidFill>
                  <a:schemeClr val="bg2"/>
                </a:solidFill>
                <a:latin typeface="EYInterstate" panose="02000503020000020004" pitchFamily="2" charset="0"/>
              </a:rPr>
              <a:pPr marL="0" marR="3922">
                <a:spcBef>
                  <a:spcPts val="0"/>
                </a:spcBef>
                <a:spcAft>
                  <a:spcPts val="0"/>
                </a:spcAft>
              </a:pPr>
              <a:t>‹#›</a:t>
            </a:fld>
            <a:endParaRPr sz="699" b="0" i="0">
              <a:solidFill>
                <a:schemeClr val="bg2"/>
              </a:solidFill>
              <a:latin typeface="EYInterstate" panose="02000503020000020004" pitchFamily="2" charset="0"/>
            </a:endParaRPr>
          </a:p>
        </p:txBody>
      </p:sp>
    </p:spTree>
    <p:extLst>
      <p:ext uri="{BB962C8B-B14F-4D97-AF65-F5344CB8AC3E}">
        <p14:creationId xmlns:p14="http://schemas.microsoft.com/office/powerpoint/2010/main" val="2902115637"/>
      </p:ext>
    </p:extLst>
  </p:cSld>
  <p:clrMap bg1="lt1" tx1="dk1" bg2="lt2" tx2="dk2" accent1="accent1" accent2="accent2" accent3="accent3" accent4="accent4" accent5="accent5" accent6="accent6" hlink="hlink" folHlink="folHlink"/>
  <p:sldLayoutIdLst>
    <p:sldLayoutId id="2147485701" r:id="rId1"/>
    <p:sldLayoutId id="2147485702" r:id="rId2"/>
    <p:sldLayoutId id="2147485703" r:id="rId3"/>
    <p:sldLayoutId id="2147485704" r:id="rId4"/>
    <p:sldLayoutId id="2147485705" r:id="rId5"/>
    <p:sldLayoutId id="2147485706" r:id="rId6"/>
  </p:sldLayoutIdLst>
  <p:hf hdr="0" dt="0"/>
  <p:txStyles>
    <p:titleStyle>
      <a:lvl1pPr algn="l" defTabSz="913499" rtl="0" eaLnBrk="1" latinLnBrk="0" hangingPunct="1">
        <a:lnSpc>
          <a:spcPct val="85000"/>
        </a:lnSpc>
        <a:spcBef>
          <a:spcPct val="0"/>
        </a:spcBef>
        <a:buNone/>
        <a:defRPr sz="1998" b="0" kern="1200">
          <a:solidFill>
            <a:schemeClr val="bg1"/>
          </a:solidFill>
          <a:latin typeface="EYInterstate Light" panose="02000506000000020004" pitchFamily="2" charset="0"/>
          <a:ea typeface="+mj-ea"/>
          <a:cs typeface="Arial" pitchFamily="34" charset="0"/>
        </a:defRPr>
      </a:lvl1pPr>
    </p:titleStyle>
    <p:bodyStyle>
      <a:lvl1pPr marL="356265" indent="-356265" algn="l" defTabSz="913499" rtl="0" eaLnBrk="1" latinLnBrk="0" hangingPunct="1">
        <a:spcBef>
          <a:spcPct val="20000"/>
        </a:spcBef>
        <a:buClr>
          <a:schemeClr val="tx2"/>
        </a:buClr>
        <a:buSzPct val="110000"/>
        <a:buFont typeface="EYInterstate Light" panose="02000506000000020004" pitchFamily="2" charset="0"/>
        <a:buChar char="•"/>
        <a:defRPr sz="1798" kern="1200">
          <a:solidFill>
            <a:schemeClr val="bg1"/>
          </a:solidFill>
          <a:latin typeface="EYInterstate Light" panose="02000506000000020004" pitchFamily="2" charset="0"/>
          <a:ea typeface="+mn-ea"/>
          <a:cs typeface="+mn-cs"/>
        </a:defRPr>
      </a:lvl1pPr>
      <a:lvl2pPr marL="712528" indent="-356265" algn="l" defTabSz="913499" rtl="0" eaLnBrk="1" latinLnBrk="0" hangingPunct="1">
        <a:spcBef>
          <a:spcPct val="20000"/>
        </a:spcBef>
        <a:buClr>
          <a:schemeClr val="tx2"/>
        </a:buClr>
        <a:buSzPct val="110000"/>
        <a:buFont typeface="EYInterstate Light" panose="02000506000000020004" pitchFamily="2" charset="0"/>
        <a:buChar char="•"/>
        <a:defRPr sz="1598" kern="1200">
          <a:solidFill>
            <a:schemeClr val="bg1"/>
          </a:solidFill>
          <a:latin typeface="EYInterstate Light" panose="02000506000000020004" pitchFamily="2" charset="0"/>
          <a:ea typeface="+mn-ea"/>
          <a:cs typeface="+mn-cs"/>
        </a:defRPr>
      </a:lvl2pPr>
      <a:lvl3pPr marL="1068793" indent="-356265" algn="l" defTabSz="913499"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3pPr>
      <a:lvl4pPr marL="1425058" indent="-356265" algn="l" defTabSz="913499" rtl="0" eaLnBrk="1" latinLnBrk="0" hangingPunct="1">
        <a:spcBef>
          <a:spcPct val="20000"/>
        </a:spcBef>
        <a:buClr>
          <a:schemeClr val="tx2"/>
        </a:buClr>
        <a:buSzPct val="110000"/>
        <a:buFont typeface="EYInterstate Light" panose="02000506000000020004" pitchFamily="2" charset="0"/>
        <a:buChar char="•"/>
        <a:defRPr sz="1198" kern="1200">
          <a:solidFill>
            <a:schemeClr val="bg1"/>
          </a:solidFill>
          <a:latin typeface="EYInterstate Light" panose="02000506000000020004" pitchFamily="2" charset="0"/>
          <a:ea typeface="+mn-ea"/>
          <a:cs typeface="+mn-cs"/>
        </a:defRPr>
      </a:lvl4pPr>
      <a:lvl5pPr marL="1781322" indent="-356265" algn="l" defTabSz="913499" rtl="0" eaLnBrk="1" latinLnBrk="0" hangingPunct="1">
        <a:spcBef>
          <a:spcPct val="20000"/>
        </a:spcBef>
        <a:buClr>
          <a:schemeClr val="tx2"/>
        </a:buClr>
        <a:buSzPct val="110000"/>
        <a:buFont typeface="EYInterstate Light" panose="02000506000000020004" pitchFamily="2" charset="0"/>
        <a:buChar char="•"/>
        <a:defRPr sz="1098" kern="1200">
          <a:solidFill>
            <a:schemeClr val="bg1"/>
          </a:solidFill>
          <a:latin typeface="EYInterstate Light" panose="02000506000000020004" pitchFamily="2" charset="0"/>
          <a:ea typeface="+mn-ea"/>
          <a:cs typeface="+mn-cs"/>
        </a:defRPr>
      </a:lvl5pPr>
      <a:lvl6pPr marL="2512122" indent="-228375" algn="l" defTabSz="913499"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70" indent="-228375" algn="l" defTabSz="913499"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620" indent="-228375" algn="l" defTabSz="913499"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69" indent="-228375" algn="l" defTabSz="913499"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99" rtl="0" eaLnBrk="1" latinLnBrk="0" hangingPunct="1">
        <a:defRPr sz="1798" kern="1200">
          <a:solidFill>
            <a:schemeClr val="tx1"/>
          </a:solidFill>
          <a:latin typeface="+mn-lt"/>
          <a:ea typeface="+mn-ea"/>
          <a:cs typeface="+mn-cs"/>
        </a:defRPr>
      </a:lvl1pPr>
      <a:lvl2pPr marL="456749" algn="l" defTabSz="913499" rtl="0" eaLnBrk="1" latinLnBrk="0" hangingPunct="1">
        <a:defRPr sz="1798" kern="1200">
          <a:solidFill>
            <a:schemeClr val="tx1"/>
          </a:solidFill>
          <a:latin typeface="+mn-lt"/>
          <a:ea typeface="+mn-ea"/>
          <a:cs typeface="+mn-cs"/>
        </a:defRPr>
      </a:lvl2pPr>
      <a:lvl3pPr marL="913499" algn="l" defTabSz="913499" rtl="0" eaLnBrk="1" latinLnBrk="0" hangingPunct="1">
        <a:defRPr sz="1798" kern="1200">
          <a:solidFill>
            <a:schemeClr val="tx1"/>
          </a:solidFill>
          <a:latin typeface="+mn-lt"/>
          <a:ea typeface="+mn-ea"/>
          <a:cs typeface="+mn-cs"/>
        </a:defRPr>
      </a:lvl3pPr>
      <a:lvl4pPr marL="1370248" algn="l" defTabSz="913499" rtl="0" eaLnBrk="1" latinLnBrk="0" hangingPunct="1">
        <a:defRPr sz="1798" kern="1200">
          <a:solidFill>
            <a:schemeClr val="tx1"/>
          </a:solidFill>
          <a:latin typeface="+mn-lt"/>
          <a:ea typeface="+mn-ea"/>
          <a:cs typeface="+mn-cs"/>
        </a:defRPr>
      </a:lvl4pPr>
      <a:lvl5pPr marL="1826997" algn="l" defTabSz="913499" rtl="0" eaLnBrk="1" latinLnBrk="0" hangingPunct="1">
        <a:defRPr sz="1798" kern="1200">
          <a:solidFill>
            <a:schemeClr val="tx1"/>
          </a:solidFill>
          <a:latin typeface="+mn-lt"/>
          <a:ea typeface="+mn-ea"/>
          <a:cs typeface="+mn-cs"/>
        </a:defRPr>
      </a:lvl5pPr>
      <a:lvl6pPr marL="2283746" algn="l" defTabSz="913499" rtl="0" eaLnBrk="1" latinLnBrk="0" hangingPunct="1">
        <a:defRPr sz="1798" kern="1200">
          <a:solidFill>
            <a:schemeClr val="tx1"/>
          </a:solidFill>
          <a:latin typeface="+mn-lt"/>
          <a:ea typeface="+mn-ea"/>
          <a:cs typeface="+mn-cs"/>
        </a:defRPr>
      </a:lvl6pPr>
      <a:lvl7pPr marL="2740495" algn="l" defTabSz="913499" rtl="0" eaLnBrk="1" latinLnBrk="0" hangingPunct="1">
        <a:defRPr sz="1798" kern="1200">
          <a:solidFill>
            <a:schemeClr val="tx1"/>
          </a:solidFill>
          <a:latin typeface="+mn-lt"/>
          <a:ea typeface="+mn-ea"/>
          <a:cs typeface="+mn-cs"/>
        </a:defRPr>
      </a:lvl7pPr>
      <a:lvl8pPr marL="3197246" algn="l" defTabSz="913499" rtl="0" eaLnBrk="1" latinLnBrk="0" hangingPunct="1">
        <a:defRPr sz="1798" kern="1200">
          <a:solidFill>
            <a:schemeClr val="tx1"/>
          </a:solidFill>
          <a:latin typeface="+mn-lt"/>
          <a:ea typeface="+mn-ea"/>
          <a:cs typeface="+mn-cs"/>
        </a:defRPr>
      </a:lvl8pPr>
      <a:lvl9pPr marL="3653995" algn="l" defTabSz="913499"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126380815"/>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79881"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2"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359096206"/>
      </p:ext>
    </p:extLst>
  </p:cSld>
  <p:clrMap bg1="lt1" tx1="dk1" bg2="lt2" tx2="dk2" accent1="accent1" accent2="accent2" accent3="accent3" accent4="accent4" accent5="accent5" accent6="accent6" hlink="hlink" folHlink="folHlink"/>
  <p:sldLayoutIdLst>
    <p:sldLayoutId id="2147485857" r:id="rId1"/>
    <p:sldLayoutId id="2147485858" r:id="rId2"/>
    <p:sldLayoutId id="2147485859" r:id="rId3"/>
    <p:sldLayoutId id="2147485860" r:id="rId4"/>
    <p:sldLayoutId id="2147485861" r:id="rId5"/>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3894165981"/>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86025"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1124335723"/>
      </p:ext>
    </p:extLst>
  </p:cSld>
  <p:clrMap bg1="lt1" tx1="dk1" bg2="lt2" tx2="dk2" accent1="accent1" accent2="accent2" accent3="accent3" accent4="accent4" accent5="accent5" accent6="accent6" hlink="hlink" folHlink="folHlink"/>
  <p:sldLayoutIdLst>
    <p:sldLayoutId id="2147485871" r:id="rId1"/>
    <p:sldLayoutId id="2147485872" r:id="rId2"/>
    <p:sldLayoutId id="2147485873" r:id="rId3"/>
    <p:sldLayoutId id="2147485874" r:id="rId4"/>
    <p:sldLayoutId id="2147485875" r:id="rId5"/>
    <p:sldLayoutId id="2147485876" r:id="rId6"/>
    <p:sldLayoutId id="2147485877" r:id="rId7"/>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359290622"/>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94217"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4004615030"/>
      </p:ext>
    </p:extLst>
  </p:cSld>
  <p:clrMap bg1="lt1" tx1="dk1" bg2="lt2" tx2="dk2" accent1="accent1" accent2="accent2" accent3="accent3" accent4="accent4" accent5="accent5" accent6="accent6" hlink="hlink" folHlink="folHlink"/>
  <p:sldLayoutIdLst>
    <p:sldLayoutId id="2147485898" r:id="rId1"/>
    <p:sldLayoutId id="2147485899" r:id="rId2"/>
    <p:sldLayoutId id="2147485900" r:id="rId3"/>
    <p:sldLayoutId id="2147485901" r:id="rId4"/>
    <p:sldLayoutId id="2147485902" r:id="rId5"/>
    <p:sldLayoutId id="2147485903" r:id="rId6"/>
    <p:sldLayoutId id="2147485904" r:id="rId7"/>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3048270297"/>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102409"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2"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1089667169"/>
      </p:ext>
    </p:extLst>
  </p:cSld>
  <p:clrMap bg1="lt1" tx1="dk1" bg2="lt2" tx2="dk2" accent1="accent1" accent2="accent2" accent3="accent3" accent4="accent4" accent5="accent5" accent6="accent6" hlink="hlink" folHlink="folHlink"/>
  <p:sldLayoutIdLst>
    <p:sldLayoutId id="2147485913" r:id="rId1"/>
    <p:sldLayoutId id="2147485914" r:id="rId2"/>
    <p:sldLayoutId id="2147485915" r:id="rId3"/>
    <p:sldLayoutId id="2147485916" r:id="rId4"/>
    <p:sldLayoutId id="2147485917" r:id="rId5"/>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2216659482"/>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108553" name="think-cell Slide" r:id="rId13" imgW="216" imgH="216" progId="TCLayout.ActiveDocument.1">
                  <p:embed/>
                </p:oleObj>
              </mc:Choice>
              <mc:Fallback>
                <p:oleObj name="think-cell Slide" r:id="rId13" imgW="216" imgH="216" progId="TCLayout.ActiveDocument.1">
                  <p:embed/>
                  <p:pic>
                    <p:nvPicPr>
                      <p:cNvPr id="4" name="Object 3" hidden="1"/>
                      <p:cNvPicPr/>
                      <p:nvPr/>
                    </p:nvPicPr>
                    <p:blipFill>
                      <a:blip r:embed="rId14"/>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2"/>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5"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917107284"/>
      </p:ext>
    </p:extLst>
  </p:cSld>
  <p:clrMap bg1="lt1" tx1="dk1" bg2="lt2" tx2="dk2" accent1="accent1" accent2="accent2" accent3="accent3" accent4="accent4" accent5="accent5" accent6="accent6" hlink="hlink" folHlink="folHlink"/>
  <p:sldLayoutIdLst>
    <p:sldLayoutId id="2147485939" r:id="rId1"/>
    <p:sldLayoutId id="2147485940" r:id="rId2"/>
    <p:sldLayoutId id="2147485941" r:id="rId3"/>
    <p:sldLayoutId id="2147485942" r:id="rId4"/>
    <p:sldLayoutId id="2147485943" r:id="rId5"/>
    <p:sldLayoutId id="2147485944" r:id="rId6"/>
    <p:sldLayoutId id="2147485945" r:id="rId7"/>
    <p:sldLayoutId id="2147485946" r:id="rId8"/>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2877313566"/>
              </p:ext>
            </p:extLst>
          </p:nvPr>
        </p:nvGraphicFramePr>
        <p:xfrm>
          <a:off x="1441" y="1443"/>
          <a:ext cx="1441" cy="1439"/>
        </p:xfrm>
        <a:graphic>
          <a:graphicData uri="http://schemas.openxmlformats.org/presentationml/2006/ole">
            <mc:AlternateContent xmlns:mc="http://schemas.openxmlformats.org/markup-compatibility/2006">
              <mc:Choice xmlns:v="urn:schemas-microsoft-com:vml" Requires="v">
                <p:oleObj spid="_x0000_s117769"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1" y="1443"/>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1"/>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30"/>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6"/>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632">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2"/>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632">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1"/>
            <a:ext cx="205107" cy="123527"/>
          </a:xfrm>
          <a:prstGeom prst="rect">
            <a:avLst/>
          </a:prstGeom>
          <a:blipFill>
            <a:blip r:embed="rId12" cstate="print"/>
            <a:stretch>
              <a:fillRect/>
            </a:stretch>
          </a:blipFill>
        </p:spPr>
        <p:txBody>
          <a:bodyPr wrap="square" lIns="0" tIns="0" rIns="0" bIns="0" rtlCol="0"/>
          <a:lstStyle/>
          <a:p>
            <a:pPr algn="ctr"/>
            <a:endParaRPr sz="1632">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3"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3"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5"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2412917246"/>
      </p:ext>
    </p:extLst>
  </p:cSld>
  <p:clrMap bg1="lt1" tx1="dk1" bg2="lt2" tx2="dk2" accent1="accent1" accent2="accent2" accent3="accent3" accent4="accent4" accent5="accent5" accent6="accent6" hlink="hlink" folHlink="folHlink"/>
  <p:sldLayoutIdLst>
    <p:sldLayoutId id="2147485960" r:id="rId1"/>
    <p:sldLayoutId id="2147485961" r:id="rId2"/>
    <p:sldLayoutId id="2147485962" r:id="rId3"/>
    <p:sldLayoutId id="2147485963" r:id="rId4"/>
    <p:sldLayoutId id="2147485964" r:id="rId5"/>
  </p:sldLayoutIdLst>
  <p:hf hdr="0" ftr="0" dt="0"/>
  <p:txStyles>
    <p:titleStyle>
      <a:lvl1pPr algn="l" defTabSz="1148804"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35" indent="-448035" algn="l" defTabSz="1148804"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066" indent="-448035" algn="l" defTabSz="1148804"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101" indent="-448035" algn="l" defTabSz="1148804" rtl="0" eaLnBrk="1" latinLnBrk="0" hangingPunct="1">
        <a:spcBef>
          <a:spcPct val="20000"/>
        </a:spcBef>
        <a:buClr>
          <a:schemeClr val="tx1"/>
        </a:buClr>
        <a:buSzPct val="70000"/>
        <a:buFont typeface="Arial" pitchFamily="34" charset="0"/>
        <a:buChar char="►"/>
        <a:defRPr sz="1632" b="0" i="0" kern="1200">
          <a:solidFill>
            <a:schemeClr val="bg1"/>
          </a:solidFill>
          <a:latin typeface="EYInterstate Light" panose="02000506000000020004" pitchFamily="2" charset="0"/>
          <a:ea typeface="+mn-ea"/>
          <a:cs typeface="+mn-cs"/>
        </a:defRPr>
      </a:lvl3pPr>
      <a:lvl4pPr marL="1792134" indent="-448035" algn="l" defTabSz="1148804"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166" indent="-448035" algn="l" defTabSz="1148804"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211" indent="-287202" algn="l" defTabSz="1148804"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3613" indent="-287202" algn="l" defTabSz="1148804"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016" indent="-287202" algn="l" defTabSz="1148804"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416" indent="-287202" algn="l" defTabSz="1148804"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804" rtl="0" eaLnBrk="1" latinLnBrk="0" hangingPunct="1">
        <a:defRPr sz="2261" kern="1200">
          <a:solidFill>
            <a:schemeClr val="tx1"/>
          </a:solidFill>
          <a:latin typeface="+mn-lt"/>
          <a:ea typeface="+mn-ea"/>
          <a:cs typeface="+mn-cs"/>
        </a:defRPr>
      </a:lvl1pPr>
      <a:lvl2pPr marL="574401" algn="l" defTabSz="1148804" rtl="0" eaLnBrk="1" latinLnBrk="0" hangingPunct="1">
        <a:defRPr sz="2261" kern="1200">
          <a:solidFill>
            <a:schemeClr val="tx1"/>
          </a:solidFill>
          <a:latin typeface="+mn-lt"/>
          <a:ea typeface="+mn-ea"/>
          <a:cs typeface="+mn-cs"/>
        </a:defRPr>
      </a:lvl2pPr>
      <a:lvl3pPr marL="1148804" algn="l" defTabSz="1148804" rtl="0" eaLnBrk="1" latinLnBrk="0" hangingPunct="1">
        <a:defRPr sz="2261" kern="1200">
          <a:solidFill>
            <a:schemeClr val="tx1"/>
          </a:solidFill>
          <a:latin typeface="+mn-lt"/>
          <a:ea typeface="+mn-ea"/>
          <a:cs typeface="+mn-cs"/>
        </a:defRPr>
      </a:lvl3pPr>
      <a:lvl4pPr marL="1723206" algn="l" defTabSz="1148804" rtl="0" eaLnBrk="1" latinLnBrk="0" hangingPunct="1">
        <a:defRPr sz="2261" kern="1200">
          <a:solidFill>
            <a:schemeClr val="tx1"/>
          </a:solidFill>
          <a:latin typeface="+mn-lt"/>
          <a:ea typeface="+mn-ea"/>
          <a:cs typeface="+mn-cs"/>
        </a:defRPr>
      </a:lvl4pPr>
      <a:lvl5pPr marL="2297609" algn="l" defTabSz="1148804" rtl="0" eaLnBrk="1" latinLnBrk="0" hangingPunct="1">
        <a:defRPr sz="2261" kern="1200">
          <a:solidFill>
            <a:schemeClr val="tx1"/>
          </a:solidFill>
          <a:latin typeface="+mn-lt"/>
          <a:ea typeface="+mn-ea"/>
          <a:cs typeface="+mn-cs"/>
        </a:defRPr>
      </a:lvl5pPr>
      <a:lvl6pPr marL="2872010" algn="l" defTabSz="1148804" rtl="0" eaLnBrk="1" latinLnBrk="0" hangingPunct="1">
        <a:defRPr sz="2261" kern="1200">
          <a:solidFill>
            <a:schemeClr val="tx1"/>
          </a:solidFill>
          <a:latin typeface="+mn-lt"/>
          <a:ea typeface="+mn-ea"/>
          <a:cs typeface="+mn-cs"/>
        </a:defRPr>
      </a:lvl6pPr>
      <a:lvl7pPr marL="3446410" algn="l" defTabSz="1148804" rtl="0" eaLnBrk="1" latinLnBrk="0" hangingPunct="1">
        <a:defRPr sz="2261" kern="1200">
          <a:solidFill>
            <a:schemeClr val="tx1"/>
          </a:solidFill>
          <a:latin typeface="+mn-lt"/>
          <a:ea typeface="+mn-ea"/>
          <a:cs typeface="+mn-cs"/>
        </a:defRPr>
      </a:lvl7pPr>
      <a:lvl8pPr marL="4020814" algn="l" defTabSz="1148804" rtl="0" eaLnBrk="1" latinLnBrk="0" hangingPunct="1">
        <a:defRPr sz="2261" kern="1200">
          <a:solidFill>
            <a:schemeClr val="tx1"/>
          </a:solidFill>
          <a:latin typeface="+mn-lt"/>
          <a:ea typeface="+mn-ea"/>
          <a:cs typeface="+mn-cs"/>
        </a:defRPr>
      </a:lvl8pPr>
      <a:lvl9pPr marL="4595214" algn="l" defTabSz="1148804" rtl="0" eaLnBrk="1" latinLnBrk="0" hangingPunct="1">
        <a:defRPr sz="2261"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3147754089"/>
              </p:ext>
            </p:extLst>
          </p:nvPr>
        </p:nvGraphicFramePr>
        <p:xfrm>
          <a:off x="1441" y="1443"/>
          <a:ext cx="1441" cy="1439"/>
        </p:xfrm>
        <a:graphic>
          <a:graphicData uri="http://schemas.openxmlformats.org/presentationml/2006/ole">
            <mc:AlternateContent xmlns:mc="http://schemas.openxmlformats.org/markup-compatibility/2006">
              <mc:Choice xmlns:v="urn:schemas-microsoft-com:vml" Requires="v">
                <p:oleObj spid="_x0000_s123913"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1" y="1443"/>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1"/>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30"/>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6"/>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632">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2"/>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632">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1"/>
            <a:ext cx="205107" cy="123527"/>
          </a:xfrm>
          <a:prstGeom prst="rect">
            <a:avLst/>
          </a:prstGeom>
          <a:blipFill>
            <a:blip r:embed="rId12" cstate="print"/>
            <a:stretch>
              <a:fillRect/>
            </a:stretch>
          </a:blipFill>
        </p:spPr>
        <p:txBody>
          <a:bodyPr wrap="square" lIns="0" tIns="0" rIns="0" bIns="0" rtlCol="0"/>
          <a:lstStyle/>
          <a:p>
            <a:pPr algn="ctr"/>
            <a:endParaRPr sz="1632">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3"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3"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26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5"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601729384"/>
      </p:ext>
    </p:extLst>
  </p:cSld>
  <p:clrMap bg1="lt1" tx1="dk1" bg2="lt2" tx2="dk2" accent1="accent1" accent2="accent2" accent3="accent3" accent4="accent4" accent5="accent5" accent6="accent6" hlink="hlink" folHlink="folHlink"/>
  <p:sldLayoutIdLst>
    <p:sldLayoutId id="2147485966" r:id="rId1"/>
    <p:sldLayoutId id="2147485967" r:id="rId2"/>
    <p:sldLayoutId id="2147485968" r:id="rId3"/>
    <p:sldLayoutId id="2147485969" r:id="rId4"/>
    <p:sldLayoutId id="2147485970" r:id="rId5"/>
  </p:sldLayoutIdLst>
  <p:hf hdr="0" ftr="0" dt="0"/>
  <p:txStyles>
    <p:titleStyle>
      <a:lvl1pPr algn="l" defTabSz="1148804"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35" indent="-448035" algn="l" defTabSz="1148804"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066" indent="-448035" algn="l" defTabSz="1148804"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101" indent="-448035" algn="l" defTabSz="1148804" rtl="0" eaLnBrk="1" latinLnBrk="0" hangingPunct="1">
        <a:spcBef>
          <a:spcPct val="20000"/>
        </a:spcBef>
        <a:buClr>
          <a:schemeClr val="tx1"/>
        </a:buClr>
        <a:buSzPct val="70000"/>
        <a:buFont typeface="Arial" pitchFamily="34" charset="0"/>
        <a:buChar char="►"/>
        <a:defRPr sz="1632" b="0" i="0" kern="1200">
          <a:solidFill>
            <a:schemeClr val="bg1"/>
          </a:solidFill>
          <a:latin typeface="EYInterstate Light" panose="02000506000000020004" pitchFamily="2" charset="0"/>
          <a:ea typeface="+mn-ea"/>
          <a:cs typeface="+mn-cs"/>
        </a:defRPr>
      </a:lvl3pPr>
      <a:lvl4pPr marL="1792134" indent="-448035" algn="l" defTabSz="1148804"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166" indent="-448035" algn="l" defTabSz="1148804"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211" indent="-287202" algn="l" defTabSz="1148804"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3613" indent="-287202" algn="l" defTabSz="1148804"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016" indent="-287202" algn="l" defTabSz="1148804"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416" indent="-287202" algn="l" defTabSz="1148804"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804" rtl="0" eaLnBrk="1" latinLnBrk="0" hangingPunct="1">
        <a:defRPr sz="2261" kern="1200">
          <a:solidFill>
            <a:schemeClr val="tx1"/>
          </a:solidFill>
          <a:latin typeface="+mn-lt"/>
          <a:ea typeface="+mn-ea"/>
          <a:cs typeface="+mn-cs"/>
        </a:defRPr>
      </a:lvl1pPr>
      <a:lvl2pPr marL="574401" algn="l" defTabSz="1148804" rtl="0" eaLnBrk="1" latinLnBrk="0" hangingPunct="1">
        <a:defRPr sz="2261" kern="1200">
          <a:solidFill>
            <a:schemeClr val="tx1"/>
          </a:solidFill>
          <a:latin typeface="+mn-lt"/>
          <a:ea typeface="+mn-ea"/>
          <a:cs typeface="+mn-cs"/>
        </a:defRPr>
      </a:lvl2pPr>
      <a:lvl3pPr marL="1148804" algn="l" defTabSz="1148804" rtl="0" eaLnBrk="1" latinLnBrk="0" hangingPunct="1">
        <a:defRPr sz="2261" kern="1200">
          <a:solidFill>
            <a:schemeClr val="tx1"/>
          </a:solidFill>
          <a:latin typeface="+mn-lt"/>
          <a:ea typeface="+mn-ea"/>
          <a:cs typeface="+mn-cs"/>
        </a:defRPr>
      </a:lvl3pPr>
      <a:lvl4pPr marL="1723206" algn="l" defTabSz="1148804" rtl="0" eaLnBrk="1" latinLnBrk="0" hangingPunct="1">
        <a:defRPr sz="2261" kern="1200">
          <a:solidFill>
            <a:schemeClr val="tx1"/>
          </a:solidFill>
          <a:latin typeface="+mn-lt"/>
          <a:ea typeface="+mn-ea"/>
          <a:cs typeface="+mn-cs"/>
        </a:defRPr>
      </a:lvl4pPr>
      <a:lvl5pPr marL="2297609" algn="l" defTabSz="1148804" rtl="0" eaLnBrk="1" latinLnBrk="0" hangingPunct="1">
        <a:defRPr sz="2261" kern="1200">
          <a:solidFill>
            <a:schemeClr val="tx1"/>
          </a:solidFill>
          <a:latin typeface="+mn-lt"/>
          <a:ea typeface="+mn-ea"/>
          <a:cs typeface="+mn-cs"/>
        </a:defRPr>
      </a:lvl5pPr>
      <a:lvl6pPr marL="2872010" algn="l" defTabSz="1148804" rtl="0" eaLnBrk="1" latinLnBrk="0" hangingPunct="1">
        <a:defRPr sz="2261" kern="1200">
          <a:solidFill>
            <a:schemeClr val="tx1"/>
          </a:solidFill>
          <a:latin typeface="+mn-lt"/>
          <a:ea typeface="+mn-ea"/>
          <a:cs typeface="+mn-cs"/>
        </a:defRPr>
      </a:lvl6pPr>
      <a:lvl7pPr marL="3446410" algn="l" defTabSz="1148804" rtl="0" eaLnBrk="1" latinLnBrk="0" hangingPunct="1">
        <a:defRPr sz="2261" kern="1200">
          <a:solidFill>
            <a:schemeClr val="tx1"/>
          </a:solidFill>
          <a:latin typeface="+mn-lt"/>
          <a:ea typeface="+mn-ea"/>
          <a:cs typeface="+mn-cs"/>
        </a:defRPr>
      </a:lvl7pPr>
      <a:lvl8pPr marL="4020814" algn="l" defTabSz="1148804" rtl="0" eaLnBrk="1" latinLnBrk="0" hangingPunct="1">
        <a:defRPr sz="2261" kern="1200">
          <a:solidFill>
            <a:schemeClr val="tx1"/>
          </a:solidFill>
          <a:latin typeface="+mn-lt"/>
          <a:ea typeface="+mn-ea"/>
          <a:cs typeface="+mn-cs"/>
        </a:defRPr>
      </a:lvl8pPr>
      <a:lvl9pPr marL="4595214" algn="l" defTabSz="1148804" rtl="0" eaLnBrk="1" latinLnBrk="0" hangingPunct="1">
        <a:defRPr sz="2261"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3594333447"/>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30057"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2" y="1444"/>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2"/>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6"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5"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5"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31"/>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7"/>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3"/>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2"/>
            <a:ext cx="205107" cy="123527"/>
          </a:xfrm>
          <a:prstGeom prst="rect">
            <a:avLst/>
          </a:prstGeom>
          <a:blipFill>
            <a:blip r:embed="rId14"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3"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3"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5"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1994647662"/>
      </p:ext>
    </p:extLst>
  </p:cSld>
  <p:clrMap bg1="lt1" tx1="dk1" bg2="lt2" tx2="dk2" accent1="accent1" accent2="accent2" accent3="accent3" accent4="accent4" accent5="accent5" accent6="accent6" hlink="hlink" folHlink="folHlink"/>
  <p:sldLayoutIdLst>
    <p:sldLayoutId id="2147485982" r:id="rId1"/>
    <p:sldLayoutId id="2147485983" r:id="rId2"/>
    <p:sldLayoutId id="2147485984" r:id="rId3"/>
    <p:sldLayoutId id="2147485985" r:id="rId4"/>
    <p:sldLayoutId id="2147485986" r:id="rId5"/>
    <p:sldLayoutId id="2147485987" r:id="rId6"/>
    <p:sldLayoutId id="2147485988" r:id="rId7"/>
  </p:sldLayoutIdLst>
  <p:hf hdr="0" ftr="0" dt="0"/>
  <p:txStyles>
    <p:titleStyle>
      <a:lvl1pPr algn="l" defTabSz="1148356" rtl="0" eaLnBrk="1" latinLnBrk="0" hangingPunct="1">
        <a:lnSpc>
          <a:spcPct val="85000"/>
        </a:lnSpc>
        <a:spcBef>
          <a:spcPct val="0"/>
        </a:spcBef>
        <a:buNone/>
        <a:defRPr sz="2176" b="1" i="0" kern="1200">
          <a:solidFill>
            <a:schemeClr val="bg1"/>
          </a:solidFill>
          <a:latin typeface="EYInterstate" panose="02000503020000020004" pitchFamily="2" charset="0"/>
          <a:ea typeface="+mj-ea"/>
          <a:cs typeface="Arial" pitchFamily="34" charset="0"/>
        </a:defRPr>
      </a:lvl1pPr>
    </p:titleStyle>
    <p:bodyStyle>
      <a:lvl1pPr marL="447860" indent="-447860" algn="l" defTabSz="1148356" rtl="0" eaLnBrk="1" latinLnBrk="0" hangingPunct="1">
        <a:spcBef>
          <a:spcPct val="20000"/>
        </a:spcBef>
        <a:buClr>
          <a:schemeClr val="tx1"/>
        </a:buClr>
        <a:buSzPct val="70000"/>
        <a:buFont typeface="Arial" pitchFamily="34" charset="0"/>
        <a:buChar char="►"/>
        <a:defRPr sz="2260" b="0" i="0" kern="1200">
          <a:solidFill>
            <a:schemeClr val="bg1"/>
          </a:solidFill>
          <a:latin typeface="EYInterstate Light" panose="02000506000000020004" pitchFamily="2" charset="0"/>
          <a:ea typeface="+mn-ea"/>
          <a:cs typeface="+mn-cs"/>
        </a:defRPr>
      </a:lvl1pPr>
      <a:lvl2pPr marL="895717" indent="-447860" algn="l" defTabSz="1148356" rtl="0" eaLnBrk="1" latinLnBrk="0" hangingPunct="1">
        <a:spcBef>
          <a:spcPct val="20000"/>
        </a:spcBef>
        <a:buClr>
          <a:schemeClr val="tx1"/>
        </a:buClr>
        <a:buSzPct val="70000"/>
        <a:buFont typeface="Arial" pitchFamily="34" charset="0"/>
        <a:buChar char="►"/>
        <a:defRPr sz="1813" b="0" i="0" kern="1200">
          <a:solidFill>
            <a:schemeClr val="bg1"/>
          </a:solidFill>
          <a:latin typeface="EYInterstate Light" panose="02000506000000020004" pitchFamily="2" charset="0"/>
          <a:ea typeface="+mn-ea"/>
          <a:cs typeface="+mn-cs"/>
        </a:defRPr>
      </a:lvl2pPr>
      <a:lvl3pPr marL="1343577" indent="-447860" algn="l" defTabSz="1148356" rtl="0" eaLnBrk="1" latinLnBrk="0" hangingPunct="1">
        <a:spcBef>
          <a:spcPct val="20000"/>
        </a:spcBef>
        <a:buClr>
          <a:schemeClr val="tx1"/>
        </a:buClr>
        <a:buSzPct val="70000"/>
        <a:buFont typeface="Arial" pitchFamily="34" charset="0"/>
        <a:buChar char="►"/>
        <a:defRPr sz="1632" b="0" i="0" kern="1200">
          <a:solidFill>
            <a:schemeClr val="bg1"/>
          </a:solidFill>
          <a:latin typeface="EYInterstate Light" panose="02000506000000020004" pitchFamily="2" charset="0"/>
          <a:ea typeface="+mn-ea"/>
          <a:cs typeface="+mn-cs"/>
        </a:defRPr>
      </a:lvl3pPr>
      <a:lvl4pPr marL="1791436" indent="-447860" algn="l" defTabSz="1148356" rtl="0" eaLnBrk="1" latinLnBrk="0" hangingPunct="1">
        <a:spcBef>
          <a:spcPct val="20000"/>
        </a:spcBef>
        <a:buClr>
          <a:schemeClr val="tx1"/>
        </a:buClr>
        <a:buSzPct val="70000"/>
        <a:buFont typeface="Arial" pitchFamily="34" charset="0"/>
        <a:buChar char="►"/>
        <a:defRPr sz="1450" b="0" i="0" kern="1200">
          <a:solidFill>
            <a:schemeClr val="bg1"/>
          </a:solidFill>
          <a:latin typeface="EYInterstate Light" panose="02000506000000020004" pitchFamily="2" charset="0"/>
          <a:ea typeface="+mn-ea"/>
          <a:cs typeface="+mn-cs"/>
        </a:defRPr>
      </a:lvl4pPr>
      <a:lvl5pPr marL="2239293" indent="-447860" algn="l" defTabSz="1148356" rtl="0" eaLnBrk="1" latinLnBrk="0" hangingPunct="1">
        <a:spcBef>
          <a:spcPct val="20000"/>
        </a:spcBef>
        <a:buClr>
          <a:schemeClr val="tx1"/>
        </a:buClr>
        <a:buSzPct val="70000"/>
        <a:buFont typeface="Arial" pitchFamily="34" charset="0"/>
        <a:buChar char="►"/>
        <a:defRPr sz="1269" b="0" i="0" kern="1200">
          <a:solidFill>
            <a:schemeClr val="bg1"/>
          </a:solidFill>
          <a:latin typeface="EYInterstate Light" panose="02000506000000020004" pitchFamily="2" charset="0"/>
          <a:ea typeface="+mn-ea"/>
          <a:cs typeface="+mn-cs"/>
        </a:defRPr>
      </a:lvl5pPr>
      <a:lvl6pPr marL="3157979"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6pPr>
      <a:lvl7pPr marL="3732158"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7pPr>
      <a:lvl8pPr marL="4306337"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8pPr>
      <a:lvl9pPr marL="4880513"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9pPr>
    </p:bodyStyle>
    <p:otherStyle>
      <a:defPPr>
        <a:defRPr lang="en-US"/>
      </a:defPPr>
      <a:lvl1pPr marL="0" algn="l" defTabSz="1148356" rtl="0" eaLnBrk="1" latinLnBrk="0" hangingPunct="1">
        <a:defRPr sz="2260" kern="1200">
          <a:solidFill>
            <a:schemeClr val="tx1"/>
          </a:solidFill>
          <a:latin typeface="+mn-lt"/>
          <a:ea typeface="+mn-ea"/>
          <a:cs typeface="+mn-cs"/>
        </a:defRPr>
      </a:lvl1pPr>
      <a:lvl2pPr marL="574177" algn="l" defTabSz="1148356" rtl="0" eaLnBrk="1" latinLnBrk="0" hangingPunct="1">
        <a:defRPr sz="2260" kern="1200">
          <a:solidFill>
            <a:schemeClr val="tx1"/>
          </a:solidFill>
          <a:latin typeface="+mn-lt"/>
          <a:ea typeface="+mn-ea"/>
          <a:cs typeface="+mn-cs"/>
        </a:defRPr>
      </a:lvl2pPr>
      <a:lvl3pPr marL="1148356" algn="l" defTabSz="1148356" rtl="0" eaLnBrk="1" latinLnBrk="0" hangingPunct="1">
        <a:defRPr sz="2260" kern="1200">
          <a:solidFill>
            <a:schemeClr val="tx1"/>
          </a:solidFill>
          <a:latin typeface="+mn-lt"/>
          <a:ea typeface="+mn-ea"/>
          <a:cs typeface="+mn-cs"/>
        </a:defRPr>
      </a:lvl3pPr>
      <a:lvl4pPr marL="1722534" algn="l" defTabSz="1148356" rtl="0" eaLnBrk="1" latinLnBrk="0" hangingPunct="1">
        <a:defRPr sz="2260" kern="1200">
          <a:solidFill>
            <a:schemeClr val="tx1"/>
          </a:solidFill>
          <a:latin typeface="+mn-lt"/>
          <a:ea typeface="+mn-ea"/>
          <a:cs typeface="+mn-cs"/>
        </a:defRPr>
      </a:lvl4pPr>
      <a:lvl5pPr marL="2296714" algn="l" defTabSz="1148356" rtl="0" eaLnBrk="1" latinLnBrk="0" hangingPunct="1">
        <a:defRPr sz="2260" kern="1200">
          <a:solidFill>
            <a:schemeClr val="tx1"/>
          </a:solidFill>
          <a:latin typeface="+mn-lt"/>
          <a:ea typeface="+mn-ea"/>
          <a:cs typeface="+mn-cs"/>
        </a:defRPr>
      </a:lvl5pPr>
      <a:lvl6pPr marL="2870891" algn="l" defTabSz="1148356" rtl="0" eaLnBrk="1" latinLnBrk="0" hangingPunct="1">
        <a:defRPr sz="2260" kern="1200">
          <a:solidFill>
            <a:schemeClr val="tx1"/>
          </a:solidFill>
          <a:latin typeface="+mn-lt"/>
          <a:ea typeface="+mn-ea"/>
          <a:cs typeface="+mn-cs"/>
        </a:defRPr>
      </a:lvl6pPr>
      <a:lvl7pPr marL="3445067" algn="l" defTabSz="1148356" rtl="0" eaLnBrk="1" latinLnBrk="0" hangingPunct="1">
        <a:defRPr sz="2260" kern="1200">
          <a:solidFill>
            <a:schemeClr val="tx1"/>
          </a:solidFill>
          <a:latin typeface="+mn-lt"/>
          <a:ea typeface="+mn-ea"/>
          <a:cs typeface="+mn-cs"/>
        </a:defRPr>
      </a:lvl7pPr>
      <a:lvl8pPr marL="4019246" algn="l" defTabSz="1148356" rtl="0" eaLnBrk="1" latinLnBrk="0" hangingPunct="1">
        <a:defRPr sz="2260" kern="1200">
          <a:solidFill>
            <a:schemeClr val="tx1"/>
          </a:solidFill>
          <a:latin typeface="+mn-lt"/>
          <a:ea typeface="+mn-ea"/>
          <a:cs typeface="+mn-cs"/>
        </a:defRPr>
      </a:lvl8pPr>
      <a:lvl9pPr marL="4593423" algn="l" defTabSz="1148356" rtl="0" eaLnBrk="1" latinLnBrk="0" hangingPunct="1">
        <a:defRPr sz="226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3910319829"/>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38249"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2" y="1444"/>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2"/>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6"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5"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5"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31"/>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7"/>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3"/>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2"/>
            <a:ext cx="205107" cy="123527"/>
          </a:xfrm>
          <a:prstGeom prst="rect">
            <a:avLst/>
          </a:prstGeom>
          <a:blipFill>
            <a:blip r:embed="rId14"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3"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3"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5"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3388419673"/>
      </p:ext>
    </p:extLst>
  </p:cSld>
  <p:clrMap bg1="lt1" tx1="dk1" bg2="lt2" tx2="dk2" accent1="accent1" accent2="accent2" accent3="accent3" accent4="accent4" accent5="accent5" accent6="accent6" hlink="hlink" folHlink="folHlink"/>
  <p:sldLayoutIdLst>
    <p:sldLayoutId id="2147485993" r:id="rId1"/>
    <p:sldLayoutId id="2147485994" r:id="rId2"/>
    <p:sldLayoutId id="2147485995" r:id="rId3"/>
    <p:sldLayoutId id="2147485996" r:id="rId4"/>
    <p:sldLayoutId id="2147485997" r:id="rId5"/>
    <p:sldLayoutId id="2147485998" r:id="rId6"/>
    <p:sldLayoutId id="2147485999" r:id="rId7"/>
  </p:sldLayoutIdLst>
  <p:hf hdr="0" ftr="0" dt="0"/>
  <p:txStyles>
    <p:titleStyle>
      <a:lvl1pPr algn="l" defTabSz="1148356" rtl="0" eaLnBrk="1" latinLnBrk="0" hangingPunct="1">
        <a:lnSpc>
          <a:spcPct val="85000"/>
        </a:lnSpc>
        <a:spcBef>
          <a:spcPct val="0"/>
        </a:spcBef>
        <a:buNone/>
        <a:defRPr sz="2176" b="1" i="0" kern="1200">
          <a:solidFill>
            <a:schemeClr val="bg1"/>
          </a:solidFill>
          <a:latin typeface="EYInterstate" panose="02000503020000020004" pitchFamily="2" charset="0"/>
          <a:ea typeface="+mj-ea"/>
          <a:cs typeface="Arial" pitchFamily="34" charset="0"/>
        </a:defRPr>
      </a:lvl1pPr>
    </p:titleStyle>
    <p:bodyStyle>
      <a:lvl1pPr marL="447860" indent="-447860" algn="l" defTabSz="1148356" rtl="0" eaLnBrk="1" latinLnBrk="0" hangingPunct="1">
        <a:spcBef>
          <a:spcPct val="20000"/>
        </a:spcBef>
        <a:buClr>
          <a:schemeClr val="tx1"/>
        </a:buClr>
        <a:buSzPct val="70000"/>
        <a:buFont typeface="Arial" pitchFamily="34" charset="0"/>
        <a:buChar char="►"/>
        <a:defRPr sz="2260" b="0" i="0" kern="1200">
          <a:solidFill>
            <a:schemeClr val="bg1"/>
          </a:solidFill>
          <a:latin typeface="EYInterstate Light" panose="02000506000000020004" pitchFamily="2" charset="0"/>
          <a:ea typeface="+mn-ea"/>
          <a:cs typeface="+mn-cs"/>
        </a:defRPr>
      </a:lvl1pPr>
      <a:lvl2pPr marL="895717" indent="-447860" algn="l" defTabSz="1148356" rtl="0" eaLnBrk="1" latinLnBrk="0" hangingPunct="1">
        <a:spcBef>
          <a:spcPct val="20000"/>
        </a:spcBef>
        <a:buClr>
          <a:schemeClr val="tx1"/>
        </a:buClr>
        <a:buSzPct val="70000"/>
        <a:buFont typeface="Arial" pitchFamily="34" charset="0"/>
        <a:buChar char="►"/>
        <a:defRPr sz="1813" b="0" i="0" kern="1200">
          <a:solidFill>
            <a:schemeClr val="bg1"/>
          </a:solidFill>
          <a:latin typeface="EYInterstate Light" panose="02000506000000020004" pitchFamily="2" charset="0"/>
          <a:ea typeface="+mn-ea"/>
          <a:cs typeface="+mn-cs"/>
        </a:defRPr>
      </a:lvl2pPr>
      <a:lvl3pPr marL="1343577" indent="-447860" algn="l" defTabSz="1148356" rtl="0" eaLnBrk="1" latinLnBrk="0" hangingPunct="1">
        <a:spcBef>
          <a:spcPct val="20000"/>
        </a:spcBef>
        <a:buClr>
          <a:schemeClr val="tx1"/>
        </a:buClr>
        <a:buSzPct val="70000"/>
        <a:buFont typeface="Arial" pitchFamily="34" charset="0"/>
        <a:buChar char="►"/>
        <a:defRPr sz="1632" b="0" i="0" kern="1200">
          <a:solidFill>
            <a:schemeClr val="bg1"/>
          </a:solidFill>
          <a:latin typeface="EYInterstate Light" panose="02000506000000020004" pitchFamily="2" charset="0"/>
          <a:ea typeface="+mn-ea"/>
          <a:cs typeface="+mn-cs"/>
        </a:defRPr>
      </a:lvl3pPr>
      <a:lvl4pPr marL="1791436" indent="-447860" algn="l" defTabSz="1148356" rtl="0" eaLnBrk="1" latinLnBrk="0" hangingPunct="1">
        <a:spcBef>
          <a:spcPct val="20000"/>
        </a:spcBef>
        <a:buClr>
          <a:schemeClr val="tx1"/>
        </a:buClr>
        <a:buSzPct val="70000"/>
        <a:buFont typeface="Arial" pitchFamily="34" charset="0"/>
        <a:buChar char="►"/>
        <a:defRPr sz="1450" b="0" i="0" kern="1200">
          <a:solidFill>
            <a:schemeClr val="bg1"/>
          </a:solidFill>
          <a:latin typeface="EYInterstate Light" panose="02000506000000020004" pitchFamily="2" charset="0"/>
          <a:ea typeface="+mn-ea"/>
          <a:cs typeface="+mn-cs"/>
        </a:defRPr>
      </a:lvl4pPr>
      <a:lvl5pPr marL="2239293" indent="-447860" algn="l" defTabSz="1148356" rtl="0" eaLnBrk="1" latinLnBrk="0" hangingPunct="1">
        <a:spcBef>
          <a:spcPct val="20000"/>
        </a:spcBef>
        <a:buClr>
          <a:schemeClr val="tx1"/>
        </a:buClr>
        <a:buSzPct val="70000"/>
        <a:buFont typeface="Arial" pitchFamily="34" charset="0"/>
        <a:buChar char="►"/>
        <a:defRPr sz="1269" b="0" i="0" kern="1200">
          <a:solidFill>
            <a:schemeClr val="bg1"/>
          </a:solidFill>
          <a:latin typeface="EYInterstate Light" panose="02000506000000020004" pitchFamily="2" charset="0"/>
          <a:ea typeface="+mn-ea"/>
          <a:cs typeface="+mn-cs"/>
        </a:defRPr>
      </a:lvl5pPr>
      <a:lvl6pPr marL="3157979"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6pPr>
      <a:lvl7pPr marL="3732158"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7pPr>
      <a:lvl8pPr marL="4306337"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8pPr>
      <a:lvl9pPr marL="4880513"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9pPr>
    </p:bodyStyle>
    <p:otherStyle>
      <a:defPPr>
        <a:defRPr lang="en-US"/>
      </a:defPPr>
      <a:lvl1pPr marL="0" algn="l" defTabSz="1148356" rtl="0" eaLnBrk="1" latinLnBrk="0" hangingPunct="1">
        <a:defRPr sz="2260" kern="1200">
          <a:solidFill>
            <a:schemeClr val="tx1"/>
          </a:solidFill>
          <a:latin typeface="+mn-lt"/>
          <a:ea typeface="+mn-ea"/>
          <a:cs typeface="+mn-cs"/>
        </a:defRPr>
      </a:lvl1pPr>
      <a:lvl2pPr marL="574177" algn="l" defTabSz="1148356" rtl="0" eaLnBrk="1" latinLnBrk="0" hangingPunct="1">
        <a:defRPr sz="2260" kern="1200">
          <a:solidFill>
            <a:schemeClr val="tx1"/>
          </a:solidFill>
          <a:latin typeface="+mn-lt"/>
          <a:ea typeface="+mn-ea"/>
          <a:cs typeface="+mn-cs"/>
        </a:defRPr>
      </a:lvl2pPr>
      <a:lvl3pPr marL="1148356" algn="l" defTabSz="1148356" rtl="0" eaLnBrk="1" latinLnBrk="0" hangingPunct="1">
        <a:defRPr sz="2260" kern="1200">
          <a:solidFill>
            <a:schemeClr val="tx1"/>
          </a:solidFill>
          <a:latin typeface="+mn-lt"/>
          <a:ea typeface="+mn-ea"/>
          <a:cs typeface="+mn-cs"/>
        </a:defRPr>
      </a:lvl3pPr>
      <a:lvl4pPr marL="1722534" algn="l" defTabSz="1148356" rtl="0" eaLnBrk="1" latinLnBrk="0" hangingPunct="1">
        <a:defRPr sz="2260" kern="1200">
          <a:solidFill>
            <a:schemeClr val="tx1"/>
          </a:solidFill>
          <a:latin typeface="+mn-lt"/>
          <a:ea typeface="+mn-ea"/>
          <a:cs typeface="+mn-cs"/>
        </a:defRPr>
      </a:lvl4pPr>
      <a:lvl5pPr marL="2296714" algn="l" defTabSz="1148356" rtl="0" eaLnBrk="1" latinLnBrk="0" hangingPunct="1">
        <a:defRPr sz="2260" kern="1200">
          <a:solidFill>
            <a:schemeClr val="tx1"/>
          </a:solidFill>
          <a:latin typeface="+mn-lt"/>
          <a:ea typeface="+mn-ea"/>
          <a:cs typeface="+mn-cs"/>
        </a:defRPr>
      </a:lvl5pPr>
      <a:lvl6pPr marL="2870891" algn="l" defTabSz="1148356" rtl="0" eaLnBrk="1" latinLnBrk="0" hangingPunct="1">
        <a:defRPr sz="2260" kern="1200">
          <a:solidFill>
            <a:schemeClr val="tx1"/>
          </a:solidFill>
          <a:latin typeface="+mn-lt"/>
          <a:ea typeface="+mn-ea"/>
          <a:cs typeface="+mn-cs"/>
        </a:defRPr>
      </a:lvl6pPr>
      <a:lvl7pPr marL="3445067" algn="l" defTabSz="1148356" rtl="0" eaLnBrk="1" latinLnBrk="0" hangingPunct="1">
        <a:defRPr sz="2260" kern="1200">
          <a:solidFill>
            <a:schemeClr val="tx1"/>
          </a:solidFill>
          <a:latin typeface="+mn-lt"/>
          <a:ea typeface="+mn-ea"/>
          <a:cs typeface="+mn-cs"/>
        </a:defRPr>
      </a:lvl7pPr>
      <a:lvl8pPr marL="4019246" algn="l" defTabSz="1148356" rtl="0" eaLnBrk="1" latinLnBrk="0" hangingPunct="1">
        <a:defRPr sz="2260" kern="1200">
          <a:solidFill>
            <a:schemeClr val="tx1"/>
          </a:solidFill>
          <a:latin typeface="+mn-lt"/>
          <a:ea typeface="+mn-ea"/>
          <a:cs typeface="+mn-cs"/>
        </a:defRPr>
      </a:lvl8pPr>
      <a:lvl9pPr marL="4593423" algn="l" defTabSz="1148356" rtl="0" eaLnBrk="1" latinLnBrk="0" hangingPunct="1">
        <a:defRPr sz="22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FC7353C-3B81-4C0A-8443-D52B2F457168}"/>
              </a:ext>
            </a:extLst>
          </p:cNvPr>
          <p:cNvGraphicFramePr>
            <a:graphicFrameLocks noChangeAspect="1"/>
          </p:cNvGraphicFramePr>
          <p:nvPr userDrawn="1">
            <p:custDataLst>
              <p:tags r:id="rId5"/>
            </p:custDataLst>
            <p:extLst>
              <p:ext uri="{D42A27DB-BD31-4B8C-83A1-F6EECF244321}">
                <p14:modId xmlns:p14="http://schemas.microsoft.com/office/powerpoint/2010/main" val="243180855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441"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4FC7353C-3B81-4C0A-8443-D52B2F457168}"/>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5A4FEDA-0E13-4A17-A6EA-DC2493EC6972}"/>
              </a:ext>
            </a:extLst>
          </p:cNvPr>
          <p:cNvSpPr/>
          <p:nvPr userDrawn="1">
            <p:custDataLst>
              <p:tags r:id="rId6"/>
            </p:custDataLst>
          </p:nvPr>
        </p:nvSpPr>
        <p:spPr>
          <a:xfrm>
            <a:off x="0" y="0"/>
            <a:ext cx="158832"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3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7" y="6356352"/>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09317" y="6487540"/>
            <a:ext cx="3086100" cy="180000"/>
          </a:xfrm>
          <a:prstGeom prst="rect">
            <a:avLst/>
          </a:prstGeom>
        </p:spPr>
        <p:txBody>
          <a:bodyPr vert="horz" lIns="0" tIns="0" rIns="0" bIns="0" rtlCol="0" anchor="ctr"/>
          <a:lstStyle>
            <a:lvl1pPr marL="0" algn="l" defTabSz="913848" rtl="0" eaLnBrk="1" latinLnBrk="0" hangingPunct="1">
              <a:defRPr lang="en-IN" sz="800" kern="1200" dirty="0">
                <a:solidFill>
                  <a:schemeClr val="tx2"/>
                </a:solidFill>
                <a:latin typeface="EYInterstate" panose="02000503020000020004" pitchFamily="2" charset="0"/>
                <a:ea typeface="+mn-ea"/>
                <a:cs typeface="+mn-cs"/>
              </a:defRPr>
            </a:lvl1pPr>
          </a:lstStyle>
          <a:p>
            <a:r>
              <a:rPr lang="en-US"/>
              <a:t>COVID 19- Secure Remote Access</a:t>
            </a:r>
          </a:p>
        </p:txBody>
      </p:sp>
      <p:sp>
        <p:nvSpPr>
          <p:cNvPr id="22" name="Title Placeholder 1">
            <a:extLst>
              <a:ext uri="{FF2B5EF4-FFF2-40B4-BE49-F238E27FC236}">
                <a16:creationId xmlns:a16="http://schemas.microsoft.com/office/drawing/2014/main" id="{F7E74DAD-AD12-4A64-8BD9-CED1E4618F0F}"/>
              </a:ext>
            </a:extLst>
          </p:cNvPr>
          <p:cNvSpPr>
            <a:spLocks noGrp="1"/>
          </p:cNvSpPr>
          <p:nvPr>
            <p:ph type="title"/>
          </p:nvPr>
        </p:nvSpPr>
        <p:spPr bwMode="blackGray">
          <a:xfrm>
            <a:off x="609919" y="333681"/>
            <a:ext cx="10978514" cy="860400"/>
          </a:xfrm>
          <a:prstGeom prst="rect">
            <a:avLst/>
          </a:prstGeom>
        </p:spPr>
        <p:txBody>
          <a:bodyPr vert="horz" lIns="0" tIns="0" rIns="0" bIns="0" rtlCol="0" anchor="b" anchorCtr="0">
            <a:noAutofit/>
          </a:bodyPr>
          <a:lstStyle/>
          <a:p>
            <a:r>
              <a:rPr lang="en-US"/>
              <a:t>Click to edit Master title style</a:t>
            </a:r>
            <a:endParaRPr lang="en-GB"/>
          </a:p>
        </p:txBody>
      </p:sp>
      <p:sp>
        <p:nvSpPr>
          <p:cNvPr id="23" name="Text Placeholder 2">
            <a:extLst>
              <a:ext uri="{FF2B5EF4-FFF2-40B4-BE49-F238E27FC236}">
                <a16:creationId xmlns:a16="http://schemas.microsoft.com/office/drawing/2014/main" id="{7A09193F-5F0D-46C1-BC91-67ECC2D3F353}"/>
              </a:ext>
            </a:extLst>
          </p:cNvPr>
          <p:cNvSpPr>
            <a:spLocks noGrp="1"/>
          </p:cNvSpPr>
          <p:nvPr>
            <p:ph type="body" idx="1"/>
          </p:nvPr>
        </p:nvSpPr>
        <p:spPr bwMode="blackGray">
          <a:xfrm>
            <a:off x="609920" y="1425600"/>
            <a:ext cx="10978514"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TextBox 24">
            <a:extLst>
              <a:ext uri="{FF2B5EF4-FFF2-40B4-BE49-F238E27FC236}">
                <a16:creationId xmlns:a16="http://schemas.microsoft.com/office/drawing/2014/main" id="{D6AC4F17-7108-488E-9B0F-E2FD5FFE583F}"/>
              </a:ext>
            </a:extLst>
          </p:cNvPr>
          <p:cNvSpPr txBox="1"/>
          <p:nvPr userDrawn="1"/>
        </p:nvSpPr>
        <p:spPr bwMode="blackGray">
          <a:xfrm>
            <a:off x="10924045" y="6471245"/>
            <a:ext cx="202882" cy="201168"/>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mn-lt"/>
              </a:rPr>
              <a:pPr/>
              <a:t>‹#›</a:t>
            </a:fld>
            <a:endParaRPr lang="en-GB" sz="800">
              <a:solidFill>
                <a:schemeClr val="bg1"/>
              </a:solidFill>
              <a:latin typeface="+mn-lt"/>
            </a:endParaRPr>
          </a:p>
        </p:txBody>
      </p:sp>
      <p:cxnSp>
        <p:nvCxnSpPr>
          <p:cNvPr id="26" name="Straight Connector 25">
            <a:extLst>
              <a:ext uri="{FF2B5EF4-FFF2-40B4-BE49-F238E27FC236}">
                <a16:creationId xmlns:a16="http://schemas.microsoft.com/office/drawing/2014/main" id="{9F499C40-EE05-4ECF-BD8C-88E03A60C3B5}"/>
              </a:ext>
            </a:extLst>
          </p:cNvPr>
          <p:cNvCxnSpPr/>
          <p:nvPr userDrawn="1"/>
        </p:nvCxnSpPr>
        <p:spPr bwMode="blackGray">
          <a:xfrm>
            <a:off x="10832930" y="6454949"/>
            <a:ext cx="0" cy="201168"/>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61952D-8432-422E-BB19-76DF6D298FBF}"/>
              </a:ext>
            </a:extLst>
          </p:cNvPr>
          <p:cNvCxnSpPr/>
          <p:nvPr userDrawn="1"/>
        </p:nvCxnSpPr>
        <p:spPr bwMode="blackGray">
          <a:xfrm>
            <a:off x="10843736" y="6454949"/>
            <a:ext cx="0" cy="201168"/>
          </a:xfrm>
          <a:prstGeom prst="line">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5725883"/>
      </p:ext>
    </p:extLst>
  </p:cSld>
  <p:clrMap bg1="lt1" tx1="dk1" bg2="lt2" tx2="dk2" accent1="accent1" accent2="accent2" accent3="accent3" accent4="accent4" accent5="accent5" accent6="accent6" hlink="hlink" folHlink="folHlink"/>
  <p:sldLayoutIdLst>
    <p:sldLayoutId id="2147485576" r:id="rId1"/>
    <p:sldLayoutId id="2147485577" r:id="rId2"/>
  </p:sldLayoutIdLst>
  <p:hf sldNum="0" hdr="0" dt="0"/>
  <p:txStyles>
    <p:titleStyle>
      <a:lvl1pPr algn="l" defTabSz="913848"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400" indent="-356400" algn="l" defTabSz="913848"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00" indent="-356400" algn="l" defTabSz="913848"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202" indent="-356400" algn="l" defTabSz="913848"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603" indent="-356400" algn="l" defTabSz="913848"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003" indent="-356400" algn="l" defTabSz="913848"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081" indent="-228462" algn="l" defTabSz="913848"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004" indent="-228462" algn="l" defTabSz="913848"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929" indent="-228462" algn="l" defTabSz="913848"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853" indent="-228462" algn="l" defTabSz="913848"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848" rtl="0" eaLnBrk="1" latinLnBrk="0" hangingPunct="1">
        <a:defRPr sz="1799" kern="1200">
          <a:solidFill>
            <a:schemeClr val="tx1"/>
          </a:solidFill>
          <a:latin typeface="+mn-lt"/>
          <a:ea typeface="+mn-ea"/>
          <a:cs typeface="+mn-cs"/>
        </a:defRPr>
      </a:lvl1pPr>
      <a:lvl2pPr marL="456923" algn="l" defTabSz="913848" rtl="0" eaLnBrk="1" latinLnBrk="0" hangingPunct="1">
        <a:defRPr sz="1799" kern="1200">
          <a:solidFill>
            <a:schemeClr val="tx1"/>
          </a:solidFill>
          <a:latin typeface="+mn-lt"/>
          <a:ea typeface="+mn-ea"/>
          <a:cs typeface="+mn-cs"/>
        </a:defRPr>
      </a:lvl2pPr>
      <a:lvl3pPr marL="913848" algn="l" defTabSz="913848" rtl="0" eaLnBrk="1" latinLnBrk="0" hangingPunct="1">
        <a:defRPr sz="1799" kern="1200">
          <a:solidFill>
            <a:schemeClr val="tx1"/>
          </a:solidFill>
          <a:latin typeface="+mn-lt"/>
          <a:ea typeface="+mn-ea"/>
          <a:cs typeface="+mn-cs"/>
        </a:defRPr>
      </a:lvl3pPr>
      <a:lvl4pPr marL="1370772" algn="l" defTabSz="913848" rtl="0" eaLnBrk="1" latinLnBrk="0" hangingPunct="1">
        <a:defRPr sz="1799" kern="1200">
          <a:solidFill>
            <a:schemeClr val="tx1"/>
          </a:solidFill>
          <a:latin typeface="+mn-lt"/>
          <a:ea typeface="+mn-ea"/>
          <a:cs typeface="+mn-cs"/>
        </a:defRPr>
      </a:lvl4pPr>
      <a:lvl5pPr marL="1827696" algn="l" defTabSz="913848" rtl="0" eaLnBrk="1" latinLnBrk="0" hangingPunct="1">
        <a:defRPr sz="1799" kern="1200">
          <a:solidFill>
            <a:schemeClr val="tx1"/>
          </a:solidFill>
          <a:latin typeface="+mn-lt"/>
          <a:ea typeface="+mn-ea"/>
          <a:cs typeface="+mn-cs"/>
        </a:defRPr>
      </a:lvl5pPr>
      <a:lvl6pPr marL="2284619" algn="l" defTabSz="913848" rtl="0" eaLnBrk="1" latinLnBrk="0" hangingPunct="1">
        <a:defRPr sz="1799" kern="1200">
          <a:solidFill>
            <a:schemeClr val="tx1"/>
          </a:solidFill>
          <a:latin typeface="+mn-lt"/>
          <a:ea typeface="+mn-ea"/>
          <a:cs typeface="+mn-cs"/>
        </a:defRPr>
      </a:lvl6pPr>
      <a:lvl7pPr marL="2741543" algn="l" defTabSz="913848" rtl="0" eaLnBrk="1" latinLnBrk="0" hangingPunct="1">
        <a:defRPr sz="1799" kern="1200">
          <a:solidFill>
            <a:schemeClr val="tx1"/>
          </a:solidFill>
          <a:latin typeface="+mn-lt"/>
          <a:ea typeface="+mn-ea"/>
          <a:cs typeface="+mn-cs"/>
        </a:defRPr>
      </a:lvl7pPr>
      <a:lvl8pPr marL="3198467" algn="l" defTabSz="913848" rtl="0" eaLnBrk="1" latinLnBrk="0" hangingPunct="1">
        <a:defRPr sz="1799" kern="1200">
          <a:solidFill>
            <a:schemeClr val="tx1"/>
          </a:solidFill>
          <a:latin typeface="+mn-lt"/>
          <a:ea typeface="+mn-ea"/>
          <a:cs typeface="+mn-cs"/>
        </a:defRPr>
      </a:lvl8pPr>
      <a:lvl9pPr marL="3655390" algn="l" defTabSz="913848"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135815889"/>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46441"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2" y="1444"/>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2"/>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6"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5"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5"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31"/>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7"/>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3"/>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2"/>
            <a:ext cx="205107" cy="123527"/>
          </a:xfrm>
          <a:prstGeom prst="rect">
            <a:avLst/>
          </a:prstGeom>
          <a:blipFill>
            <a:blip r:embed="rId12"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3"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3"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5"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739243604"/>
      </p:ext>
    </p:extLst>
  </p:cSld>
  <p:clrMap bg1="lt1" tx1="dk1" bg2="lt2" tx2="dk2" accent1="accent1" accent2="accent2" accent3="accent3" accent4="accent4" accent5="accent5" accent6="accent6" hlink="hlink" folHlink="folHlink"/>
  <p:sldLayoutIdLst>
    <p:sldLayoutId id="2147486001" r:id="rId1"/>
    <p:sldLayoutId id="2147486002" r:id="rId2"/>
    <p:sldLayoutId id="2147486003" r:id="rId3"/>
    <p:sldLayoutId id="2147486004" r:id="rId4"/>
    <p:sldLayoutId id="2147486005" r:id="rId5"/>
  </p:sldLayoutIdLst>
  <p:hf hdr="0" ftr="0" dt="0"/>
  <p:txStyles>
    <p:titleStyle>
      <a:lvl1pPr algn="l" defTabSz="1148356" rtl="0" eaLnBrk="1" latinLnBrk="0" hangingPunct="1">
        <a:lnSpc>
          <a:spcPct val="85000"/>
        </a:lnSpc>
        <a:spcBef>
          <a:spcPct val="0"/>
        </a:spcBef>
        <a:buNone/>
        <a:defRPr sz="2176" b="1" i="0" kern="1200">
          <a:solidFill>
            <a:schemeClr val="bg1"/>
          </a:solidFill>
          <a:latin typeface="EYInterstate" panose="02000503020000020004" pitchFamily="2" charset="0"/>
          <a:ea typeface="+mj-ea"/>
          <a:cs typeface="Arial" pitchFamily="34" charset="0"/>
        </a:defRPr>
      </a:lvl1pPr>
    </p:titleStyle>
    <p:bodyStyle>
      <a:lvl1pPr marL="447860" indent="-447860" algn="l" defTabSz="1148356" rtl="0" eaLnBrk="1" latinLnBrk="0" hangingPunct="1">
        <a:spcBef>
          <a:spcPct val="20000"/>
        </a:spcBef>
        <a:buClr>
          <a:schemeClr val="tx1"/>
        </a:buClr>
        <a:buSzPct val="70000"/>
        <a:buFont typeface="Arial" pitchFamily="34" charset="0"/>
        <a:buChar char="►"/>
        <a:defRPr sz="2260" b="0" i="0" kern="1200">
          <a:solidFill>
            <a:schemeClr val="bg1"/>
          </a:solidFill>
          <a:latin typeface="EYInterstate Light" panose="02000506000000020004" pitchFamily="2" charset="0"/>
          <a:ea typeface="+mn-ea"/>
          <a:cs typeface="+mn-cs"/>
        </a:defRPr>
      </a:lvl1pPr>
      <a:lvl2pPr marL="895717" indent="-447860" algn="l" defTabSz="1148356" rtl="0" eaLnBrk="1" latinLnBrk="0" hangingPunct="1">
        <a:spcBef>
          <a:spcPct val="20000"/>
        </a:spcBef>
        <a:buClr>
          <a:schemeClr val="tx1"/>
        </a:buClr>
        <a:buSzPct val="70000"/>
        <a:buFont typeface="Arial" pitchFamily="34" charset="0"/>
        <a:buChar char="►"/>
        <a:defRPr sz="1813" b="0" i="0" kern="1200">
          <a:solidFill>
            <a:schemeClr val="bg1"/>
          </a:solidFill>
          <a:latin typeface="EYInterstate Light" panose="02000506000000020004" pitchFamily="2" charset="0"/>
          <a:ea typeface="+mn-ea"/>
          <a:cs typeface="+mn-cs"/>
        </a:defRPr>
      </a:lvl2pPr>
      <a:lvl3pPr marL="1343577" indent="-447860" algn="l" defTabSz="1148356" rtl="0" eaLnBrk="1" latinLnBrk="0" hangingPunct="1">
        <a:spcBef>
          <a:spcPct val="20000"/>
        </a:spcBef>
        <a:buClr>
          <a:schemeClr val="tx1"/>
        </a:buClr>
        <a:buSzPct val="70000"/>
        <a:buFont typeface="Arial" pitchFamily="34" charset="0"/>
        <a:buChar char="►"/>
        <a:defRPr sz="1632" b="0" i="0" kern="1200">
          <a:solidFill>
            <a:schemeClr val="bg1"/>
          </a:solidFill>
          <a:latin typeface="EYInterstate Light" panose="02000506000000020004" pitchFamily="2" charset="0"/>
          <a:ea typeface="+mn-ea"/>
          <a:cs typeface="+mn-cs"/>
        </a:defRPr>
      </a:lvl3pPr>
      <a:lvl4pPr marL="1791436" indent="-447860" algn="l" defTabSz="1148356" rtl="0" eaLnBrk="1" latinLnBrk="0" hangingPunct="1">
        <a:spcBef>
          <a:spcPct val="20000"/>
        </a:spcBef>
        <a:buClr>
          <a:schemeClr val="tx1"/>
        </a:buClr>
        <a:buSzPct val="70000"/>
        <a:buFont typeface="Arial" pitchFamily="34" charset="0"/>
        <a:buChar char="►"/>
        <a:defRPr sz="1450" b="0" i="0" kern="1200">
          <a:solidFill>
            <a:schemeClr val="bg1"/>
          </a:solidFill>
          <a:latin typeface="EYInterstate Light" panose="02000506000000020004" pitchFamily="2" charset="0"/>
          <a:ea typeface="+mn-ea"/>
          <a:cs typeface="+mn-cs"/>
        </a:defRPr>
      </a:lvl4pPr>
      <a:lvl5pPr marL="2239293" indent="-447860" algn="l" defTabSz="1148356" rtl="0" eaLnBrk="1" latinLnBrk="0" hangingPunct="1">
        <a:spcBef>
          <a:spcPct val="20000"/>
        </a:spcBef>
        <a:buClr>
          <a:schemeClr val="tx1"/>
        </a:buClr>
        <a:buSzPct val="70000"/>
        <a:buFont typeface="Arial" pitchFamily="34" charset="0"/>
        <a:buChar char="►"/>
        <a:defRPr sz="1269" b="0" i="0" kern="1200">
          <a:solidFill>
            <a:schemeClr val="bg1"/>
          </a:solidFill>
          <a:latin typeface="EYInterstate Light" panose="02000506000000020004" pitchFamily="2" charset="0"/>
          <a:ea typeface="+mn-ea"/>
          <a:cs typeface="+mn-cs"/>
        </a:defRPr>
      </a:lvl5pPr>
      <a:lvl6pPr marL="3157979"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6pPr>
      <a:lvl7pPr marL="3732158"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7pPr>
      <a:lvl8pPr marL="4306337"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8pPr>
      <a:lvl9pPr marL="4880513"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9pPr>
    </p:bodyStyle>
    <p:otherStyle>
      <a:defPPr>
        <a:defRPr lang="en-US"/>
      </a:defPPr>
      <a:lvl1pPr marL="0" algn="l" defTabSz="1148356" rtl="0" eaLnBrk="1" latinLnBrk="0" hangingPunct="1">
        <a:defRPr sz="2260" kern="1200">
          <a:solidFill>
            <a:schemeClr val="tx1"/>
          </a:solidFill>
          <a:latin typeface="+mn-lt"/>
          <a:ea typeface="+mn-ea"/>
          <a:cs typeface="+mn-cs"/>
        </a:defRPr>
      </a:lvl1pPr>
      <a:lvl2pPr marL="574177" algn="l" defTabSz="1148356" rtl="0" eaLnBrk="1" latinLnBrk="0" hangingPunct="1">
        <a:defRPr sz="2260" kern="1200">
          <a:solidFill>
            <a:schemeClr val="tx1"/>
          </a:solidFill>
          <a:latin typeface="+mn-lt"/>
          <a:ea typeface="+mn-ea"/>
          <a:cs typeface="+mn-cs"/>
        </a:defRPr>
      </a:lvl2pPr>
      <a:lvl3pPr marL="1148356" algn="l" defTabSz="1148356" rtl="0" eaLnBrk="1" latinLnBrk="0" hangingPunct="1">
        <a:defRPr sz="2260" kern="1200">
          <a:solidFill>
            <a:schemeClr val="tx1"/>
          </a:solidFill>
          <a:latin typeface="+mn-lt"/>
          <a:ea typeface="+mn-ea"/>
          <a:cs typeface="+mn-cs"/>
        </a:defRPr>
      </a:lvl3pPr>
      <a:lvl4pPr marL="1722534" algn="l" defTabSz="1148356" rtl="0" eaLnBrk="1" latinLnBrk="0" hangingPunct="1">
        <a:defRPr sz="2260" kern="1200">
          <a:solidFill>
            <a:schemeClr val="tx1"/>
          </a:solidFill>
          <a:latin typeface="+mn-lt"/>
          <a:ea typeface="+mn-ea"/>
          <a:cs typeface="+mn-cs"/>
        </a:defRPr>
      </a:lvl4pPr>
      <a:lvl5pPr marL="2296714" algn="l" defTabSz="1148356" rtl="0" eaLnBrk="1" latinLnBrk="0" hangingPunct="1">
        <a:defRPr sz="2260" kern="1200">
          <a:solidFill>
            <a:schemeClr val="tx1"/>
          </a:solidFill>
          <a:latin typeface="+mn-lt"/>
          <a:ea typeface="+mn-ea"/>
          <a:cs typeface="+mn-cs"/>
        </a:defRPr>
      </a:lvl5pPr>
      <a:lvl6pPr marL="2870891" algn="l" defTabSz="1148356" rtl="0" eaLnBrk="1" latinLnBrk="0" hangingPunct="1">
        <a:defRPr sz="2260" kern="1200">
          <a:solidFill>
            <a:schemeClr val="tx1"/>
          </a:solidFill>
          <a:latin typeface="+mn-lt"/>
          <a:ea typeface="+mn-ea"/>
          <a:cs typeface="+mn-cs"/>
        </a:defRPr>
      </a:lvl6pPr>
      <a:lvl7pPr marL="3445067" algn="l" defTabSz="1148356" rtl="0" eaLnBrk="1" latinLnBrk="0" hangingPunct="1">
        <a:defRPr sz="2260" kern="1200">
          <a:solidFill>
            <a:schemeClr val="tx1"/>
          </a:solidFill>
          <a:latin typeface="+mn-lt"/>
          <a:ea typeface="+mn-ea"/>
          <a:cs typeface="+mn-cs"/>
        </a:defRPr>
      </a:lvl7pPr>
      <a:lvl8pPr marL="4019246" algn="l" defTabSz="1148356" rtl="0" eaLnBrk="1" latinLnBrk="0" hangingPunct="1">
        <a:defRPr sz="2260" kern="1200">
          <a:solidFill>
            <a:schemeClr val="tx1"/>
          </a:solidFill>
          <a:latin typeface="+mn-lt"/>
          <a:ea typeface="+mn-ea"/>
          <a:cs typeface="+mn-cs"/>
        </a:defRPr>
      </a:lvl8pPr>
      <a:lvl9pPr marL="4593423" algn="l" defTabSz="1148356" rtl="0" eaLnBrk="1" latinLnBrk="0" hangingPunct="1">
        <a:defRPr sz="226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3622312048"/>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52585"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2" y="1444"/>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2"/>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6"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5"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5"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31"/>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7"/>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3"/>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2"/>
            <a:ext cx="205107" cy="123527"/>
          </a:xfrm>
          <a:prstGeom prst="rect">
            <a:avLst/>
          </a:prstGeom>
          <a:blipFill>
            <a:blip r:embed="rId14"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3"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3"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5"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285476320"/>
      </p:ext>
    </p:extLst>
  </p:cSld>
  <p:clrMap bg1="lt1" tx1="dk1" bg2="lt2" tx2="dk2" accent1="accent1" accent2="accent2" accent3="accent3" accent4="accent4" accent5="accent5" accent6="accent6" hlink="hlink" folHlink="folHlink"/>
  <p:sldLayoutIdLst>
    <p:sldLayoutId id="2147486007" r:id="rId1"/>
    <p:sldLayoutId id="2147486008" r:id="rId2"/>
    <p:sldLayoutId id="2147486009" r:id="rId3"/>
    <p:sldLayoutId id="2147486010" r:id="rId4"/>
    <p:sldLayoutId id="2147486011" r:id="rId5"/>
    <p:sldLayoutId id="2147486012" r:id="rId6"/>
    <p:sldLayoutId id="2147486013" r:id="rId7"/>
  </p:sldLayoutIdLst>
  <p:hf hdr="0" ftr="0" dt="0"/>
  <p:txStyles>
    <p:titleStyle>
      <a:lvl1pPr algn="l" defTabSz="1148356" rtl="0" eaLnBrk="1" latinLnBrk="0" hangingPunct="1">
        <a:lnSpc>
          <a:spcPct val="85000"/>
        </a:lnSpc>
        <a:spcBef>
          <a:spcPct val="0"/>
        </a:spcBef>
        <a:buNone/>
        <a:defRPr sz="2176" b="1" i="0" kern="1200">
          <a:solidFill>
            <a:schemeClr val="bg1"/>
          </a:solidFill>
          <a:latin typeface="EYInterstate" panose="02000503020000020004" pitchFamily="2" charset="0"/>
          <a:ea typeface="+mj-ea"/>
          <a:cs typeface="Arial" pitchFamily="34" charset="0"/>
        </a:defRPr>
      </a:lvl1pPr>
    </p:titleStyle>
    <p:bodyStyle>
      <a:lvl1pPr marL="447860" indent="-447860" algn="l" defTabSz="1148356" rtl="0" eaLnBrk="1" latinLnBrk="0" hangingPunct="1">
        <a:spcBef>
          <a:spcPct val="20000"/>
        </a:spcBef>
        <a:buClr>
          <a:schemeClr val="tx1"/>
        </a:buClr>
        <a:buSzPct val="70000"/>
        <a:buFont typeface="Arial" pitchFamily="34" charset="0"/>
        <a:buChar char="►"/>
        <a:defRPr sz="2260" b="0" i="0" kern="1200">
          <a:solidFill>
            <a:schemeClr val="bg1"/>
          </a:solidFill>
          <a:latin typeface="EYInterstate Light" panose="02000506000000020004" pitchFamily="2" charset="0"/>
          <a:ea typeface="+mn-ea"/>
          <a:cs typeface="+mn-cs"/>
        </a:defRPr>
      </a:lvl1pPr>
      <a:lvl2pPr marL="895717" indent="-447860" algn="l" defTabSz="1148356" rtl="0" eaLnBrk="1" latinLnBrk="0" hangingPunct="1">
        <a:spcBef>
          <a:spcPct val="20000"/>
        </a:spcBef>
        <a:buClr>
          <a:schemeClr val="tx1"/>
        </a:buClr>
        <a:buSzPct val="70000"/>
        <a:buFont typeface="Arial" pitchFamily="34" charset="0"/>
        <a:buChar char="►"/>
        <a:defRPr sz="1813" b="0" i="0" kern="1200">
          <a:solidFill>
            <a:schemeClr val="bg1"/>
          </a:solidFill>
          <a:latin typeface="EYInterstate Light" panose="02000506000000020004" pitchFamily="2" charset="0"/>
          <a:ea typeface="+mn-ea"/>
          <a:cs typeface="+mn-cs"/>
        </a:defRPr>
      </a:lvl2pPr>
      <a:lvl3pPr marL="1343577" indent="-447860" algn="l" defTabSz="1148356" rtl="0" eaLnBrk="1" latinLnBrk="0" hangingPunct="1">
        <a:spcBef>
          <a:spcPct val="20000"/>
        </a:spcBef>
        <a:buClr>
          <a:schemeClr val="tx1"/>
        </a:buClr>
        <a:buSzPct val="70000"/>
        <a:buFont typeface="Arial" pitchFamily="34" charset="0"/>
        <a:buChar char="►"/>
        <a:defRPr sz="1632" b="0" i="0" kern="1200">
          <a:solidFill>
            <a:schemeClr val="bg1"/>
          </a:solidFill>
          <a:latin typeface="EYInterstate Light" panose="02000506000000020004" pitchFamily="2" charset="0"/>
          <a:ea typeface="+mn-ea"/>
          <a:cs typeface="+mn-cs"/>
        </a:defRPr>
      </a:lvl3pPr>
      <a:lvl4pPr marL="1791436" indent="-447860" algn="l" defTabSz="1148356" rtl="0" eaLnBrk="1" latinLnBrk="0" hangingPunct="1">
        <a:spcBef>
          <a:spcPct val="20000"/>
        </a:spcBef>
        <a:buClr>
          <a:schemeClr val="tx1"/>
        </a:buClr>
        <a:buSzPct val="70000"/>
        <a:buFont typeface="Arial" pitchFamily="34" charset="0"/>
        <a:buChar char="►"/>
        <a:defRPr sz="1450" b="0" i="0" kern="1200">
          <a:solidFill>
            <a:schemeClr val="bg1"/>
          </a:solidFill>
          <a:latin typeface="EYInterstate Light" panose="02000506000000020004" pitchFamily="2" charset="0"/>
          <a:ea typeface="+mn-ea"/>
          <a:cs typeface="+mn-cs"/>
        </a:defRPr>
      </a:lvl4pPr>
      <a:lvl5pPr marL="2239293" indent="-447860" algn="l" defTabSz="1148356" rtl="0" eaLnBrk="1" latinLnBrk="0" hangingPunct="1">
        <a:spcBef>
          <a:spcPct val="20000"/>
        </a:spcBef>
        <a:buClr>
          <a:schemeClr val="tx1"/>
        </a:buClr>
        <a:buSzPct val="70000"/>
        <a:buFont typeface="Arial" pitchFamily="34" charset="0"/>
        <a:buChar char="►"/>
        <a:defRPr sz="1269" b="0" i="0" kern="1200">
          <a:solidFill>
            <a:schemeClr val="bg1"/>
          </a:solidFill>
          <a:latin typeface="EYInterstate Light" panose="02000506000000020004" pitchFamily="2" charset="0"/>
          <a:ea typeface="+mn-ea"/>
          <a:cs typeface="+mn-cs"/>
        </a:defRPr>
      </a:lvl5pPr>
      <a:lvl6pPr marL="3157979"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6pPr>
      <a:lvl7pPr marL="3732158"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7pPr>
      <a:lvl8pPr marL="4306337"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8pPr>
      <a:lvl9pPr marL="4880513"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9pPr>
    </p:bodyStyle>
    <p:otherStyle>
      <a:defPPr>
        <a:defRPr lang="en-US"/>
      </a:defPPr>
      <a:lvl1pPr marL="0" algn="l" defTabSz="1148356" rtl="0" eaLnBrk="1" latinLnBrk="0" hangingPunct="1">
        <a:defRPr sz="2260" kern="1200">
          <a:solidFill>
            <a:schemeClr val="tx1"/>
          </a:solidFill>
          <a:latin typeface="+mn-lt"/>
          <a:ea typeface="+mn-ea"/>
          <a:cs typeface="+mn-cs"/>
        </a:defRPr>
      </a:lvl1pPr>
      <a:lvl2pPr marL="574177" algn="l" defTabSz="1148356" rtl="0" eaLnBrk="1" latinLnBrk="0" hangingPunct="1">
        <a:defRPr sz="2260" kern="1200">
          <a:solidFill>
            <a:schemeClr val="tx1"/>
          </a:solidFill>
          <a:latin typeface="+mn-lt"/>
          <a:ea typeface="+mn-ea"/>
          <a:cs typeface="+mn-cs"/>
        </a:defRPr>
      </a:lvl2pPr>
      <a:lvl3pPr marL="1148356" algn="l" defTabSz="1148356" rtl="0" eaLnBrk="1" latinLnBrk="0" hangingPunct="1">
        <a:defRPr sz="2260" kern="1200">
          <a:solidFill>
            <a:schemeClr val="tx1"/>
          </a:solidFill>
          <a:latin typeface="+mn-lt"/>
          <a:ea typeface="+mn-ea"/>
          <a:cs typeface="+mn-cs"/>
        </a:defRPr>
      </a:lvl3pPr>
      <a:lvl4pPr marL="1722534" algn="l" defTabSz="1148356" rtl="0" eaLnBrk="1" latinLnBrk="0" hangingPunct="1">
        <a:defRPr sz="2260" kern="1200">
          <a:solidFill>
            <a:schemeClr val="tx1"/>
          </a:solidFill>
          <a:latin typeface="+mn-lt"/>
          <a:ea typeface="+mn-ea"/>
          <a:cs typeface="+mn-cs"/>
        </a:defRPr>
      </a:lvl4pPr>
      <a:lvl5pPr marL="2296714" algn="l" defTabSz="1148356" rtl="0" eaLnBrk="1" latinLnBrk="0" hangingPunct="1">
        <a:defRPr sz="2260" kern="1200">
          <a:solidFill>
            <a:schemeClr val="tx1"/>
          </a:solidFill>
          <a:latin typeface="+mn-lt"/>
          <a:ea typeface="+mn-ea"/>
          <a:cs typeface="+mn-cs"/>
        </a:defRPr>
      </a:lvl5pPr>
      <a:lvl6pPr marL="2870891" algn="l" defTabSz="1148356" rtl="0" eaLnBrk="1" latinLnBrk="0" hangingPunct="1">
        <a:defRPr sz="2260" kern="1200">
          <a:solidFill>
            <a:schemeClr val="tx1"/>
          </a:solidFill>
          <a:latin typeface="+mn-lt"/>
          <a:ea typeface="+mn-ea"/>
          <a:cs typeface="+mn-cs"/>
        </a:defRPr>
      </a:lvl6pPr>
      <a:lvl7pPr marL="3445067" algn="l" defTabSz="1148356" rtl="0" eaLnBrk="1" latinLnBrk="0" hangingPunct="1">
        <a:defRPr sz="2260" kern="1200">
          <a:solidFill>
            <a:schemeClr val="tx1"/>
          </a:solidFill>
          <a:latin typeface="+mn-lt"/>
          <a:ea typeface="+mn-ea"/>
          <a:cs typeface="+mn-cs"/>
        </a:defRPr>
      </a:lvl7pPr>
      <a:lvl8pPr marL="4019246" algn="l" defTabSz="1148356" rtl="0" eaLnBrk="1" latinLnBrk="0" hangingPunct="1">
        <a:defRPr sz="2260" kern="1200">
          <a:solidFill>
            <a:schemeClr val="tx1"/>
          </a:solidFill>
          <a:latin typeface="+mn-lt"/>
          <a:ea typeface="+mn-ea"/>
          <a:cs typeface="+mn-cs"/>
        </a:defRPr>
      </a:lvl8pPr>
      <a:lvl9pPr marL="4593423" algn="l" defTabSz="1148356" rtl="0" eaLnBrk="1" latinLnBrk="0" hangingPunct="1">
        <a:defRPr sz="226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3436798310"/>
              </p:ext>
            </p:extLst>
          </p:nvPr>
        </p:nvGraphicFramePr>
        <p:xfrm>
          <a:off x="1814" y="1444"/>
          <a:ext cx="1810" cy="1439"/>
        </p:xfrm>
        <a:graphic>
          <a:graphicData uri="http://schemas.openxmlformats.org/presentationml/2006/ole">
            <mc:AlternateContent xmlns:mc="http://schemas.openxmlformats.org/markup-compatibility/2006">
              <mc:Choice xmlns:v="urn:schemas-microsoft-com:vml" Requires="v">
                <p:oleObj spid="_x0000_s160777"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1814" y="1444"/>
                        <a:ext cx="1810"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87514F-AB20-4AA1-83B1-64072B6188A6}"/>
              </a:ext>
            </a:extLst>
          </p:cNvPr>
          <p:cNvSpPr/>
          <p:nvPr userDrawn="1">
            <p:custDataLst>
              <p:tags r:id="rId30"/>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US" sz="1905" b="0"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432025" y="457201"/>
            <a:ext cx="11405337" cy="533400"/>
          </a:xfrm>
          <a:prstGeom prst="rect">
            <a:avLst/>
          </a:prstGeom>
        </p:spPr>
        <p:txBody>
          <a:bodyPr vert="horz" lIns="0" tIns="0" rIns="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432025" y="1152526"/>
            <a:ext cx="11405337" cy="502822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p:cNvSpPr txBox="1">
            <a:spLocks/>
          </p:cNvSpPr>
          <p:nvPr/>
        </p:nvSpPr>
        <p:spPr>
          <a:xfrm>
            <a:off x="9474609" y="6500925"/>
            <a:ext cx="2362756" cy="198000"/>
          </a:xfrm>
          <a:prstGeom prst="rect">
            <a:avLst/>
          </a:prstGeom>
          <a:noFill/>
        </p:spPr>
        <p:txBody>
          <a:bodyPr wrap="square" lIns="0" tIns="0" rIns="0" bIns="0" rtlCol="0">
            <a:noAutofit/>
          </a:bodyPr>
          <a:lstStyle/>
          <a:p>
            <a:pPr algn="r"/>
            <a:r>
              <a:rPr lang="en-GB" sz="816" b="1">
                <a:solidFill>
                  <a:srgbClr val="C00000"/>
                </a:solidFill>
                <a:latin typeface="EYInterstate Light" panose="02000506000000020004" pitchFamily="2" charset="0"/>
              </a:rPr>
              <a:t>Commercial In Confidence</a:t>
            </a:r>
            <a:r>
              <a:rPr lang="en-GB" sz="816">
                <a:solidFill>
                  <a:srgbClr val="000000">
                    <a:lumMod val="65000"/>
                    <a:lumOff val="35000"/>
                  </a:srgbClr>
                </a:solidFill>
                <a:latin typeface="EYInterstate Light" panose="02000506000000020004" pitchFamily="2" charset="0"/>
              </a:rPr>
              <a:t>	EY | </a:t>
            </a:r>
            <a:fld id="{9AE4D82F-B047-469B-AC52-A46321747EAF}" type="slidenum">
              <a:rPr lang="en-GB" sz="816" smtClean="0">
                <a:solidFill>
                  <a:srgbClr val="000000">
                    <a:lumMod val="65000"/>
                    <a:lumOff val="35000"/>
                  </a:srgbClr>
                </a:solidFill>
                <a:latin typeface="EYInterstate Light" panose="02000506000000020004" pitchFamily="2" charset="0"/>
              </a:rPr>
              <a:pPr algn="r"/>
              <a:t>‹#›</a:t>
            </a:fld>
            <a:endParaRPr lang="en-GB" sz="816">
              <a:solidFill>
                <a:srgbClr val="000000">
                  <a:lumMod val="65000"/>
                  <a:lumOff val="35000"/>
                </a:srgbClr>
              </a:solidFill>
              <a:latin typeface="EYInterstate Light" panose="02000506000000020004" pitchFamily="2" charset="0"/>
            </a:endParaRPr>
          </a:p>
        </p:txBody>
      </p:sp>
      <p:sp>
        <p:nvSpPr>
          <p:cNvPr id="9" name="Footer Placeholder 4">
            <a:extLst>
              <a:ext uri="{FF2B5EF4-FFF2-40B4-BE49-F238E27FC236}">
                <a16:creationId xmlns:a16="http://schemas.microsoft.com/office/drawing/2014/main" id="{3A65EBD8-8764-4826-B74F-E0C72FC06F4C}"/>
              </a:ext>
            </a:extLst>
          </p:cNvPr>
          <p:cNvSpPr>
            <a:spLocks noGrp="1"/>
          </p:cNvSpPr>
          <p:nvPr>
            <p:ph type="ftr" sz="quarter" idx="3"/>
          </p:nvPr>
        </p:nvSpPr>
        <p:spPr>
          <a:xfrm>
            <a:off x="432026" y="6453826"/>
            <a:ext cx="8860746" cy="239713"/>
          </a:xfrm>
          <a:prstGeom prst="rect">
            <a:avLst/>
          </a:prstGeom>
        </p:spPr>
        <p:txBody>
          <a:bodyPr lIns="0" tIns="0" rIns="0" bIns="0"/>
          <a:lstStyle>
            <a:lvl1pPr algn="l" fontAlgn="auto">
              <a:spcBef>
                <a:spcPts val="0"/>
              </a:spcBef>
              <a:spcAft>
                <a:spcPts val="0"/>
              </a:spcAft>
              <a:defRPr sz="816" b="0">
                <a:solidFill>
                  <a:schemeClr val="tx1">
                    <a:lumMod val="65000"/>
                    <a:lumOff val="35000"/>
                  </a:schemeClr>
                </a:solidFill>
                <a:latin typeface="EYInterstate Light" panose="02000506000000020004" pitchFamily="2" charset="0"/>
                <a:cs typeface="+mn-cs"/>
              </a:defRPr>
            </a:lvl1pPr>
          </a:lstStyle>
          <a:p>
            <a:pPr>
              <a:defRPr/>
            </a:pPr>
            <a:r>
              <a:rPr lang="en-AU">
                <a:solidFill>
                  <a:srgbClr val="000000">
                    <a:lumMod val="65000"/>
                    <a:lumOff val="35000"/>
                  </a:srgbClr>
                </a:solidFill>
              </a:rPr>
              <a:t>© 2019 EY Australia. Liability limited by a scheme approved under Professional Standards Legislation.</a:t>
            </a:r>
          </a:p>
        </p:txBody>
      </p:sp>
    </p:spTree>
    <p:extLst>
      <p:ext uri="{BB962C8B-B14F-4D97-AF65-F5344CB8AC3E}">
        <p14:creationId xmlns:p14="http://schemas.microsoft.com/office/powerpoint/2010/main" val="4269469112"/>
      </p:ext>
    </p:extLst>
  </p:cSld>
  <p:clrMap bg1="lt1" tx1="dk1" bg2="lt2" tx2="dk2" accent1="accent1" accent2="accent2" accent3="accent3" accent4="accent4" accent5="accent5" accent6="accent6" hlink="hlink" folHlink="folHlink"/>
  <p:sldLayoutIdLst>
    <p:sldLayoutId id="2147486015" r:id="rId1"/>
    <p:sldLayoutId id="2147486016" r:id="rId2"/>
    <p:sldLayoutId id="2147486017" r:id="rId3"/>
    <p:sldLayoutId id="2147486018" r:id="rId4"/>
    <p:sldLayoutId id="2147486019" r:id="rId5"/>
    <p:sldLayoutId id="2147486020" r:id="rId6"/>
    <p:sldLayoutId id="2147486021" r:id="rId7"/>
    <p:sldLayoutId id="2147486022" r:id="rId8"/>
    <p:sldLayoutId id="2147486023" r:id="rId9"/>
    <p:sldLayoutId id="2147486024" r:id="rId10"/>
    <p:sldLayoutId id="2147486025" r:id="rId11"/>
    <p:sldLayoutId id="2147486026" r:id="rId12"/>
    <p:sldLayoutId id="2147486027" r:id="rId13"/>
    <p:sldLayoutId id="2147486028" r:id="rId14"/>
    <p:sldLayoutId id="2147486029" r:id="rId15"/>
    <p:sldLayoutId id="2147486030" r:id="rId16"/>
    <p:sldLayoutId id="2147486031" r:id="rId17"/>
    <p:sldLayoutId id="2147486032" r:id="rId18"/>
    <p:sldLayoutId id="2147486033" r:id="rId19"/>
    <p:sldLayoutId id="2147486034" r:id="rId20"/>
    <p:sldLayoutId id="2147486035" r:id="rId21"/>
    <p:sldLayoutId id="2147486036" r:id="rId22"/>
    <p:sldLayoutId id="2147486037" r:id="rId23"/>
    <p:sldLayoutId id="2147486038" r:id="rId24"/>
    <p:sldLayoutId id="2147486039" r:id="rId25"/>
    <p:sldLayoutId id="2147486040" r:id="rId26"/>
  </p:sldLayoutIdLst>
  <p:hf sldNum="0" hdr="0" dt="0"/>
  <p:txStyles>
    <p:titleStyle>
      <a:lvl1pPr algn="l" defTabSz="946051" rtl="0" eaLnBrk="1" latinLnBrk="0" hangingPunct="1">
        <a:lnSpc>
          <a:spcPct val="95000"/>
        </a:lnSpc>
        <a:spcBef>
          <a:spcPct val="0"/>
        </a:spcBef>
        <a:buNone/>
        <a:defRPr sz="1905" b="0" kern="1200">
          <a:solidFill>
            <a:schemeClr val="tx1">
              <a:lumMod val="75000"/>
              <a:lumOff val="25000"/>
            </a:schemeClr>
          </a:solidFill>
          <a:latin typeface="+mj-lt"/>
          <a:ea typeface="+mj-ea"/>
          <a:cs typeface="Arial" pitchFamily="34" charset="0"/>
        </a:defRPr>
      </a:lvl1pPr>
    </p:titleStyle>
    <p:bodyStyle>
      <a:lvl1pPr marL="187239" indent="-187239" algn="l" defTabSz="946051" rtl="0" eaLnBrk="1" latinLnBrk="0" hangingPunct="1">
        <a:spcBef>
          <a:spcPts val="207"/>
        </a:spcBef>
        <a:spcAft>
          <a:spcPts val="207"/>
        </a:spcAft>
        <a:buClr>
          <a:schemeClr val="tx1">
            <a:lumMod val="75000"/>
            <a:lumOff val="25000"/>
          </a:schemeClr>
        </a:buClr>
        <a:buSzPct val="70000"/>
        <a:buFont typeface="Arial" pitchFamily="34" charset="0"/>
        <a:buChar char="►"/>
        <a:defRPr sz="1088" kern="1200">
          <a:solidFill>
            <a:schemeClr val="tx1">
              <a:lumMod val="75000"/>
              <a:lumOff val="25000"/>
            </a:schemeClr>
          </a:solidFill>
          <a:latin typeface="+mn-lt"/>
          <a:ea typeface="+mn-ea"/>
          <a:cs typeface="+mn-cs"/>
        </a:defRPr>
      </a:lvl1pPr>
      <a:lvl2pPr marL="374479" indent="-193810" algn="l" defTabSz="946051" rtl="0" eaLnBrk="1" latinLnBrk="0" hangingPunct="1">
        <a:spcBef>
          <a:spcPts val="207"/>
        </a:spcBef>
        <a:spcAft>
          <a:spcPts val="207"/>
        </a:spcAft>
        <a:buClr>
          <a:schemeClr val="tx1">
            <a:lumMod val="75000"/>
            <a:lumOff val="25000"/>
          </a:schemeClr>
        </a:buClr>
        <a:buSzPct val="70000"/>
        <a:buFont typeface="Arial" pitchFamily="34" charset="0"/>
        <a:buChar char="►"/>
        <a:defRPr sz="1088" kern="1200">
          <a:solidFill>
            <a:schemeClr val="tx1">
              <a:lumMod val="75000"/>
              <a:lumOff val="25000"/>
            </a:schemeClr>
          </a:solidFill>
          <a:latin typeface="+mn-lt"/>
          <a:ea typeface="+mn-ea"/>
          <a:cs typeface="+mn-cs"/>
        </a:defRPr>
      </a:lvl2pPr>
      <a:lvl3pPr marL="561718" indent="-187239" algn="l" defTabSz="946051" rtl="0" eaLnBrk="1" latinLnBrk="0" hangingPunct="1">
        <a:spcBef>
          <a:spcPts val="207"/>
        </a:spcBef>
        <a:spcAft>
          <a:spcPts val="207"/>
        </a:spcAft>
        <a:buClr>
          <a:schemeClr val="tx1">
            <a:lumMod val="75000"/>
            <a:lumOff val="25000"/>
          </a:schemeClr>
        </a:buClr>
        <a:buSzPct val="70000"/>
        <a:buFont typeface="Arial" pitchFamily="34" charset="0"/>
        <a:buChar char="►"/>
        <a:defRPr sz="1088" kern="1200">
          <a:solidFill>
            <a:schemeClr val="tx1">
              <a:lumMod val="75000"/>
              <a:lumOff val="25000"/>
            </a:schemeClr>
          </a:solidFill>
          <a:latin typeface="+mn-lt"/>
          <a:ea typeface="+mn-ea"/>
          <a:cs typeface="+mn-cs"/>
        </a:defRPr>
      </a:lvl3pPr>
      <a:lvl4pPr marL="739102" indent="-177385" algn="l" defTabSz="946051" rtl="0" eaLnBrk="1" latinLnBrk="0" hangingPunct="1">
        <a:spcBef>
          <a:spcPts val="207"/>
        </a:spcBef>
        <a:spcAft>
          <a:spcPts val="207"/>
        </a:spcAft>
        <a:buClr>
          <a:schemeClr val="tx1">
            <a:lumMod val="75000"/>
            <a:lumOff val="25000"/>
          </a:schemeClr>
        </a:buClr>
        <a:buSzPct val="70000"/>
        <a:buFont typeface="Arial" pitchFamily="34" charset="0"/>
        <a:buChar char="►"/>
        <a:defRPr sz="1088" kern="1200">
          <a:solidFill>
            <a:schemeClr val="tx1">
              <a:lumMod val="75000"/>
              <a:lumOff val="25000"/>
            </a:schemeClr>
          </a:solidFill>
          <a:latin typeface="+mn-lt"/>
          <a:ea typeface="+mn-ea"/>
          <a:cs typeface="+mn-cs"/>
        </a:defRPr>
      </a:lvl4pPr>
      <a:lvl5pPr marL="926341" indent="-187239" algn="l" defTabSz="946051" rtl="0" eaLnBrk="1" latinLnBrk="0" hangingPunct="1">
        <a:spcBef>
          <a:spcPts val="207"/>
        </a:spcBef>
        <a:spcAft>
          <a:spcPts val="207"/>
        </a:spcAft>
        <a:buClr>
          <a:schemeClr val="tx1">
            <a:lumMod val="75000"/>
            <a:lumOff val="25000"/>
          </a:schemeClr>
        </a:buClr>
        <a:buSzPct val="70000"/>
        <a:buFont typeface="Arial" pitchFamily="34" charset="0"/>
        <a:buChar char="►"/>
        <a:defRPr sz="1088" kern="1200">
          <a:solidFill>
            <a:schemeClr val="tx1">
              <a:lumMod val="75000"/>
              <a:lumOff val="25000"/>
            </a:schemeClr>
          </a:solidFill>
          <a:latin typeface="+mn-lt"/>
          <a:ea typeface="+mn-ea"/>
          <a:cs typeface="+mn-cs"/>
        </a:defRPr>
      </a:lvl5pPr>
      <a:lvl6pPr marL="2601638" indent="-236512" algn="l" defTabSz="946051" rtl="0" eaLnBrk="1" latinLnBrk="0" hangingPunct="1">
        <a:spcBef>
          <a:spcPct val="20000"/>
        </a:spcBef>
        <a:buFont typeface="Arial" pitchFamily="34" charset="0"/>
        <a:buChar char="•"/>
        <a:defRPr sz="2086" kern="1200">
          <a:solidFill>
            <a:schemeClr val="tx1"/>
          </a:solidFill>
          <a:latin typeface="+mn-lt"/>
          <a:ea typeface="+mn-ea"/>
          <a:cs typeface="+mn-cs"/>
        </a:defRPr>
      </a:lvl6pPr>
      <a:lvl7pPr marL="3074662" indent="-236512" algn="l" defTabSz="946051" rtl="0" eaLnBrk="1" latinLnBrk="0" hangingPunct="1">
        <a:spcBef>
          <a:spcPct val="20000"/>
        </a:spcBef>
        <a:buFont typeface="Arial" pitchFamily="34" charset="0"/>
        <a:buChar char="•"/>
        <a:defRPr sz="2086" kern="1200">
          <a:solidFill>
            <a:schemeClr val="tx1"/>
          </a:solidFill>
          <a:latin typeface="+mn-lt"/>
          <a:ea typeface="+mn-ea"/>
          <a:cs typeface="+mn-cs"/>
        </a:defRPr>
      </a:lvl7pPr>
      <a:lvl8pPr marL="3547687" indent="-236512" algn="l" defTabSz="946051" rtl="0" eaLnBrk="1" latinLnBrk="0" hangingPunct="1">
        <a:spcBef>
          <a:spcPct val="20000"/>
        </a:spcBef>
        <a:buFont typeface="Arial" pitchFamily="34" charset="0"/>
        <a:buChar char="•"/>
        <a:defRPr sz="2086" kern="1200">
          <a:solidFill>
            <a:schemeClr val="tx1"/>
          </a:solidFill>
          <a:latin typeface="+mn-lt"/>
          <a:ea typeface="+mn-ea"/>
          <a:cs typeface="+mn-cs"/>
        </a:defRPr>
      </a:lvl8pPr>
      <a:lvl9pPr marL="4020712" indent="-236512" algn="l" defTabSz="946051" rtl="0" eaLnBrk="1" latinLnBrk="0" hangingPunct="1">
        <a:spcBef>
          <a:spcPct val="20000"/>
        </a:spcBef>
        <a:buFont typeface="Arial" pitchFamily="34" charset="0"/>
        <a:buChar char="•"/>
        <a:defRPr sz="2086" kern="1200">
          <a:solidFill>
            <a:schemeClr val="tx1"/>
          </a:solidFill>
          <a:latin typeface="+mn-lt"/>
          <a:ea typeface="+mn-ea"/>
          <a:cs typeface="+mn-cs"/>
        </a:defRPr>
      </a:lvl9pPr>
    </p:bodyStyle>
    <p:otherStyle>
      <a:defPPr>
        <a:defRPr lang="en-US"/>
      </a:defPPr>
      <a:lvl1pPr marL="0" algn="l" defTabSz="946051" rtl="0" eaLnBrk="1" latinLnBrk="0" hangingPunct="1">
        <a:defRPr sz="1905" kern="1200">
          <a:solidFill>
            <a:schemeClr val="tx1"/>
          </a:solidFill>
          <a:latin typeface="+mn-lt"/>
          <a:ea typeface="+mn-ea"/>
          <a:cs typeface="+mn-cs"/>
        </a:defRPr>
      </a:lvl1pPr>
      <a:lvl2pPr marL="473025" algn="l" defTabSz="946051" rtl="0" eaLnBrk="1" latinLnBrk="0" hangingPunct="1">
        <a:defRPr sz="1905" kern="1200">
          <a:solidFill>
            <a:schemeClr val="tx1"/>
          </a:solidFill>
          <a:latin typeface="+mn-lt"/>
          <a:ea typeface="+mn-ea"/>
          <a:cs typeface="+mn-cs"/>
        </a:defRPr>
      </a:lvl2pPr>
      <a:lvl3pPr marL="946051" algn="l" defTabSz="946051" rtl="0" eaLnBrk="1" latinLnBrk="0" hangingPunct="1">
        <a:defRPr sz="1905" kern="1200">
          <a:solidFill>
            <a:schemeClr val="tx1"/>
          </a:solidFill>
          <a:latin typeface="+mn-lt"/>
          <a:ea typeface="+mn-ea"/>
          <a:cs typeface="+mn-cs"/>
        </a:defRPr>
      </a:lvl3pPr>
      <a:lvl4pPr marL="1419075" algn="l" defTabSz="946051" rtl="0" eaLnBrk="1" latinLnBrk="0" hangingPunct="1">
        <a:defRPr sz="1905" kern="1200">
          <a:solidFill>
            <a:schemeClr val="tx1"/>
          </a:solidFill>
          <a:latin typeface="+mn-lt"/>
          <a:ea typeface="+mn-ea"/>
          <a:cs typeface="+mn-cs"/>
        </a:defRPr>
      </a:lvl4pPr>
      <a:lvl5pPr marL="1892099" algn="l" defTabSz="946051" rtl="0" eaLnBrk="1" latinLnBrk="0" hangingPunct="1">
        <a:defRPr sz="1905" kern="1200">
          <a:solidFill>
            <a:schemeClr val="tx1"/>
          </a:solidFill>
          <a:latin typeface="+mn-lt"/>
          <a:ea typeface="+mn-ea"/>
          <a:cs typeface="+mn-cs"/>
        </a:defRPr>
      </a:lvl5pPr>
      <a:lvl6pPr marL="2365125" algn="l" defTabSz="946051" rtl="0" eaLnBrk="1" latinLnBrk="0" hangingPunct="1">
        <a:defRPr sz="1905" kern="1200">
          <a:solidFill>
            <a:schemeClr val="tx1"/>
          </a:solidFill>
          <a:latin typeface="+mn-lt"/>
          <a:ea typeface="+mn-ea"/>
          <a:cs typeface="+mn-cs"/>
        </a:defRPr>
      </a:lvl6pPr>
      <a:lvl7pPr marL="2838150" algn="l" defTabSz="946051" rtl="0" eaLnBrk="1" latinLnBrk="0" hangingPunct="1">
        <a:defRPr sz="1905" kern="1200">
          <a:solidFill>
            <a:schemeClr val="tx1"/>
          </a:solidFill>
          <a:latin typeface="+mn-lt"/>
          <a:ea typeface="+mn-ea"/>
          <a:cs typeface="+mn-cs"/>
        </a:defRPr>
      </a:lvl7pPr>
      <a:lvl8pPr marL="3311176" algn="l" defTabSz="946051" rtl="0" eaLnBrk="1" latinLnBrk="0" hangingPunct="1">
        <a:defRPr sz="1905" kern="1200">
          <a:solidFill>
            <a:schemeClr val="tx1"/>
          </a:solidFill>
          <a:latin typeface="+mn-lt"/>
          <a:ea typeface="+mn-ea"/>
          <a:cs typeface="+mn-cs"/>
        </a:defRPr>
      </a:lvl8pPr>
      <a:lvl9pPr marL="3784200" algn="l" defTabSz="946051" rtl="0" eaLnBrk="1" latinLnBrk="0" hangingPunct="1">
        <a:defRPr sz="1905"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3408585551"/>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189449"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2" y="1444"/>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2"/>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6"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5"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5"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31"/>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7"/>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3"/>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2"/>
            <a:ext cx="205107" cy="123527"/>
          </a:xfrm>
          <a:prstGeom prst="rect">
            <a:avLst/>
          </a:prstGeom>
          <a:blipFill>
            <a:blip r:embed="rId12"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3"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3"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5"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737621067"/>
      </p:ext>
    </p:extLst>
  </p:cSld>
  <p:clrMap bg1="lt1" tx1="dk1" bg2="lt2" tx2="dk2" accent1="accent1" accent2="accent2" accent3="accent3" accent4="accent4" accent5="accent5" accent6="accent6" hlink="hlink" folHlink="folHlink"/>
  <p:sldLayoutIdLst>
    <p:sldLayoutId id="2147486044" r:id="rId1"/>
    <p:sldLayoutId id="2147486045" r:id="rId2"/>
    <p:sldLayoutId id="2147486046" r:id="rId3"/>
    <p:sldLayoutId id="2147486047" r:id="rId4"/>
    <p:sldLayoutId id="2147486048" r:id="rId5"/>
  </p:sldLayoutIdLst>
  <p:hf hdr="0" ftr="0" dt="0"/>
  <p:txStyles>
    <p:titleStyle>
      <a:lvl1pPr algn="l" defTabSz="1148356" rtl="0" eaLnBrk="1" latinLnBrk="0" hangingPunct="1">
        <a:lnSpc>
          <a:spcPct val="85000"/>
        </a:lnSpc>
        <a:spcBef>
          <a:spcPct val="0"/>
        </a:spcBef>
        <a:buNone/>
        <a:defRPr sz="2176" b="1" i="0" kern="1200">
          <a:solidFill>
            <a:schemeClr val="bg1"/>
          </a:solidFill>
          <a:latin typeface="EYInterstate" panose="02000503020000020004" pitchFamily="2" charset="0"/>
          <a:ea typeface="+mj-ea"/>
          <a:cs typeface="Arial" pitchFamily="34" charset="0"/>
        </a:defRPr>
      </a:lvl1pPr>
    </p:titleStyle>
    <p:bodyStyle>
      <a:lvl1pPr marL="447860" indent="-447860" algn="l" defTabSz="1148356" rtl="0" eaLnBrk="1" latinLnBrk="0" hangingPunct="1">
        <a:spcBef>
          <a:spcPct val="20000"/>
        </a:spcBef>
        <a:buClr>
          <a:schemeClr val="tx1"/>
        </a:buClr>
        <a:buSzPct val="70000"/>
        <a:buFont typeface="Arial" pitchFamily="34" charset="0"/>
        <a:buChar char="►"/>
        <a:defRPr sz="2260" b="0" i="0" kern="1200">
          <a:solidFill>
            <a:schemeClr val="bg1"/>
          </a:solidFill>
          <a:latin typeface="EYInterstate Light" panose="02000506000000020004" pitchFamily="2" charset="0"/>
          <a:ea typeface="+mn-ea"/>
          <a:cs typeface="+mn-cs"/>
        </a:defRPr>
      </a:lvl1pPr>
      <a:lvl2pPr marL="895717" indent="-447860" algn="l" defTabSz="1148356" rtl="0" eaLnBrk="1" latinLnBrk="0" hangingPunct="1">
        <a:spcBef>
          <a:spcPct val="20000"/>
        </a:spcBef>
        <a:buClr>
          <a:schemeClr val="tx1"/>
        </a:buClr>
        <a:buSzPct val="70000"/>
        <a:buFont typeface="Arial" pitchFamily="34" charset="0"/>
        <a:buChar char="►"/>
        <a:defRPr sz="1813" b="0" i="0" kern="1200">
          <a:solidFill>
            <a:schemeClr val="bg1"/>
          </a:solidFill>
          <a:latin typeface="EYInterstate Light" panose="02000506000000020004" pitchFamily="2" charset="0"/>
          <a:ea typeface="+mn-ea"/>
          <a:cs typeface="+mn-cs"/>
        </a:defRPr>
      </a:lvl2pPr>
      <a:lvl3pPr marL="1343577" indent="-447860" algn="l" defTabSz="1148356" rtl="0" eaLnBrk="1" latinLnBrk="0" hangingPunct="1">
        <a:spcBef>
          <a:spcPct val="20000"/>
        </a:spcBef>
        <a:buClr>
          <a:schemeClr val="tx1"/>
        </a:buClr>
        <a:buSzPct val="70000"/>
        <a:buFont typeface="Arial" pitchFamily="34" charset="0"/>
        <a:buChar char="►"/>
        <a:defRPr sz="1632" b="0" i="0" kern="1200">
          <a:solidFill>
            <a:schemeClr val="bg1"/>
          </a:solidFill>
          <a:latin typeface="EYInterstate Light" panose="02000506000000020004" pitchFamily="2" charset="0"/>
          <a:ea typeface="+mn-ea"/>
          <a:cs typeface="+mn-cs"/>
        </a:defRPr>
      </a:lvl3pPr>
      <a:lvl4pPr marL="1791436" indent="-447860" algn="l" defTabSz="1148356" rtl="0" eaLnBrk="1" latinLnBrk="0" hangingPunct="1">
        <a:spcBef>
          <a:spcPct val="20000"/>
        </a:spcBef>
        <a:buClr>
          <a:schemeClr val="tx1"/>
        </a:buClr>
        <a:buSzPct val="70000"/>
        <a:buFont typeface="Arial" pitchFamily="34" charset="0"/>
        <a:buChar char="►"/>
        <a:defRPr sz="1450" b="0" i="0" kern="1200">
          <a:solidFill>
            <a:schemeClr val="bg1"/>
          </a:solidFill>
          <a:latin typeface="EYInterstate Light" panose="02000506000000020004" pitchFamily="2" charset="0"/>
          <a:ea typeface="+mn-ea"/>
          <a:cs typeface="+mn-cs"/>
        </a:defRPr>
      </a:lvl4pPr>
      <a:lvl5pPr marL="2239293" indent="-447860" algn="l" defTabSz="1148356" rtl="0" eaLnBrk="1" latinLnBrk="0" hangingPunct="1">
        <a:spcBef>
          <a:spcPct val="20000"/>
        </a:spcBef>
        <a:buClr>
          <a:schemeClr val="tx1"/>
        </a:buClr>
        <a:buSzPct val="70000"/>
        <a:buFont typeface="Arial" pitchFamily="34" charset="0"/>
        <a:buChar char="►"/>
        <a:defRPr sz="1269" b="0" i="0" kern="1200">
          <a:solidFill>
            <a:schemeClr val="bg1"/>
          </a:solidFill>
          <a:latin typeface="EYInterstate Light" panose="02000506000000020004" pitchFamily="2" charset="0"/>
          <a:ea typeface="+mn-ea"/>
          <a:cs typeface="+mn-cs"/>
        </a:defRPr>
      </a:lvl5pPr>
      <a:lvl6pPr marL="3157979"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6pPr>
      <a:lvl7pPr marL="3732158"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7pPr>
      <a:lvl8pPr marL="4306337"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8pPr>
      <a:lvl9pPr marL="4880513"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9pPr>
    </p:bodyStyle>
    <p:otherStyle>
      <a:defPPr>
        <a:defRPr lang="en-US"/>
      </a:defPPr>
      <a:lvl1pPr marL="0" algn="l" defTabSz="1148356" rtl="0" eaLnBrk="1" latinLnBrk="0" hangingPunct="1">
        <a:defRPr sz="2260" kern="1200">
          <a:solidFill>
            <a:schemeClr val="tx1"/>
          </a:solidFill>
          <a:latin typeface="+mn-lt"/>
          <a:ea typeface="+mn-ea"/>
          <a:cs typeface="+mn-cs"/>
        </a:defRPr>
      </a:lvl1pPr>
      <a:lvl2pPr marL="574177" algn="l" defTabSz="1148356" rtl="0" eaLnBrk="1" latinLnBrk="0" hangingPunct="1">
        <a:defRPr sz="2260" kern="1200">
          <a:solidFill>
            <a:schemeClr val="tx1"/>
          </a:solidFill>
          <a:latin typeface="+mn-lt"/>
          <a:ea typeface="+mn-ea"/>
          <a:cs typeface="+mn-cs"/>
        </a:defRPr>
      </a:lvl2pPr>
      <a:lvl3pPr marL="1148356" algn="l" defTabSz="1148356" rtl="0" eaLnBrk="1" latinLnBrk="0" hangingPunct="1">
        <a:defRPr sz="2260" kern="1200">
          <a:solidFill>
            <a:schemeClr val="tx1"/>
          </a:solidFill>
          <a:latin typeface="+mn-lt"/>
          <a:ea typeface="+mn-ea"/>
          <a:cs typeface="+mn-cs"/>
        </a:defRPr>
      </a:lvl3pPr>
      <a:lvl4pPr marL="1722534" algn="l" defTabSz="1148356" rtl="0" eaLnBrk="1" latinLnBrk="0" hangingPunct="1">
        <a:defRPr sz="2260" kern="1200">
          <a:solidFill>
            <a:schemeClr val="tx1"/>
          </a:solidFill>
          <a:latin typeface="+mn-lt"/>
          <a:ea typeface="+mn-ea"/>
          <a:cs typeface="+mn-cs"/>
        </a:defRPr>
      </a:lvl4pPr>
      <a:lvl5pPr marL="2296714" algn="l" defTabSz="1148356" rtl="0" eaLnBrk="1" latinLnBrk="0" hangingPunct="1">
        <a:defRPr sz="2260" kern="1200">
          <a:solidFill>
            <a:schemeClr val="tx1"/>
          </a:solidFill>
          <a:latin typeface="+mn-lt"/>
          <a:ea typeface="+mn-ea"/>
          <a:cs typeface="+mn-cs"/>
        </a:defRPr>
      </a:lvl5pPr>
      <a:lvl6pPr marL="2870891" algn="l" defTabSz="1148356" rtl="0" eaLnBrk="1" latinLnBrk="0" hangingPunct="1">
        <a:defRPr sz="2260" kern="1200">
          <a:solidFill>
            <a:schemeClr val="tx1"/>
          </a:solidFill>
          <a:latin typeface="+mn-lt"/>
          <a:ea typeface="+mn-ea"/>
          <a:cs typeface="+mn-cs"/>
        </a:defRPr>
      </a:lvl6pPr>
      <a:lvl7pPr marL="3445067" algn="l" defTabSz="1148356" rtl="0" eaLnBrk="1" latinLnBrk="0" hangingPunct="1">
        <a:defRPr sz="2260" kern="1200">
          <a:solidFill>
            <a:schemeClr val="tx1"/>
          </a:solidFill>
          <a:latin typeface="+mn-lt"/>
          <a:ea typeface="+mn-ea"/>
          <a:cs typeface="+mn-cs"/>
        </a:defRPr>
      </a:lvl7pPr>
      <a:lvl8pPr marL="4019246" algn="l" defTabSz="1148356" rtl="0" eaLnBrk="1" latinLnBrk="0" hangingPunct="1">
        <a:defRPr sz="2260" kern="1200">
          <a:solidFill>
            <a:schemeClr val="tx1"/>
          </a:solidFill>
          <a:latin typeface="+mn-lt"/>
          <a:ea typeface="+mn-ea"/>
          <a:cs typeface="+mn-cs"/>
        </a:defRPr>
      </a:lvl8pPr>
      <a:lvl9pPr marL="4593423" algn="l" defTabSz="1148356" rtl="0" eaLnBrk="1" latinLnBrk="0" hangingPunct="1">
        <a:defRPr sz="226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519439737"/>
              </p:ext>
            </p:extLst>
          </p:nvPr>
        </p:nvGraphicFramePr>
        <p:xfrm>
          <a:off x="1443" y="1446"/>
          <a:ext cx="1441" cy="1439"/>
        </p:xfrm>
        <a:graphic>
          <a:graphicData uri="http://schemas.openxmlformats.org/presentationml/2006/ole">
            <mc:AlternateContent xmlns:mc="http://schemas.openxmlformats.org/markup-compatibility/2006">
              <mc:Choice xmlns:v="urn:schemas-microsoft-com:vml" Requires="v">
                <p:oleObj spid="_x0000_s307209"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3" y="1446"/>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4"/>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5"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6"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6"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33"/>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9"/>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8">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5"/>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8">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4"/>
            <a:ext cx="205107" cy="123527"/>
          </a:xfrm>
          <a:prstGeom prst="rect">
            <a:avLst/>
          </a:prstGeom>
          <a:blipFill>
            <a:blip r:embed="rId14" cstate="print"/>
            <a:stretch>
              <a:fillRect/>
            </a:stretch>
          </a:blipFill>
        </p:spPr>
        <p:txBody>
          <a:bodyPr wrap="square" lIns="0" tIns="0" rIns="0" bIns="0" rtlCol="0"/>
          <a:lstStyle/>
          <a:p>
            <a:pPr algn="ctr"/>
            <a:endParaRPr sz="1798">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532" eaLnBrk="1" fontAlgn="auto" latinLnBrk="0" hangingPunct="1">
                <a:lnSpc>
                  <a:spcPct val="100000"/>
                </a:lnSpc>
                <a:spcBef>
                  <a:spcPts val="0"/>
                </a:spcBef>
                <a:spcAft>
                  <a:spcPts val="0"/>
                </a:spcAft>
                <a:buClrTx/>
                <a:buSzTx/>
                <a:buFontTx/>
                <a:buNone/>
                <a:tabLst/>
                <a:defRPr/>
              </a:pPr>
              <a:endParaRPr kumimoji="0" lang="en-US" sz="1086"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532" eaLnBrk="1" fontAlgn="auto" latinLnBrk="0" hangingPunct="1">
                <a:lnSpc>
                  <a:spcPct val="100000"/>
                </a:lnSpc>
                <a:spcBef>
                  <a:spcPts val="0"/>
                </a:spcBef>
                <a:spcAft>
                  <a:spcPts val="0"/>
                </a:spcAft>
                <a:buClrTx/>
                <a:buSzTx/>
                <a:buFontTx/>
                <a:buNone/>
                <a:tabLst/>
                <a:defRPr/>
              </a:pPr>
              <a:endParaRPr kumimoji="0" lang="en-US" sz="1086"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532" eaLnBrk="1" fontAlgn="auto" latinLnBrk="0" hangingPunct="1">
                <a:lnSpc>
                  <a:spcPct val="100000"/>
                </a:lnSpc>
                <a:spcBef>
                  <a:spcPts val="0"/>
                </a:spcBef>
                <a:spcAft>
                  <a:spcPts val="0"/>
                </a:spcAft>
                <a:buClrTx/>
                <a:buSzTx/>
                <a:buFontTx/>
                <a:buNone/>
                <a:tabLst/>
                <a:defRPr/>
              </a:pPr>
              <a:endParaRPr kumimoji="0" lang="en-US" sz="1086"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532" eaLnBrk="1" fontAlgn="auto" latinLnBrk="0" hangingPunct="1">
                <a:lnSpc>
                  <a:spcPct val="100000"/>
                </a:lnSpc>
                <a:spcBef>
                  <a:spcPts val="0"/>
                </a:spcBef>
                <a:spcAft>
                  <a:spcPts val="0"/>
                </a:spcAft>
                <a:buClrTx/>
                <a:buSzTx/>
                <a:buFontTx/>
                <a:buNone/>
                <a:tabLst/>
                <a:defRPr/>
              </a:pPr>
              <a:endParaRPr kumimoji="0" lang="en-US" sz="1086"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4"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532"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4"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532" eaLnBrk="1" fontAlgn="auto" latinLnBrk="0" hangingPunct="1">
              <a:lnSpc>
                <a:spcPct val="100000"/>
              </a:lnSpc>
              <a:spcBef>
                <a:spcPts val="0"/>
              </a:spcBef>
              <a:spcAft>
                <a:spcPts val="0"/>
              </a:spcAft>
              <a:buClrTx/>
              <a:buSzTx/>
              <a:buFontTx/>
              <a:buNone/>
              <a:tabLst/>
              <a:defRPr/>
            </a:pPr>
            <a:endParaRPr kumimoji="0" lang="en-US" sz="1631"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6"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701885745"/>
      </p:ext>
    </p:extLst>
  </p:cSld>
  <p:clrMap bg1="lt1" tx1="dk1" bg2="lt2" tx2="dk2" accent1="accent1" accent2="accent2" accent3="accent3" accent4="accent4" accent5="accent5" accent6="accent6" hlink="hlink" folHlink="folHlink"/>
  <p:sldLayoutIdLst>
    <p:sldLayoutId id="2147486050" r:id="rId1"/>
    <p:sldLayoutId id="2147486051" r:id="rId2"/>
    <p:sldLayoutId id="2147486052" r:id="rId3"/>
    <p:sldLayoutId id="2147486053" r:id="rId4"/>
    <p:sldLayoutId id="2147486054" r:id="rId5"/>
    <p:sldLayoutId id="2147486055" r:id="rId6"/>
    <p:sldLayoutId id="2147486056" r:id="rId7"/>
  </p:sldLayoutIdLst>
  <p:hf hdr="0" ftr="0" dt="0"/>
  <p:txStyles>
    <p:titleStyle>
      <a:lvl1pPr algn="l" defTabSz="1147782" rtl="0" eaLnBrk="1" latinLnBrk="0" hangingPunct="1">
        <a:lnSpc>
          <a:spcPct val="85000"/>
        </a:lnSpc>
        <a:spcBef>
          <a:spcPct val="0"/>
        </a:spcBef>
        <a:buNone/>
        <a:defRPr sz="2175" b="1" i="0" kern="1200">
          <a:solidFill>
            <a:schemeClr val="bg1"/>
          </a:solidFill>
          <a:latin typeface="EYInterstate" panose="02000503020000020004" pitchFamily="2" charset="0"/>
          <a:ea typeface="+mj-ea"/>
          <a:cs typeface="Arial" pitchFamily="34" charset="0"/>
        </a:defRPr>
      </a:lvl1pPr>
    </p:titleStyle>
    <p:bodyStyle>
      <a:lvl1pPr marL="447636" indent="-447636" algn="l" defTabSz="1147782" rtl="0" eaLnBrk="1" latinLnBrk="0" hangingPunct="1">
        <a:spcBef>
          <a:spcPct val="20000"/>
        </a:spcBef>
        <a:buClr>
          <a:schemeClr val="tx1"/>
        </a:buClr>
        <a:buSzPct val="70000"/>
        <a:buFont typeface="Arial" pitchFamily="34" charset="0"/>
        <a:buChar char="►"/>
        <a:defRPr sz="2259" b="0" i="0" kern="1200">
          <a:solidFill>
            <a:schemeClr val="bg1"/>
          </a:solidFill>
          <a:latin typeface="EYInterstate Light" panose="02000506000000020004" pitchFamily="2" charset="0"/>
          <a:ea typeface="+mn-ea"/>
          <a:cs typeface="+mn-cs"/>
        </a:defRPr>
      </a:lvl1pPr>
      <a:lvl2pPr marL="895269" indent="-447636" algn="l" defTabSz="1147782" rtl="0" eaLnBrk="1" latinLnBrk="0" hangingPunct="1">
        <a:spcBef>
          <a:spcPct val="20000"/>
        </a:spcBef>
        <a:buClr>
          <a:schemeClr val="tx1"/>
        </a:buClr>
        <a:buSzPct val="70000"/>
        <a:buFont typeface="Arial" pitchFamily="34" charset="0"/>
        <a:buChar char="►"/>
        <a:defRPr sz="1812" b="0" i="0" kern="1200">
          <a:solidFill>
            <a:schemeClr val="bg1"/>
          </a:solidFill>
          <a:latin typeface="EYInterstate Light" panose="02000506000000020004" pitchFamily="2" charset="0"/>
          <a:ea typeface="+mn-ea"/>
          <a:cs typeface="+mn-cs"/>
        </a:defRPr>
      </a:lvl2pPr>
      <a:lvl3pPr marL="1342905" indent="-447636" algn="l" defTabSz="1147782" rtl="0" eaLnBrk="1" latinLnBrk="0" hangingPunct="1">
        <a:spcBef>
          <a:spcPct val="20000"/>
        </a:spcBef>
        <a:buClr>
          <a:schemeClr val="tx1"/>
        </a:buClr>
        <a:buSzPct val="70000"/>
        <a:buFont typeface="Arial" pitchFamily="34" charset="0"/>
        <a:buChar char="►"/>
        <a:defRPr sz="1631" b="0" i="0" kern="1200">
          <a:solidFill>
            <a:schemeClr val="bg1"/>
          </a:solidFill>
          <a:latin typeface="EYInterstate Light" panose="02000506000000020004" pitchFamily="2" charset="0"/>
          <a:ea typeface="+mn-ea"/>
          <a:cs typeface="+mn-cs"/>
        </a:defRPr>
      </a:lvl3pPr>
      <a:lvl4pPr marL="1790540" indent="-447636" algn="l" defTabSz="1147782" rtl="0" eaLnBrk="1" latinLnBrk="0" hangingPunct="1">
        <a:spcBef>
          <a:spcPct val="20000"/>
        </a:spcBef>
        <a:buClr>
          <a:schemeClr val="tx1"/>
        </a:buClr>
        <a:buSzPct val="70000"/>
        <a:buFont typeface="Arial" pitchFamily="34" charset="0"/>
        <a:buChar char="►"/>
        <a:defRPr sz="1449" b="0" i="0" kern="1200">
          <a:solidFill>
            <a:schemeClr val="bg1"/>
          </a:solidFill>
          <a:latin typeface="EYInterstate Light" panose="02000506000000020004" pitchFamily="2" charset="0"/>
          <a:ea typeface="+mn-ea"/>
          <a:cs typeface="+mn-cs"/>
        </a:defRPr>
      </a:lvl4pPr>
      <a:lvl5pPr marL="2238173" indent="-447636" algn="l" defTabSz="1147782" rtl="0" eaLnBrk="1" latinLnBrk="0" hangingPunct="1">
        <a:spcBef>
          <a:spcPct val="20000"/>
        </a:spcBef>
        <a:buClr>
          <a:schemeClr val="tx1"/>
        </a:buClr>
        <a:buSzPct val="70000"/>
        <a:buFont typeface="Arial" pitchFamily="34" charset="0"/>
        <a:buChar char="►"/>
        <a:defRPr sz="1268" b="0" i="0" kern="1200">
          <a:solidFill>
            <a:schemeClr val="bg1"/>
          </a:solidFill>
          <a:latin typeface="EYInterstate Light" panose="02000506000000020004" pitchFamily="2" charset="0"/>
          <a:ea typeface="+mn-ea"/>
          <a:cs typeface="+mn-cs"/>
        </a:defRPr>
      </a:lvl5pPr>
      <a:lvl6pPr marL="3156400" indent="-286945" algn="l" defTabSz="1147782" rtl="0" eaLnBrk="1" latinLnBrk="0" hangingPunct="1">
        <a:spcBef>
          <a:spcPct val="20000"/>
        </a:spcBef>
        <a:buFont typeface="Arial" pitchFamily="34" charset="0"/>
        <a:buChar char="•"/>
        <a:defRPr sz="2511" kern="1200">
          <a:solidFill>
            <a:schemeClr val="tx1"/>
          </a:solidFill>
          <a:latin typeface="+mn-lt"/>
          <a:ea typeface="+mn-ea"/>
          <a:cs typeface="+mn-cs"/>
        </a:defRPr>
      </a:lvl6pPr>
      <a:lvl7pPr marL="3730292" indent="-286945" algn="l" defTabSz="1147782" rtl="0" eaLnBrk="1" latinLnBrk="0" hangingPunct="1">
        <a:spcBef>
          <a:spcPct val="20000"/>
        </a:spcBef>
        <a:buFont typeface="Arial" pitchFamily="34" charset="0"/>
        <a:buChar char="•"/>
        <a:defRPr sz="2511" kern="1200">
          <a:solidFill>
            <a:schemeClr val="tx1"/>
          </a:solidFill>
          <a:latin typeface="+mn-lt"/>
          <a:ea typeface="+mn-ea"/>
          <a:cs typeface="+mn-cs"/>
        </a:defRPr>
      </a:lvl7pPr>
      <a:lvl8pPr marL="4304184" indent="-286945" algn="l" defTabSz="1147782" rtl="0" eaLnBrk="1" latinLnBrk="0" hangingPunct="1">
        <a:spcBef>
          <a:spcPct val="20000"/>
        </a:spcBef>
        <a:buFont typeface="Arial" pitchFamily="34" charset="0"/>
        <a:buChar char="•"/>
        <a:defRPr sz="2511" kern="1200">
          <a:solidFill>
            <a:schemeClr val="tx1"/>
          </a:solidFill>
          <a:latin typeface="+mn-lt"/>
          <a:ea typeface="+mn-ea"/>
          <a:cs typeface="+mn-cs"/>
        </a:defRPr>
      </a:lvl8pPr>
      <a:lvl9pPr marL="4878073" indent="-286945" algn="l" defTabSz="1147782" rtl="0" eaLnBrk="1" latinLnBrk="0" hangingPunct="1">
        <a:spcBef>
          <a:spcPct val="20000"/>
        </a:spcBef>
        <a:buFont typeface="Arial" pitchFamily="34" charset="0"/>
        <a:buChar char="•"/>
        <a:defRPr sz="2511" kern="1200">
          <a:solidFill>
            <a:schemeClr val="tx1"/>
          </a:solidFill>
          <a:latin typeface="+mn-lt"/>
          <a:ea typeface="+mn-ea"/>
          <a:cs typeface="+mn-cs"/>
        </a:defRPr>
      </a:lvl9pPr>
    </p:bodyStyle>
    <p:otherStyle>
      <a:defPPr>
        <a:defRPr lang="en-US"/>
      </a:defPPr>
      <a:lvl1pPr marL="0" algn="l" defTabSz="1147782" rtl="0" eaLnBrk="1" latinLnBrk="0" hangingPunct="1">
        <a:defRPr sz="2259" kern="1200">
          <a:solidFill>
            <a:schemeClr val="tx1"/>
          </a:solidFill>
          <a:latin typeface="+mn-lt"/>
          <a:ea typeface="+mn-ea"/>
          <a:cs typeface="+mn-cs"/>
        </a:defRPr>
      </a:lvl1pPr>
      <a:lvl2pPr marL="573890" algn="l" defTabSz="1147782" rtl="0" eaLnBrk="1" latinLnBrk="0" hangingPunct="1">
        <a:defRPr sz="2259" kern="1200">
          <a:solidFill>
            <a:schemeClr val="tx1"/>
          </a:solidFill>
          <a:latin typeface="+mn-lt"/>
          <a:ea typeface="+mn-ea"/>
          <a:cs typeface="+mn-cs"/>
        </a:defRPr>
      </a:lvl2pPr>
      <a:lvl3pPr marL="1147782" algn="l" defTabSz="1147782" rtl="0" eaLnBrk="1" latinLnBrk="0" hangingPunct="1">
        <a:defRPr sz="2259" kern="1200">
          <a:solidFill>
            <a:schemeClr val="tx1"/>
          </a:solidFill>
          <a:latin typeface="+mn-lt"/>
          <a:ea typeface="+mn-ea"/>
          <a:cs typeface="+mn-cs"/>
        </a:defRPr>
      </a:lvl3pPr>
      <a:lvl4pPr marL="1721673" algn="l" defTabSz="1147782" rtl="0" eaLnBrk="1" latinLnBrk="0" hangingPunct="1">
        <a:defRPr sz="2259" kern="1200">
          <a:solidFill>
            <a:schemeClr val="tx1"/>
          </a:solidFill>
          <a:latin typeface="+mn-lt"/>
          <a:ea typeface="+mn-ea"/>
          <a:cs typeface="+mn-cs"/>
        </a:defRPr>
      </a:lvl4pPr>
      <a:lvl5pPr marL="2295566" algn="l" defTabSz="1147782" rtl="0" eaLnBrk="1" latinLnBrk="0" hangingPunct="1">
        <a:defRPr sz="2259" kern="1200">
          <a:solidFill>
            <a:schemeClr val="tx1"/>
          </a:solidFill>
          <a:latin typeface="+mn-lt"/>
          <a:ea typeface="+mn-ea"/>
          <a:cs typeface="+mn-cs"/>
        </a:defRPr>
      </a:lvl5pPr>
      <a:lvl6pPr marL="2869456" algn="l" defTabSz="1147782" rtl="0" eaLnBrk="1" latinLnBrk="0" hangingPunct="1">
        <a:defRPr sz="2259" kern="1200">
          <a:solidFill>
            <a:schemeClr val="tx1"/>
          </a:solidFill>
          <a:latin typeface="+mn-lt"/>
          <a:ea typeface="+mn-ea"/>
          <a:cs typeface="+mn-cs"/>
        </a:defRPr>
      </a:lvl6pPr>
      <a:lvl7pPr marL="3443344" algn="l" defTabSz="1147782" rtl="0" eaLnBrk="1" latinLnBrk="0" hangingPunct="1">
        <a:defRPr sz="2259" kern="1200">
          <a:solidFill>
            <a:schemeClr val="tx1"/>
          </a:solidFill>
          <a:latin typeface="+mn-lt"/>
          <a:ea typeface="+mn-ea"/>
          <a:cs typeface="+mn-cs"/>
        </a:defRPr>
      </a:lvl7pPr>
      <a:lvl8pPr marL="4017236" algn="l" defTabSz="1147782" rtl="0" eaLnBrk="1" latinLnBrk="0" hangingPunct="1">
        <a:defRPr sz="2259" kern="1200">
          <a:solidFill>
            <a:schemeClr val="tx1"/>
          </a:solidFill>
          <a:latin typeface="+mn-lt"/>
          <a:ea typeface="+mn-ea"/>
          <a:cs typeface="+mn-cs"/>
        </a:defRPr>
      </a:lvl8pPr>
      <a:lvl9pPr marL="4591126" algn="l" defTabSz="1147782" rtl="0" eaLnBrk="1" latinLnBrk="0" hangingPunct="1">
        <a:defRPr sz="2259"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2749350992"/>
              </p:ext>
            </p:extLst>
          </p:nvPr>
        </p:nvGraphicFramePr>
        <p:xfrm>
          <a:off x="1442" y="1443"/>
          <a:ext cx="1441" cy="1439"/>
        </p:xfrm>
        <a:graphic>
          <a:graphicData uri="http://schemas.openxmlformats.org/presentationml/2006/ole">
            <mc:AlternateContent xmlns:mc="http://schemas.openxmlformats.org/markup-compatibility/2006">
              <mc:Choice xmlns:v="urn:schemas-microsoft-com:vml" Requires="v">
                <p:oleObj spid="_x0000_s311305"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2" y="1443"/>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1"/>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6"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5"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5"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 name="object 3">
            <a:extLst>
              <a:ext uri="{FF2B5EF4-FFF2-40B4-BE49-F238E27FC236}">
                <a16:creationId xmlns:a16="http://schemas.microsoft.com/office/drawing/2014/main" id="{FBEC6C36-7DE3-C04D-8FC3-90CFCCD3E4A9}"/>
              </a:ext>
            </a:extLst>
          </p:cNvPr>
          <p:cNvSpPr/>
          <p:nvPr userDrawn="1"/>
        </p:nvSpPr>
        <p:spPr>
          <a:xfrm>
            <a:off x="-5103"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900">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2"/>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900">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2" cstate="print"/>
            <a:stretch>
              <a:fillRect/>
            </a:stretch>
          </a:blipFill>
        </p:spPr>
        <p:txBody>
          <a:bodyPr wrap="square" lIns="0" tIns="0" rIns="0" bIns="0" rtlCol="0"/>
          <a:lstStyle/>
          <a:p>
            <a:pPr algn="ctr"/>
            <a:endParaRPr sz="900">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7"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58"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58"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7"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58"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58"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3"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58"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3"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58"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5"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3469724917"/>
      </p:ext>
    </p:extLst>
  </p:cSld>
  <p:clrMap bg1="lt1" tx1="dk1" bg2="lt2" tx2="dk2" accent1="accent1" accent2="accent2" accent3="accent3" accent4="accent4" accent5="accent5" accent6="accent6" hlink="hlink" folHlink="folHlink"/>
  <p:sldLayoutIdLst>
    <p:sldLayoutId id="2147486058" r:id="rId1"/>
    <p:sldLayoutId id="2147486059" r:id="rId2"/>
    <p:sldLayoutId id="2147486060" r:id="rId3"/>
    <p:sldLayoutId id="2147486061" r:id="rId4"/>
    <p:sldLayoutId id="2147486062" r:id="rId5"/>
  </p:sldLayoutIdLst>
  <p:hf hdr="0" ftr="0" dt="0"/>
  <p:txStyles>
    <p:titleStyle>
      <a:lvl1pPr algn="l" defTabSz="1148372" rtl="0" eaLnBrk="1" latinLnBrk="0" hangingPunct="1">
        <a:lnSpc>
          <a:spcPct val="85000"/>
        </a:lnSpc>
        <a:spcBef>
          <a:spcPct val="0"/>
        </a:spcBef>
        <a:buNone/>
        <a:defRPr sz="2176" b="1" i="0" kern="1200">
          <a:solidFill>
            <a:schemeClr val="bg1"/>
          </a:solidFill>
          <a:latin typeface="EYInterstate" panose="02000503020000020004" pitchFamily="2" charset="0"/>
          <a:ea typeface="+mj-ea"/>
          <a:cs typeface="Arial" pitchFamily="34" charset="0"/>
        </a:defRPr>
      </a:lvl1pPr>
    </p:titleStyle>
    <p:bodyStyle>
      <a:lvl1pPr marL="447867" indent="-447867" algn="l" defTabSz="1148372" rtl="0" eaLnBrk="1" latinLnBrk="0" hangingPunct="1">
        <a:spcBef>
          <a:spcPct val="20000"/>
        </a:spcBef>
        <a:buClr>
          <a:schemeClr val="tx1"/>
        </a:buClr>
        <a:buSzPct val="70000"/>
        <a:buFont typeface="Arial" pitchFamily="34" charset="0"/>
        <a:buChar char="►"/>
        <a:defRPr sz="2260" b="0" i="0" kern="1200">
          <a:solidFill>
            <a:schemeClr val="bg1"/>
          </a:solidFill>
          <a:latin typeface="EYInterstate Light" panose="02000506000000020004" pitchFamily="2" charset="0"/>
          <a:ea typeface="+mn-ea"/>
          <a:cs typeface="+mn-cs"/>
        </a:defRPr>
      </a:lvl1pPr>
      <a:lvl2pPr marL="895730" indent="-447867" algn="l" defTabSz="1148372" rtl="0" eaLnBrk="1" latinLnBrk="0" hangingPunct="1">
        <a:spcBef>
          <a:spcPct val="20000"/>
        </a:spcBef>
        <a:buClr>
          <a:schemeClr val="tx1"/>
        </a:buClr>
        <a:buSzPct val="70000"/>
        <a:buFont typeface="Arial" pitchFamily="34" charset="0"/>
        <a:buChar char="►"/>
        <a:defRPr sz="1813" b="0" i="0" kern="1200">
          <a:solidFill>
            <a:schemeClr val="bg1"/>
          </a:solidFill>
          <a:latin typeface="EYInterstate Light" panose="02000506000000020004" pitchFamily="2" charset="0"/>
          <a:ea typeface="+mn-ea"/>
          <a:cs typeface="+mn-cs"/>
        </a:defRPr>
      </a:lvl2pPr>
      <a:lvl3pPr marL="1343595" indent="-447867" algn="l" defTabSz="1148372"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1461" indent="-447867" algn="l" defTabSz="1148372" rtl="0" eaLnBrk="1" latinLnBrk="0" hangingPunct="1">
        <a:spcBef>
          <a:spcPct val="20000"/>
        </a:spcBef>
        <a:buClr>
          <a:schemeClr val="tx1"/>
        </a:buClr>
        <a:buSzPct val="70000"/>
        <a:buFont typeface="Arial" pitchFamily="34" charset="0"/>
        <a:buChar char="►"/>
        <a:defRPr sz="1450" b="0" i="0" kern="1200">
          <a:solidFill>
            <a:schemeClr val="bg1"/>
          </a:solidFill>
          <a:latin typeface="EYInterstate Light" panose="02000506000000020004" pitchFamily="2" charset="0"/>
          <a:ea typeface="+mn-ea"/>
          <a:cs typeface="+mn-cs"/>
        </a:defRPr>
      </a:lvl4pPr>
      <a:lvl5pPr marL="2239324" indent="-447867" algn="l" defTabSz="1148372"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8023" indent="-287094" algn="l" defTabSz="1148372" rtl="0" eaLnBrk="1" latinLnBrk="0" hangingPunct="1">
        <a:spcBef>
          <a:spcPct val="20000"/>
        </a:spcBef>
        <a:buFont typeface="Arial" pitchFamily="34" charset="0"/>
        <a:buChar char="•"/>
        <a:defRPr sz="2511" kern="1200">
          <a:solidFill>
            <a:schemeClr val="tx1"/>
          </a:solidFill>
          <a:latin typeface="+mn-lt"/>
          <a:ea typeface="+mn-ea"/>
          <a:cs typeface="+mn-cs"/>
        </a:defRPr>
      </a:lvl6pPr>
      <a:lvl7pPr marL="3732211" indent="-287094" algn="l" defTabSz="1148372" rtl="0" eaLnBrk="1" latinLnBrk="0" hangingPunct="1">
        <a:spcBef>
          <a:spcPct val="20000"/>
        </a:spcBef>
        <a:buFont typeface="Arial" pitchFamily="34" charset="0"/>
        <a:buChar char="•"/>
        <a:defRPr sz="2511" kern="1200">
          <a:solidFill>
            <a:schemeClr val="tx1"/>
          </a:solidFill>
          <a:latin typeface="+mn-lt"/>
          <a:ea typeface="+mn-ea"/>
          <a:cs typeface="+mn-cs"/>
        </a:defRPr>
      </a:lvl7pPr>
      <a:lvl8pPr marL="4306397" indent="-287094" algn="l" defTabSz="1148372" rtl="0" eaLnBrk="1" latinLnBrk="0" hangingPunct="1">
        <a:spcBef>
          <a:spcPct val="20000"/>
        </a:spcBef>
        <a:buFont typeface="Arial" pitchFamily="34" charset="0"/>
        <a:buChar char="•"/>
        <a:defRPr sz="2511" kern="1200">
          <a:solidFill>
            <a:schemeClr val="tx1"/>
          </a:solidFill>
          <a:latin typeface="+mn-lt"/>
          <a:ea typeface="+mn-ea"/>
          <a:cs typeface="+mn-cs"/>
        </a:defRPr>
      </a:lvl8pPr>
      <a:lvl9pPr marL="4880581" indent="-287094" algn="l" defTabSz="1148372" rtl="0" eaLnBrk="1" latinLnBrk="0" hangingPunct="1">
        <a:spcBef>
          <a:spcPct val="20000"/>
        </a:spcBef>
        <a:buFont typeface="Arial" pitchFamily="34" charset="0"/>
        <a:buChar char="•"/>
        <a:defRPr sz="2511" kern="1200">
          <a:solidFill>
            <a:schemeClr val="tx1"/>
          </a:solidFill>
          <a:latin typeface="+mn-lt"/>
          <a:ea typeface="+mn-ea"/>
          <a:cs typeface="+mn-cs"/>
        </a:defRPr>
      </a:lvl9pPr>
    </p:bodyStyle>
    <p:otherStyle>
      <a:defPPr>
        <a:defRPr lang="en-US"/>
      </a:defPPr>
      <a:lvl1pPr marL="0" algn="l" defTabSz="1148372" rtl="0" eaLnBrk="1" latinLnBrk="0" hangingPunct="1">
        <a:defRPr sz="2260" kern="1200">
          <a:solidFill>
            <a:schemeClr val="tx1"/>
          </a:solidFill>
          <a:latin typeface="+mn-lt"/>
          <a:ea typeface="+mn-ea"/>
          <a:cs typeface="+mn-cs"/>
        </a:defRPr>
      </a:lvl1pPr>
      <a:lvl2pPr marL="574185" algn="l" defTabSz="1148372" rtl="0" eaLnBrk="1" latinLnBrk="0" hangingPunct="1">
        <a:defRPr sz="2260" kern="1200">
          <a:solidFill>
            <a:schemeClr val="tx1"/>
          </a:solidFill>
          <a:latin typeface="+mn-lt"/>
          <a:ea typeface="+mn-ea"/>
          <a:cs typeface="+mn-cs"/>
        </a:defRPr>
      </a:lvl2pPr>
      <a:lvl3pPr marL="1148372" algn="l" defTabSz="1148372" rtl="0" eaLnBrk="1" latinLnBrk="0" hangingPunct="1">
        <a:defRPr sz="2260" kern="1200">
          <a:solidFill>
            <a:schemeClr val="tx1"/>
          </a:solidFill>
          <a:latin typeface="+mn-lt"/>
          <a:ea typeface="+mn-ea"/>
          <a:cs typeface="+mn-cs"/>
        </a:defRPr>
      </a:lvl3pPr>
      <a:lvl4pPr marL="1722558" algn="l" defTabSz="1148372" rtl="0" eaLnBrk="1" latinLnBrk="0" hangingPunct="1">
        <a:defRPr sz="2260" kern="1200">
          <a:solidFill>
            <a:schemeClr val="tx1"/>
          </a:solidFill>
          <a:latin typeface="+mn-lt"/>
          <a:ea typeface="+mn-ea"/>
          <a:cs typeface="+mn-cs"/>
        </a:defRPr>
      </a:lvl4pPr>
      <a:lvl5pPr marL="2296746" algn="l" defTabSz="1148372" rtl="0" eaLnBrk="1" latinLnBrk="0" hangingPunct="1">
        <a:defRPr sz="2260" kern="1200">
          <a:solidFill>
            <a:schemeClr val="tx1"/>
          </a:solidFill>
          <a:latin typeface="+mn-lt"/>
          <a:ea typeface="+mn-ea"/>
          <a:cs typeface="+mn-cs"/>
        </a:defRPr>
      </a:lvl5pPr>
      <a:lvl6pPr marL="2870931" algn="l" defTabSz="1148372" rtl="0" eaLnBrk="1" latinLnBrk="0" hangingPunct="1">
        <a:defRPr sz="2260" kern="1200">
          <a:solidFill>
            <a:schemeClr val="tx1"/>
          </a:solidFill>
          <a:latin typeface="+mn-lt"/>
          <a:ea typeface="+mn-ea"/>
          <a:cs typeface="+mn-cs"/>
        </a:defRPr>
      </a:lvl6pPr>
      <a:lvl7pPr marL="3445115" algn="l" defTabSz="1148372" rtl="0" eaLnBrk="1" latinLnBrk="0" hangingPunct="1">
        <a:defRPr sz="2260" kern="1200">
          <a:solidFill>
            <a:schemeClr val="tx1"/>
          </a:solidFill>
          <a:latin typeface="+mn-lt"/>
          <a:ea typeface="+mn-ea"/>
          <a:cs typeface="+mn-cs"/>
        </a:defRPr>
      </a:lvl7pPr>
      <a:lvl8pPr marL="4019302" algn="l" defTabSz="1148372" rtl="0" eaLnBrk="1" latinLnBrk="0" hangingPunct="1">
        <a:defRPr sz="2260" kern="1200">
          <a:solidFill>
            <a:schemeClr val="tx1"/>
          </a:solidFill>
          <a:latin typeface="+mn-lt"/>
          <a:ea typeface="+mn-ea"/>
          <a:cs typeface="+mn-cs"/>
        </a:defRPr>
      </a:lvl8pPr>
      <a:lvl9pPr marL="4593488" algn="l" defTabSz="1148372" rtl="0" eaLnBrk="1" latinLnBrk="0" hangingPunct="1">
        <a:defRPr sz="226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4198090814"/>
              </p:ext>
            </p:extLst>
          </p:nvPr>
        </p:nvGraphicFramePr>
        <p:xfrm>
          <a:off x="1442" y="1444"/>
          <a:ext cx="1441" cy="1439"/>
        </p:xfrm>
        <a:graphic>
          <a:graphicData uri="http://schemas.openxmlformats.org/presentationml/2006/ole">
            <mc:AlternateContent xmlns:mc="http://schemas.openxmlformats.org/markup-compatibility/2006">
              <mc:Choice xmlns:v="urn:schemas-microsoft-com:vml" Requires="v">
                <p:oleObj spid="_x0000_s315396"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2" y="1444"/>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2"/>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6"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5"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5"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31"/>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7"/>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sz="1799">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3"/>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sz="1799">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2"/>
            <a:ext cx="205107" cy="123527"/>
          </a:xfrm>
          <a:prstGeom prst="rect">
            <a:avLst/>
          </a:prstGeom>
          <a:blipFill>
            <a:blip r:embed="rId14" cstate="print"/>
            <a:stretch>
              <a:fillRect/>
            </a:stretch>
          </a:blipFill>
        </p:spPr>
        <p:txBody>
          <a:bodyPr wrap="square" lIns="0" tIns="0" rIns="0" bIns="0" rtlCol="0"/>
          <a:lstStyle/>
          <a:p>
            <a:pPr algn="ctr"/>
            <a:endParaRPr sz="1799">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087"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3"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3"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8946"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5"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1277050302"/>
      </p:ext>
    </p:extLst>
  </p:cSld>
  <p:clrMap bg1="lt1" tx1="dk1" bg2="lt2" tx2="dk2" accent1="accent1" accent2="accent2" accent3="accent3" accent4="accent4" accent5="accent5" accent6="accent6" hlink="hlink" folHlink="folHlink"/>
  <p:sldLayoutIdLst>
    <p:sldLayoutId id="2147486064" r:id="rId1"/>
    <p:sldLayoutId id="2147486065" r:id="rId2"/>
    <p:sldLayoutId id="2147486066" r:id="rId3"/>
    <p:sldLayoutId id="2147486067" r:id="rId4"/>
    <p:sldLayoutId id="2147486068" r:id="rId5"/>
    <p:sldLayoutId id="2147486069" r:id="rId6"/>
    <p:sldLayoutId id="2147486070" r:id="rId7"/>
  </p:sldLayoutIdLst>
  <p:hf hdr="0" ftr="0" dt="0"/>
  <p:txStyles>
    <p:titleStyle>
      <a:lvl1pPr algn="l" defTabSz="1148356" rtl="0" eaLnBrk="1" latinLnBrk="0" hangingPunct="1">
        <a:lnSpc>
          <a:spcPct val="85000"/>
        </a:lnSpc>
        <a:spcBef>
          <a:spcPct val="0"/>
        </a:spcBef>
        <a:buNone/>
        <a:defRPr sz="2176" b="1" i="0" kern="1200">
          <a:solidFill>
            <a:schemeClr val="bg1"/>
          </a:solidFill>
          <a:latin typeface="EYInterstate" panose="02000503020000020004" pitchFamily="2" charset="0"/>
          <a:ea typeface="+mj-ea"/>
          <a:cs typeface="Arial" pitchFamily="34" charset="0"/>
        </a:defRPr>
      </a:lvl1pPr>
    </p:titleStyle>
    <p:bodyStyle>
      <a:lvl1pPr marL="447860" indent="-447860" algn="l" defTabSz="1148356" rtl="0" eaLnBrk="1" latinLnBrk="0" hangingPunct="1">
        <a:spcBef>
          <a:spcPct val="20000"/>
        </a:spcBef>
        <a:buClr>
          <a:schemeClr val="tx1"/>
        </a:buClr>
        <a:buSzPct val="70000"/>
        <a:buFont typeface="Arial" pitchFamily="34" charset="0"/>
        <a:buChar char="►"/>
        <a:defRPr sz="2260" b="0" i="0" kern="1200">
          <a:solidFill>
            <a:schemeClr val="bg1"/>
          </a:solidFill>
          <a:latin typeface="EYInterstate Light" panose="02000506000000020004" pitchFamily="2" charset="0"/>
          <a:ea typeface="+mn-ea"/>
          <a:cs typeface="+mn-cs"/>
        </a:defRPr>
      </a:lvl1pPr>
      <a:lvl2pPr marL="895717" indent="-447860" algn="l" defTabSz="1148356" rtl="0" eaLnBrk="1" latinLnBrk="0" hangingPunct="1">
        <a:spcBef>
          <a:spcPct val="20000"/>
        </a:spcBef>
        <a:buClr>
          <a:schemeClr val="tx1"/>
        </a:buClr>
        <a:buSzPct val="70000"/>
        <a:buFont typeface="Arial" pitchFamily="34" charset="0"/>
        <a:buChar char="►"/>
        <a:defRPr sz="1813" b="0" i="0" kern="1200">
          <a:solidFill>
            <a:schemeClr val="bg1"/>
          </a:solidFill>
          <a:latin typeface="EYInterstate Light" panose="02000506000000020004" pitchFamily="2" charset="0"/>
          <a:ea typeface="+mn-ea"/>
          <a:cs typeface="+mn-cs"/>
        </a:defRPr>
      </a:lvl2pPr>
      <a:lvl3pPr marL="1343577" indent="-447860" algn="l" defTabSz="1148356" rtl="0" eaLnBrk="1" latinLnBrk="0" hangingPunct="1">
        <a:spcBef>
          <a:spcPct val="20000"/>
        </a:spcBef>
        <a:buClr>
          <a:schemeClr val="tx1"/>
        </a:buClr>
        <a:buSzPct val="70000"/>
        <a:buFont typeface="Arial" pitchFamily="34" charset="0"/>
        <a:buChar char="►"/>
        <a:defRPr sz="1632" b="0" i="0" kern="1200">
          <a:solidFill>
            <a:schemeClr val="bg1"/>
          </a:solidFill>
          <a:latin typeface="EYInterstate Light" panose="02000506000000020004" pitchFamily="2" charset="0"/>
          <a:ea typeface="+mn-ea"/>
          <a:cs typeface="+mn-cs"/>
        </a:defRPr>
      </a:lvl3pPr>
      <a:lvl4pPr marL="1791436" indent="-447860" algn="l" defTabSz="1148356" rtl="0" eaLnBrk="1" latinLnBrk="0" hangingPunct="1">
        <a:spcBef>
          <a:spcPct val="20000"/>
        </a:spcBef>
        <a:buClr>
          <a:schemeClr val="tx1"/>
        </a:buClr>
        <a:buSzPct val="70000"/>
        <a:buFont typeface="Arial" pitchFamily="34" charset="0"/>
        <a:buChar char="►"/>
        <a:defRPr sz="1450" b="0" i="0" kern="1200">
          <a:solidFill>
            <a:schemeClr val="bg1"/>
          </a:solidFill>
          <a:latin typeface="EYInterstate Light" panose="02000506000000020004" pitchFamily="2" charset="0"/>
          <a:ea typeface="+mn-ea"/>
          <a:cs typeface="+mn-cs"/>
        </a:defRPr>
      </a:lvl4pPr>
      <a:lvl5pPr marL="2239293" indent="-447860" algn="l" defTabSz="1148356" rtl="0" eaLnBrk="1" latinLnBrk="0" hangingPunct="1">
        <a:spcBef>
          <a:spcPct val="20000"/>
        </a:spcBef>
        <a:buClr>
          <a:schemeClr val="tx1"/>
        </a:buClr>
        <a:buSzPct val="70000"/>
        <a:buFont typeface="Arial" pitchFamily="34" charset="0"/>
        <a:buChar char="►"/>
        <a:defRPr sz="1269" b="0" i="0" kern="1200">
          <a:solidFill>
            <a:schemeClr val="bg1"/>
          </a:solidFill>
          <a:latin typeface="EYInterstate Light" panose="02000506000000020004" pitchFamily="2" charset="0"/>
          <a:ea typeface="+mn-ea"/>
          <a:cs typeface="+mn-cs"/>
        </a:defRPr>
      </a:lvl5pPr>
      <a:lvl6pPr marL="3157979"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6pPr>
      <a:lvl7pPr marL="3732158"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7pPr>
      <a:lvl8pPr marL="4306337"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8pPr>
      <a:lvl9pPr marL="4880513" indent="-287089" algn="l" defTabSz="1148356" rtl="0" eaLnBrk="1" latinLnBrk="0" hangingPunct="1">
        <a:spcBef>
          <a:spcPct val="20000"/>
        </a:spcBef>
        <a:buFont typeface="Arial" pitchFamily="34" charset="0"/>
        <a:buChar char="•"/>
        <a:defRPr sz="2512" kern="1200">
          <a:solidFill>
            <a:schemeClr val="tx1"/>
          </a:solidFill>
          <a:latin typeface="+mn-lt"/>
          <a:ea typeface="+mn-ea"/>
          <a:cs typeface="+mn-cs"/>
        </a:defRPr>
      </a:lvl9pPr>
    </p:bodyStyle>
    <p:otherStyle>
      <a:defPPr>
        <a:defRPr lang="en-US"/>
      </a:defPPr>
      <a:lvl1pPr marL="0" algn="l" defTabSz="1148356" rtl="0" eaLnBrk="1" latinLnBrk="0" hangingPunct="1">
        <a:defRPr sz="2260" kern="1200">
          <a:solidFill>
            <a:schemeClr val="tx1"/>
          </a:solidFill>
          <a:latin typeface="+mn-lt"/>
          <a:ea typeface="+mn-ea"/>
          <a:cs typeface="+mn-cs"/>
        </a:defRPr>
      </a:lvl1pPr>
      <a:lvl2pPr marL="574177" algn="l" defTabSz="1148356" rtl="0" eaLnBrk="1" latinLnBrk="0" hangingPunct="1">
        <a:defRPr sz="2260" kern="1200">
          <a:solidFill>
            <a:schemeClr val="tx1"/>
          </a:solidFill>
          <a:latin typeface="+mn-lt"/>
          <a:ea typeface="+mn-ea"/>
          <a:cs typeface="+mn-cs"/>
        </a:defRPr>
      </a:lvl2pPr>
      <a:lvl3pPr marL="1148356" algn="l" defTabSz="1148356" rtl="0" eaLnBrk="1" latinLnBrk="0" hangingPunct="1">
        <a:defRPr sz="2260" kern="1200">
          <a:solidFill>
            <a:schemeClr val="tx1"/>
          </a:solidFill>
          <a:latin typeface="+mn-lt"/>
          <a:ea typeface="+mn-ea"/>
          <a:cs typeface="+mn-cs"/>
        </a:defRPr>
      </a:lvl3pPr>
      <a:lvl4pPr marL="1722534" algn="l" defTabSz="1148356" rtl="0" eaLnBrk="1" latinLnBrk="0" hangingPunct="1">
        <a:defRPr sz="2260" kern="1200">
          <a:solidFill>
            <a:schemeClr val="tx1"/>
          </a:solidFill>
          <a:latin typeface="+mn-lt"/>
          <a:ea typeface="+mn-ea"/>
          <a:cs typeface="+mn-cs"/>
        </a:defRPr>
      </a:lvl4pPr>
      <a:lvl5pPr marL="2296714" algn="l" defTabSz="1148356" rtl="0" eaLnBrk="1" latinLnBrk="0" hangingPunct="1">
        <a:defRPr sz="2260" kern="1200">
          <a:solidFill>
            <a:schemeClr val="tx1"/>
          </a:solidFill>
          <a:latin typeface="+mn-lt"/>
          <a:ea typeface="+mn-ea"/>
          <a:cs typeface="+mn-cs"/>
        </a:defRPr>
      </a:lvl5pPr>
      <a:lvl6pPr marL="2870891" algn="l" defTabSz="1148356" rtl="0" eaLnBrk="1" latinLnBrk="0" hangingPunct="1">
        <a:defRPr sz="2260" kern="1200">
          <a:solidFill>
            <a:schemeClr val="tx1"/>
          </a:solidFill>
          <a:latin typeface="+mn-lt"/>
          <a:ea typeface="+mn-ea"/>
          <a:cs typeface="+mn-cs"/>
        </a:defRPr>
      </a:lvl6pPr>
      <a:lvl7pPr marL="3445067" algn="l" defTabSz="1148356" rtl="0" eaLnBrk="1" latinLnBrk="0" hangingPunct="1">
        <a:defRPr sz="2260" kern="1200">
          <a:solidFill>
            <a:schemeClr val="tx1"/>
          </a:solidFill>
          <a:latin typeface="+mn-lt"/>
          <a:ea typeface="+mn-ea"/>
          <a:cs typeface="+mn-cs"/>
        </a:defRPr>
      </a:lvl7pPr>
      <a:lvl8pPr marL="4019246" algn="l" defTabSz="1148356" rtl="0" eaLnBrk="1" latinLnBrk="0" hangingPunct="1">
        <a:defRPr sz="2260" kern="1200">
          <a:solidFill>
            <a:schemeClr val="tx1"/>
          </a:solidFill>
          <a:latin typeface="+mn-lt"/>
          <a:ea typeface="+mn-ea"/>
          <a:cs typeface="+mn-cs"/>
        </a:defRPr>
      </a:lvl8pPr>
      <a:lvl9pPr marL="4593423" algn="l" defTabSz="1148356" rtl="0" eaLnBrk="1" latinLnBrk="0" hangingPunct="1">
        <a:defRPr sz="22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595441082"/>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21513"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3811282428"/>
      </p:ext>
    </p:extLst>
  </p:cSld>
  <p:clrMap bg1="lt1" tx1="dk1" bg2="lt2" tx2="dk2" accent1="accent1" accent2="accent2" accent3="accent3" accent4="accent4" accent5="accent5" accent6="accent6" hlink="hlink" folHlink="folHlink"/>
  <p:sldLayoutIdLst>
    <p:sldLayoutId id="2147485579" r:id="rId1"/>
    <p:sldLayoutId id="2147485580" r:id="rId2"/>
    <p:sldLayoutId id="2147485581" r:id="rId3"/>
    <p:sldLayoutId id="2147485582" r:id="rId4"/>
    <p:sldLayoutId id="2147485583" r:id="rId5"/>
    <p:sldLayoutId id="2147485584" r:id="rId6"/>
    <p:sldLayoutId id="2147485585" r:id="rId7"/>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1444055860"/>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29705"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1776915398"/>
      </p:ext>
    </p:extLst>
  </p:cSld>
  <p:clrMap bg1="lt1" tx1="dk1" bg2="lt2" tx2="dk2" accent1="accent1" accent2="accent2" accent3="accent3" accent4="accent4" accent5="accent5" accent6="accent6" hlink="hlink" folHlink="folHlink"/>
  <p:sldLayoutIdLst>
    <p:sldLayoutId id="2147485587" r:id="rId1"/>
    <p:sldLayoutId id="2147485588" r:id="rId2"/>
    <p:sldLayoutId id="2147485589" r:id="rId3"/>
    <p:sldLayoutId id="2147485590" r:id="rId4"/>
    <p:sldLayoutId id="2147485591" r:id="rId5"/>
    <p:sldLayoutId id="2147485592" r:id="rId6"/>
    <p:sldLayoutId id="2147485593" r:id="rId7"/>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3570745945"/>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37897"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4157626404"/>
      </p:ext>
    </p:extLst>
  </p:cSld>
  <p:clrMap bg1="lt1" tx1="dk1" bg2="lt2" tx2="dk2" accent1="accent1" accent2="accent2" accent3="accent3" accent4="accent4" accent5="accent5" accent6="accent6" hlink="hlink" folHlink="folHlink"/>
  <p:sldLayoutIdLst>
    <p:sldLayoutId id="2147485625" r:id="rId1"/>
    <p:sldLayoutId id="2147485626" r:id="rId2"/>
    <p:sldLayoutId id="2147485627" r:id="rId3"/>
    <p:sldLayoutId id="2147485628" r:id="rId4"/>
    <p:sldLayoutId id="2147485629" r:id="rId5"/>
    <p:sldLayoutId id="2147485630" r:id="rId6"/>
    <p:sldLayoutId id="2147485631" r:id="rId7"/>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735944860"/>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46089"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2"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2911264162"/>
      </p:ext>
    </p:extLst>
  </p:cSld>
  <p:clrMap bg1="lt1" tx1="dk1" bg2="lt2" tx2="dk2" accent1="accent1" accent2="accent2" accent3="accent3" accent4="accent4" accent5="accent5" accent6="accent6" hlink="hlink" folHlink="folHlink"/>
  <p:sldLayoutIdLst>
    <p:sldLayoutId id="2147485653" r:id="rId1"/>
    <p:sldLayoutId id="2147485654" r:id="rId2"/>
    <p:sldLayoutId id="2147485655" r:id="rId3"/>
    <p:sldLayoutId id="2147485656" r:id="rId4"/>
    <p:sldLayoutId id="2147485657" r:id="rId5"/>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2853629013"/>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52233"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2"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1831564882"/>
      </p:ext>
    </p:extLst>
  </p:cSld>
  <p:clrMap bg1="lt1" tx1="dk1" bg2="lt2" tx2="dk2" accent1="accent1" accent2="accent2" accent3="accent3" accent4="accent4" accent5="accent5" accent6="accent6" hlink="hlink" folHlink="folHlink"/>
  <p:sldLayoutIdLst>
    <p:sldLayoutId id="2147485675" r:id="rId1"/>
    <p:sldLayoutId id="2147485676" r:id="rId2"/>
    <p:sldLayoutId id="2147485677" r:id="rId3"/>
    <p:sldLayoutId id="2147485678" r:id="rId4"/>
    <p:sldLayoutId id="2147485679" r:id="rId5"/>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58377" name="think-cell Slide" r:id="rId12" imgW="216" imgH="216" progId="TCLayout.ActiveDocument.1">
                  <p:embed/>
                </p:oleObj>
              </mc:Choice>
              <mc:Fallback>
                <p:oleObj name="think-cell Slide" r:id="rId12" imgW="216" imgH="216" progId="TCLayout.ActiveDocument.1">
                  <p:embed/>
                  <p:pic>
                    <p:nvPicPr>
                      <p:cNvPr id="4" name="Object 3" hidden="1"/>
                      <p:cNvPicPr/>
                      <p:nvPr/>
                    </p:nvPicPr>
                    <p:blipFill>
                      <a:blip r:embed="rId13"/>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11"/>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4"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4061885550"/>
      </p:ext>
    </p:extLst>
  </p:cSld>
  <p:clrMap bg1="lt1" tx1="dk1" bg2="lt2" tx2="dk2" accent1="accent1" accent2="accent2" accent3="accent3" accent4="accent4" accent5="accent5" accent6="accent6" hlink="hlink" folHlink="folHlink"/>
  <p:sldLayoutIdLst>
    <p:sldLayoutId id="2147485681" r:id="rId1"/>
    <p:sldLayoutId id="2147485682" r:id="rId2"/>
    <p:sldLayoutId id="2147485683" r:id="rId3"/>
    <p:sldLayoutId id="2147485684" r:id="rId4"/>
    <p:sldLayoutId id="2147485685" r:id="rId5"/>
    <p:sldLayoutId id="2147485686" r:id="rId6"/>
    <p:sldLayoutId id="2147485687" r:id="rId7"/>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2100813036"/>
              </p:ext>
            </p:extLst>
          </p:nvPr>
        </p:nvGraphicFramePr>
        <p:xfrm>
          <a:off x="1441" y="1442"/>
          <a:ext cx="1441" cy="1439"/>
        </p:xfrm>
        <a:graphic>
          <a:graphicData uri="http://schemas.openxmlformats.org/presentationml/2006/ole">
            <mc:AlternateContent xmlns:mc="http://schemas.openxmlformats.org/markup-compatibility/2006">
              <mc:Choice xmlns:v="urn:schemas-microsoft-com:vml" Requires="v">
                <p:oleObj spid="_x0000_s66569"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1441" y="1442"/>
                        <a:ext cx="1441"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35BBD6-19BF-40F9-86FB-45632A655647}"/>
              </a:ext>
            </a:extLst>
          </p:cNvPr>
          <p:cNvSpPr/>
          <p:nvPr userDrawn="1">
            <p:custDataLst>
              <p:tags r:id="rId9"/>
            </p:custDataLst>
          </p:nvPr>
        </p:nvSpPr>
        <p:spPr>
          <a:xfrm>
            <a:off x="0" y="0"/>
            <a:ext cx="144052"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77"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856514" y="552899"/>
            <a:ext cx="10616769" cy="671159"/>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56514" y="1425600"/>
            <a:ext cx="10616769"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Rectangle 12">
            <a:extLst>
              <a:ext uri="{FF2B5EF4-FFF2-40B4-BE49-F238E27FC236}">
                <a16:creationId xmlns:a16="http://schemas.microsoft.com/office/drawing/2014/main" id="{3A839B15-81E6-9045-B604-CB27BBC1C908}"/>
              </a:ext>
            </a:extLst>
          </p:cNvPr>
          <p:cNvSpPr/>
          <p:nvPr userDrawn="1"/>
        </p:nvSpPr>
        <p:spPr>
          <a:xfrm>
            <a:off x="856514" y="388329"/>
            <a:ext cx="1143344" cy="6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bject 3">
            <a:extLst>
              <a:ext uri="{FF2B5EF4-FFF2-40B4-BE49-F238E27FC236}">
                <a16:creationId xmlns:a16="http://schemas.microsoft.com/office/drawing/2014/main" id="{FBEC6C36-7DE3-C04D-8FC3-90CFCCD3E4A9}"/>
              </a:ext>
            </a:extLst>
          </p:cNvPr>
          <p:cNvSpPr/>
          <p:nvPr userDrawn="1"/>
        </p:nvSpPr>
        <p:spPr>
          <a:xfrm>
            <a:off x="-5104" y="15"/>
            <a:ext cx="520451" cy="6857985"/>
          </a:xfrm>
          <a:custGeom>
            <a:avLst/>
            <a:gdLst/>
            <a:ahLst/>
            <a:cxnLst/>
            <a:rect l="l" t="t" r="r" b="b"/>
            <a:pathLst>
              <a:path w="5076190" h="7560309">
                <a:moveTo>
                  <a:pt x="0" y="7559992"/>
                </a:moveTo>
                <a:lnTo>
                  <a:pt x="5075999" y="7559992"/>
                </a:lnTo>
                <a:lnTo>
                  <a:pt x="5075999" y="0"/>
                </a:lnTo>
                <a:lnTo>
                  <a:pt x="0" y="0"/>
                </a:lnTo>
                <a:lnTo>
                  <a:pt x="0" y="7559992"/>
                </a:lnTo>
                <a:close/>
              </a:path>
            </a:pathLst>
          </a:custGeom>
          <a:solidFill>
            <a:schemeClr val="tx1"/>
          </a:solidFill>
        </p:spPr>
        <p:txBody>
          <a:bodyPr wrap="square" lIns="0" tIns="0" rIns="0" bIns="0" rtlCol="0"/>
          <a:lstStyle/>
          <a:p>
            <a:pPr algn="ctr"/>
            <a:endParaRPr>
              <a:solidFill>
                <a:prstClr val="black"/>
              </a:solidFill>
              <a:latin typeface="Calibri" panose="020F0502020204030204"/>
            </a:endParaRPr>
          </a:p>
        </p:txBody>
      </p:sp>
      <p:sp>
        <p:nvSpPr>
          <p:cNvPr id="12" name="object 14">
            <a:extLst>
              <a:ext uri="{FF2B5EF4-FFF2-40B4-BE49-F238E27FC236}">
                <a16:creationId xmlns:a16="http://schemas.microsoft.com/office/drawing/2014/main" id="{3D19E29C-B81E-B848-A185-3911687868CA}"/>
              </a:ext>
            </a:extLst>
          </p:cNvPr>
          <p:cNvSpPr/>
          <p:nvPr userDrawn="1"/>
        </p:nvSpPr>
        <p:spPr>
          <a:xfrm>
            <a:off x="132964" y="361351"/>
            <a:ext cx="244313" cy="89271"/>
          </a:xfrm>
          <a:custGeom>
            <a:avLst/>
            <a:gdLst/>
            <a:ahLst/>
            <a:cxnLst/>
            <a:rect l="l" t="t" r="r" b="b"/>
            <a:pathLst>
              <a:path w="269240" h="98425">
                <a:moveTo>
                  <a:pt x="269227" y="0"/>
                </a:moveTo>
                <a:lnTo>
                  <a:pt x="0" y="98247"/>
                </a:lnTo>
                <a:lnTo>
                  <a:pt x="269227" y="50698"/>
                </a:lnTo>
                <a:lnTo>
                  <a:pt x="269227" y="0"/>
                </a:lnTo>
                <a:close/>
              </a:path>
            </a:pathLst>
          </a:custGeom>
          <a:solidFill>
            <a:srgbClr val="FFD400"/>
          </a:solidFill>
        </p:spPr>
        <p:txBody>
          <a:bodyPr wrap="square" lIns="0" tIns="0" rIns="0" bIns="0" rtlCol="0"/>
          <a:lstStyle/>
          <a:p>
            <a:pPr algn="ctr"/>
            <a:endParaRPr>
              <a:solidFill>
                <a:prstClr val="black"/>
              </a:solidFill>
              <a:latin typeface="Calibri" panose="020F0502020204030204"/>
            </a:endParaRPr>
          </a:p>
        </p:txBody>
      </p:sp>
      <p:sp>
        <p:nvSpPr>
          <p:cNvPr id="14" name="object 15">
            <a:extLst>
              <a:ext uri="{FF2B5EF4-FFF2-40B4-BE49-F238E27FC236}">
                <a16:creationId xmlns:a16="http://schemas.microsoft.com/office/drawing/2014/main" id="{5DE69E7C-24A8-2346-869B-1BCBC7E6C6C0}"/>
              </a:ext>
            </a:extLst>
          </p:cNvPr>
          <p:cNvSpPr/>
          <p:nvPr userDrawn="1"/>
        </p:nvSpPr>
        <p:spPr>
          <a:xfrm>
            <a:off x="152567" y="487510"/>
            <a:ext cx="205107" cy="123527"/>
          </a:xfrm>
          <a:prstGeom prst="rect">
            <a:avLst/>
          </a:prstGeom>
          <a:blipFill>
            <a:blip r:embed="rId12" cstate="print"/>
            <a:stretch>
              <a:fillRect/>
            </a:stretch>
          </a:blipFill>
        </p:spPr>
        <p:txBody>
          <a:bodyPr wrap="square" lIns="0" tIns="0" rIns="0" bIns="0" rtlCol="0"/>
          <a:lstStyle/>
          <a:p>
            <a:pPr algn="ctr"/>
            <a:endParaRPr>
              <a:solidFill>
                <a:prstClr val="black"/>
              </a:solidFill>
              <a:latin typeface="Calibri" panose="020F0502020204030204"/>
            </a:endParaRPr>
          </a:p>
        </p:txBody>
      </p:sp>
      <p:grpSp>
        <p:nvGrpSpPr>
          <p:cNvPr id="16" name="Group 15">
            <a:extLst>
              <a:ext uri="{FF2B5EF4-FFF2-40B4-BE49-F238E27FC236}">
                <a16:creationId xmlns:a16="http://schemas.microsoft.com/office/drawing/2014/main" id="{0726C71A-D368-B041-8BD9-4D61AA84A144}"/>
              </a:ext>
            </a:extLst>
          </p:cNvPr>
          <p:cNvGrpSpPr/>
          <p:nvPr userDrawn="1"/>
        </p:nvGrpSpPr>
        <p:grpSpPr>
          <a:xfrm>
            <a:off x="157566" y="2807707"/>
            <a:ext cx="195112" cy="195020"/>
            <a:chOff x="147828" y="2915202"/>
            <a:chExt cx="215019" cy="215019"/>
          </a:xfrm>
        </p:grpSpPr>
        <p:sp>
          <p:nvSpPr>
            <p:cNvPr id="17" name="Oval 16">
              <a:extLst>
                <a:ext uri="{FF2B5EF4-FFF2-40B4-BE49-F238E27FC236}">
                  <a16:creationId xmlns:a16="http://schemas.microsoft.com/office/drawing/2014/main" id="{0207DA1F-1F9C-294D-97C4-C0A6F616599E}"/>
                </a:ext>
              </a:extLst>
            </p:cNvPr>
            <p:cNvSpPr/>
            <p:nvPr/>
          </p:nvSpPr>
          <p:spPr>
            <a:xfrm>
              <a:off x="147828" y="2915202"/>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CECE0C06-22D8-A04F-B592-79AFD6202C26}"/>
                </a:ext>
              </a:extLst>
            </p:cNvPr>
            <p:cNvCxnSpPr/>
            <p:nvPr/>
          </p:nvCxnSpPr>
          <p:spPr>
            <a:xfrm>
              <a:off x="193425" y="3022711"/>
              <a:ext cx="123825" cy="0"/>
            </a:xfrm>
            <a:prstGeom prst="line">
              <a:avLst/>
            </a:prstGeom>
            <a:noFill/>
            <a:ln w="9525" cap="flat" cmpd="sng" algn="ctr">
              <a:solidFill>
                <a:sysClr val="window" lastClr="FFFFFF"/>
              </a:solidFill>
              <a:prstDash val="solid"/>
              <a:miter lim="800000"/>
              <a:tailEnd type="none"/>
            </a:ln>
            <a:effectLst/>
          </p:spPr>
        </p:cxnSp>
        <p:sp>
          <p:nvSpPr>
            <p:cNvPr id="19" name="Rectangle 11">
              <a:extLst>
                <a:ext uri="{FF2B5EF4-FFF2-40B4-BE49-F238E27FC236}">
                  <a16:creationId xmlns:a16="http://schemas.microsoft.com/office/drawing/2014/main" id="{7A5DEC11-2762-9548-A7CB-2D7CAD730DF7}"/>
                </a:ext>
              </a:extLst>
            </p:cNvPr>
            <p:cNvSpPr/>
            <p:nvPr/>
          </p:nvSpPr>
          <p:spPr>
            <a:xfrm rot="18900000">
              <a:off x="231586" y="2987228"/>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30844FBE-FCA0-234D-A1A0-DEEB814F56F7}"/>
              </a:ext>
            </a:extLst>
          </p:cNvPr>
          <p:cNvGrpSpPr/>
          <p:nvPr userDrawn="1"/>
        </p:nvGrpSpPr>
        <p:grpSpPr>
          <a:xfrm rot="10800000">
            <a:off x="157566" y="3217435"/>
            <a:ext cx="195112" cy="195020"/>
            <a:chOff x="5758249" y="7128479"/>
            <a:chExt cx="215019" cy="215019"/>
          </a:xfrm>
        </p:grpSpPr>
        <p:sp>
          <p:nvSpPr>
            <p:cNvPr id="21" name="Oval 20">
              <a:extLst>
                <a:ext uri="{FF2B5EF4-FFF2-40B4-BE49-F238E27FC236}">
                  <a16:creationId xmlns:a16="http://schemas.microsoft.com/office/drawing/2014/main" id="{A3BB17A6-DFE2-3F48-94A5-1488E1D6457D}"/>
                </a:ext>
              </a:extLst>
            </p:cNvPr>
            <p:cNvSpPr/>
            <p:nvPr/>
          </p:nvSpPr>
          <p:spPr>
            <a:xfrm>
              <a:off x="5758249" y="7128479"/>
              <a:ext cx="215019" cy="215019"/>
            </a:xfrm>
            <a:prstGeom prst="ellipse">
              <a:avLst/>
            </a:pr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7035876D-E7CD-8C41-8052-10A7CFE3A66B}"/>
                </a:ext>
              </a:extLst>
            </p:cNvPr>
            <p:cNvCxnSpPr/>
            <p:nvPr/>
          </p:nvCxnSpPr>
          <p:spPr>
            <a:xfrm>
              <a:off x="5803846" y="7235988"/>
              <a:ext cx="123825" cy="0"/>
            </a:xfrm>
            <a:prstGeom prst="line">
              <a:avLst/>
            </a:prstGeom>
            <a:noFill/>
            <a:ln w="9525" cap="flat" cmpd="sng" algn="ctr">
              <a:solidFill>
                <a:sysClr val="window" lastClr="FFFFFF"/>
              </a:solidFill>
              <a:prstDash val="solid"/>
              <a:miter lim="800000"/>
              <a:tailEnd type="none"/>
            </a:ln>
            <a:effectLst/>
          </p:spPr>
        </p:cxnSp>
        <p:sp>
          <p:nvSpPr>
            <p:cNvPr id="23" name="Rectangle 11">
              <a:extLst>
                <a:ext uri="{FF2B5EF4-FFF2-40B4-BE49-F238E27FC236}">
                  <a16:creationId xmlns:a16="http://schemas.microsoft.com/office/drawing/2014/main" id="{4094B3D7-0406-A540-8445-9B565193A9AC}"/>
                </a:ext>
              </a:extLst>
            </p:cNvPr>
            <p:cNvSpPr/>
            <p:nvPr/>
          </p:nvSpPr>
          <p:spPr>
            <a:xfrm rot="18900000">
              <a:off x="5842007" y="7200505"/>
              <a:ext cx="70967" cy="70967"/>
            </a:xfrm>
            <a:custGeom>
              <a:avLst/>
              <a:gdLst>
                <a:gd name="connsiteX0" fmla="*/ 0 w 149225"/>
                <a:gd name="connsiteY0" fmla="*/ 0 h 149225"/>
                <a:gd name="connsiteX1" fmla="*/ 149225 w 149225"/>
                <a:gd name="connsiteY1" fmla="*/ 0 h 149225"/>
                <a:gd name="connsiteX2" fmla="*/ 149225 w 149225"/>
                <a:gd name="connsiteY2" fmla="*/ 149225 h 149225"/>
                <a:gd name="connsiteX3" fmla="*/ 0 w 149225"/>
                <a:gd name="connsiteY3" fmla="*/ 149225 h 149225"/>
                <a:gd name="connsiteX4" fmla="*/ 0 w 149225"/>
                <a:gd name="connsiteY4" fmla="*/ 0 h 149225"/>
                <a:gd name="connsiteX0" fmla="*/ 0 w 149225"/>
                <a:gd name="connsiteY0" fmla="*/ 149225 h 149225"/>
                <a:gd name="connsiteX1" fmla="*/ 149225 w 149225"/>
                <a:gd name="connsiteY1" fmla="*/ 0 h 149225"/>
                <a:gd name="connsiteX2" fmla="*/ 149225 w 149225"/>
                <a:gd name="connsiteY2" fmla="*/ 149225 h 149225"/>
                <a:gd name="connsiteX3" fmla="*/ 0 w 149225"/>
                <a:gd name="connsiteY3" fmla="*/ 149225 h 149225"/>
                <a:gd name="connsiteX0" fmla="*/ 149225 w 240665"/>
                <a:gd name="connsiteY0" fmla="*/ 0 h 149225"/>
                <a:gd name="connsiteX1" fmla="*/ 149225 w 240665"/>
                <a:gd name="connsiteY1" fmla="*/ 149225 h 149225"/>
                <a:gd name="connsiteX2" fmla="*/ 0 w 240665"/>
                <a:gd name="connsiteY2" fmla="*/ 149225 h 149225"/>
                <a:gd name="connsiteX3" fmla="*/ 240665 w 240665"/>
                <a:gd name="connsiteY3" fmla="*/ 91440 h 149225"/>
                <a:gd name="connsiteX0" fmla="*/ 149225 w 149225"/>
                <a:gd name="connsiteY0" fmla="*/ 0 h 149225"/>
                <a:gd name="connsiteX1" fmla="*/ 149225 w 149225"/>
                <a:gd name="connsiteY1" fmla="*/ 149225 h 149225"/>
                <a:gd name="connsiteX2" fmla="*/ 0 w 149225"/>
                <a:gd name="connsiteY2" fmla="*/ 149225 h 149225"/>
              </a:gdLst>
              <a:ahLst/>
              <a:cxnLst>
                <a:cxn ang="0">
                  <a:pos x="connsiteX0" y="connsiteY0"/>
                </a:cxn>
                <a:cxn ang="0">
                  <a:pos x="connsiteX1" y="connsiteY1"/>
                </a:cxn>
                <a:cxn ang="0">
                  <a:pos x="connsiteX2" y="connsiteY2"/>
                </a:cxn>
              </a:cxnLst>
              <a:rect l="l" t="t" r="r" b="b"/>
              <a:pathLst>
                <a:path w="149225" h="149225">
                  <a:moveTo>
                    <a:pt x="149225" y="0"/>
                  </a:moveTo>
                  <a:lnTo>
                    <a:pt x="149225" y="149225"/>
                  </a:lnTo>
                  <a:lnTo>
                    <a:pt x="0" y="149225"/>
                  </a:lnTo>
                </a:path>
              </a:pathLst>
            </a:custGeom>
            <a:noFill/>
            <a:ln w="9525" cap="flat" cmpd="sng" algn="ctr">
              <a:solidFill>
                <a:sysClr val="window" lastClr="FFFFFF"/>
              </a:solidFill>
              <a:prstDash val="solid"/>
              <a:miter lim="800000"/>
            </a:ln>
            <a:effectLst/>
          </p:spPr>
          <p:txBody>
            <a:bodyPr rtlCol="0" anchor="t" anchorCtr="0"/>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088"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4" name="Action Button: Custom 23">
            <a:hlinkClick r:id="" action="ppaction://hlinkshowjump?jump=nextslide" highlightClick="1"/>
            <a:extLst>
              <a:ext uri="{FF2B5EF4-FFF2-40B4-BE49-F238E27FC236}">
                <a16:creationId xmlns:a16="http://schemas.microsoft.com/office/drawing/2014/main" id="{98B416AA-6970-204F-9803-82312AEF99A3}"/>
              </a:ext>
            </a:extLst>
          </p:cNvPr>
          <p:cNvSpPr/>
          <p:nvPr userDrawn="1"/>
        </p:nvSpPr>
        <p:spPr>
          <a:xfrm>
            <a:off x="145682" y="2807707"/>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Action Button: Custom 24">
            <a:hlinkClick r:id="" action="ppaction://hlinkshowjump?jump=previousslide" highlightClick="1"/>
            <a:extLst>
              <a:ext uri="{FF2B5EF4-FFF2-40B4-BE49-F238E27FC236}">
                <a16:creationId xmlns:a16="http://schemas.microsoft.com/office/drawing/2014/main" id="{7A387E38-D922-FA48-996E-C4EBA78D6D4A}"/>
              </a:ext>
            </a:extLst>
          </p:cNvPr>
          <p:cNvSpPr/>
          <p:nvPr userDrawn="1"/>
        </p:nvSpPr>
        <p:spPr>
          <a:xfrm>
            <a:off x="145682" y="3205556"/>
            <a:ext cx="218879" cy="218776"/>
          </a:xfrm>
          <a:prstGeom prst="actionButtonBlank">
            <a:avLst/>
          </a:prstGeom>
          <a:noFill/>
          <a:ln w="12700" cap="flat" cmpd="sng" algn="ctr">
            <a:noFill/>
            <a:prstDash val="solid"/>
            <a:miter lim="800000"/>
          </a:ln>
          <a:effectLst/>
        </p:spPr>
        <p:txBody>
          <a:bodyPr rtlCol="0" anchor="ctr"/>
          <a:lstStyle/>
          <a:p>
            <a:pPr marL="0" marR="0" lvl="0" indent="0" algn="ctr" defTabSz="829361"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TextBox 5"/>
          <p:cNvSpPr txBox="1"/>
          <p:nvPr userDrawn="1"/>
        </p:nvSpPr>
        <p:spPr>
          <a:xfrm>
            <a:off x="11154" y="6608527"/>
            <a:ext cx="487935" cy="139590"/>
          </a:xfrm>
          <a:prstGeom prst="rect">
            <a:avLst/>
          </a:prstGeom>
          <a:noFill/>
        </p:spPr>
        <p:txBody>
          <a:bodyPr wrap="square" lIns="0" tIns="0" rIns="0" bIns="0" rtlCol="0">
            <a:spAutoFit/>
          </a:bodyPr>
          <a:lstStyle/>
          <a:p>
            <a:pPr algn="ctr" fontAlgn="auto">
              <a:spcBef>
                <a:spcPts val="0"/>
              </a:spcBef>
              <a:spcAft>
                <a:spcPts val="0"/>
              </a:spcAft>
              <a:buClrTx/>
              <a:buSzTx/>
              <a:buFontTx/>
              <a:buNone/>
            </a:pPr>
            <a:fld id="{EE81E157-A1D1-4641-98C5-E5C73AF14974}" type="slidenum">
              <a:rPr lang="en-US" sz="907" b="1" smtClean="0">
                <a:solidFill>
                  <a:schemeClr val="tx2"/>
                </a:solidFill>
                <a:latin typeface="EYInterstate" panose="02000503020000020004" pitchFamily="2" charset="0"/>
              </a:rPr>
              <a:pPr algn="ctr" fontAlgn="auto">
                <a:spcBef>
                  <a:spcPts val="0"/>
                </a:spcBef>
                <a:spcAft>
                  <a:spcPts val="0"/>
                </a:spcAft>
                <a:buClrTx/>
                <a:buSzTx/>
                <a:buFontTx/>
                <a:buNone/>
              </a:pPr>
              <a:t>‹#›</a:t>
            </a:fld>
            <a:endParaRPr lang="en-US" sz="907" b="1">
              <a:solidFill>
                <a:schemeClr val="tx2"/>
              </a:solidFill>
              <a:latin typeface="EYInterstate" panose="02000503020000020004" pitchFamily="2" charset="0"/>
            </a:endParaRPr>
          </a:p>
        </p:txBody>
      </p:sp>
    </p:spTree>
    <p:extLst>
      <p:ext uri="{BB962C8B-B14F-4D97-AF65-F5344CB8AC3E}">
        <p14:creationId xmlns:p14="http://schemas.microsoft.com/office/powerpoint/2010/main" val="2315864864"/>
      </p:ext>
    </p:extLst>
  </p:cSld>
  <p:clrMap bg1="lt1" tx1="dk1" bg2="lt2" tx2="dk2" accent1="accent1" accent2="accent2" accent3="accent3" accent4="accent4" accent5="accent5" accent6="accent6" hlink="hlink" folHlink="folHlink"/>
  <p:sldLayoutIdLst>
    <p:sldLayoutId id="2147485695" r:id="rId1"/>
    <p:sldLayoutId id="2147485696" r:id="rId2"/>
    <p:sldLayoutId id="2147485697" r:id="rId3"/>
    <p:sldLayoutId id="2147485698" r:id="rId4"/>
    <p:sldLayoutId id="2147485699" r:id="rId5"/>
  </p:sldLayoutIdLst>
  <p:hf hdr="0" ftr="0" dt="0"/>
  <p:txStyles>
    <p:titleStyle>
      <a:lvl1pPr algn="l" defTabSz="1148930" rtl="0" eaLnBrk="1" latinLnBrk="0" hangingPunct="1">
        <a:lnSpc>
          <a:spcPct val="85000"/>
        </a:lnSpc>
        <a:spcBef>
          <a:spcPct val="0"/>
        </a:spcBef>
        <a:buNone/>
        <a:defRPr sz="2177" b="1" i="0" kern="1200">
          <a:solidFill>
            <a:schemeClr val="bg1"/>
          </a:solidFill>
          <a:latin typeface="EYInterstate" panose="02000503020000020004" pitchFamily="2" charset="0"/>
          <a:ea typeface="+mj-ea"/>
          <a:cs typeface="Arial" pitchFamily="34" charset="0"/>
        </a:defRPr>
      </a:lvl1pPr>
    </p:titleStyle>
    <p:bodyStyle>
      <a:lvl1pPr marL="448084" indent="-448084" algn="l" defTabSz="1148930" rtl="0" eaLnBrk="1" latinLnBrk="0" hangingPunct="1">
        <a:spcBef>
          <a:spcPct val="20000"/>
        </a:spcBef>
        <a:buClr>
          <a:schemeClr val="tx1"/>
        </a:buClr>
        <a:buSzPct val="70000"/>
        <a:buFont typeface="Arial" pitchFamily="34" charset="0"/>
        <a:buChar char="►"/>
        <a:defRPr sz="2261" b="0" i="0" kern="1200">
          <a:solidFill>
            <a:schemeClr val="bg1"/>
          </a:solidFill>
          <a:latin typeface="EYInterstate Light" panose="02000506000000020004" pitchFamily="2" charset="0"/>
          <a:ea typeface="+mn-ea"/>
          <a:cs typeface="+mn-cs"/>
        </a:defRPr>
      </a:lvl1pPr>
      <a:lvl2pPr marL="896165" indent="-448084" algn="l" defTabSz="1148930" rtl="0" eaLnBrk="1" latinLnBrk="0" hangingPunct="1">
        <a:spcBef>
          <a:spcPct val="20000"/>
        </a:spcBef>
        <a:buClr>
          <a:schemeClr val="tx1"/>
        </a:buClr>
        <a:buSzPct val="70000"/>
        <a:buFont typeface="Arial" pitchFamily="34" charset="0"/>
        <a:buChar char="►"/>
        <a:defRPr sz="1814" b="0" i="0" kern="1200">
          <a:solidFill>
            <a:schemeClr val="bg1"/>
          </a:solidFill>
          <a:latin typeface="EYInterstate Light" panose="02000506000000020004" pitchFamily="2" charset="0"/>
          <a:ea typeface="+mn-ea"/>
          <a:cs typeface="+mn-cs"/>
        </a:defRPr>
      </a:lvl2pPr>
      <a:lvl3pPr marL="1344249" indent="-448084" algn="l" defTabSz="1148930" rtl="0" eaLnBrk="1" latinLnBrk="0" hangingPunct="1">
        <a:spcBef>
          <a:spcPct val="20000"/>
        </a:spcBef>
        <a:buClr>
          <a:schemeClr val="tx1"/>
        </a:buClr>
        <a:buSzPct val="70000"/>
        <a:buFont typeface="Arial" pitchFamily="34" charset="0"/>
        <a:buChar char="►"/>
        <a:defRPr sz="1633" b="0" i="0" kern="1200">
          <a:solidFill>
            <a:schemeClr val="bg1"/>
          </a:solidFill>
          <a:latin typeface="EYInterstate Light" panose="02000506000000020004" pitchFamily="2" charset="0"/>
          <a:ea typeface="+mn-ea"/>
          <a:cs typeface="+mn-cs"/>
        </a:defRPr>
      </a:lvl3pPr>
      <a:lvl4pPr marL="1792332" indent="-448084" algn="l" defTabSz="1148930" rtl="0" eaLnBrk="1" latinLnBrk="0" hangingPunct="1">
        <a:spcBef>
          <a:spcPct val="20000"/>
        </a:spcBef>
        <a:buClr>
          <a:schemeClr val="tx1"/>
        </a:buClr>
        <a:buSzPct val="70000"/>
        <a:buFont typeface="Arial" pitchFamily="34" charset="0"/>
        <a:buChar char="►"/>
        <a:defRPr sz="1451" b="0" i="0" kern="1200">
          <a:solidFill>
            <a:schemeClr val="bg1"/>
          </a:solidFill>
          <a:latin typeface="EYInterstate Light" panose="02000506000000020004" pitchFamily="2" charset="0"/>
          <a:ea typeface="+mn-ea"/>
          <a:cs typeface="+mn-cs"/>
        </a:defRPr>
      </a:lvl4pPr>
      <a:lvl5pPr marL="2240413" indent="-448084" algn="l" defTabSz="1148930" rtl="0" eaLnBrk="1" latinLnBrk="0" hangingPunct="1">
        <a:spcBef>
          <a:spcPct val="20000"/>
        </a:spcBef>
        <a:buClr>
          <a:schemeClr val="tx1"/>
        </a:buClr>
        <a:buSzPct val="70000"/>
        <a:buFont typeface="Arial" pitchFamily="34" charset="0"/>
        <a:buChar char="►"/>
        <a:defRPr sz="1270" b="0" i="0" kern="1200">
          <a:solidFill>
            <a:schemeClr val="bg1"/>
          </a:solidFill>
          <a:latin typeface="EYInterstate Light" panose="02000506000000020004" pitchFamily="2" charset="0"/>
          <a:ea typeface="+mn-ea"/>
          <a:cs typeface="+mn-cs"/>
        </a:defRPr>
      </a:lvl5pPr>
      <a:lvl6pPr marL="3159559"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6pPr>
      <a:lvl7pPr marL="3734025"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7pPr>
      <a:lvl8pPr marL="4308491"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8pPr>
      <a:lvl9pPr marL="4882954" indent="-287233" algn="l" defTabSz="1148930" rtl="0" eaLnBrk="1" latinLnBrk="0" hangingPunct="1">
        <a:spcBef>
          <a:spcPct val="20000"/>
        </a:spcBef>
        <a:buFont typeface="Arial" pitchFamily="34" charset="0"/>
        <a:buChar char="•"/>
        <a:defRPr sz="2513" kern="1200">
          <a:solidFill>
            <a:schemeClr val="tx1"/>
          </a:solidFill>
          <a:latin typeface="+mn-lt"/>
          <a:ea typeface="+mn-ea"/>
          <a:cs typeface="+mn-cs"/>
        </a:defRPr>
      </a:lvl9pPr>
    </p:bodyStyle>
    <p:otherStyle>
      <a:defPPr>
        <a:defRPr lang="en-US"/>
      </a:defPPr>
      <a:lvl1pPr marL="0" algn="l" defTabSz="1148930" rtl="0" eaLnBrk="1" latinLnBrk="0" hangingPunct="1">
        <a:defRPr sz="2261" kern="1200">
          <a:solidFill>
            <a:schemeClr val="tx1"/>
          </a:solidFill>
          <a:latin typeface="+mn-lt"/>
          <a:ea typeface="+mn-ea"/>
          <a:cs typeface="+mn-cs"/>
        </a:defRPr>
      </a:lvl1pPr>
      <a:lvl2pPr marL="574464" algn="l" defTabSz="1148930" rtl="0" eaLnBrk="1" latinLnBrk="0" hangingPunct="1">
        <a:defRPr sz="2261" kern="1200">
          <a:solidFill>
            <a:schemeClr val="tx1"/>
          </a:solidFill>
          <a:latin typeface="+mn-lt"/>
          <a:ea typeface="+mn-ea"/>
          <a:cs typeface="+mn-cs"/>
        </a:defRPr>
      </a:lvl2pPr>
      <a:lvl3pPr marL="1148930" algn="l" defTabSz="1148930" rtl="0" eaLnBrk="1" latinLnBrk="0" hangingPunct="1">
        <a:defRPr sz="2261" kern="1200">
          <a:solidFill>
            <a:schemeClr val="tx1"/>
          </a:solidFill>
          <a:latin typeface="+mn-lt"/>
          <a:ea typeface="+mn-ea"/>
          <a:cs typeface="+mn-cs"/>
        </a:defRPr>
      </a:lvl3pPr>
      <a:lvl4pPr marL="1723396" algn="l" defTabSz="1148930" rtl="0" eaLnBrk="1" latinLnBrk="0" hangingPunct="1">
        <a:defRPr sz="2261" kern="1200">
          <a:solidFill>
            <a:schemeClr val="tx1"/>
          </a:solidFill>
          <a:latin typeface="+mn-lt"/>
          <a:ea typeface="+mn-ea"/>
          <a:cs typeface="+mn-cs"/>
        </a:defRPr>
      </a:lvl4pPr>
      <a:lvl5pPr marL="2297863" algn="l" defTabSz="1148930" rtl="0" eaLnBrk="1" latinLnBrk="0" hangingPunct="1">
        <a:defRPr sz="2261" kern="1200">
          <a:solidFill>
            <a:schemeClr val="tx1"/>
          </a:solidFill>
          <a:latin typeface="+mn-lt"/>
          <a:ea typeface="+mn-ea"/>
          <a:cs typeface="+mn-cs"/>
        </a:defRPr>
      </a:lvl5pPr>
      <a:lvl6pPr marL="2872327" algn="l" defTabSz="1148930" rtl="0" eaLnBrk="1" latinLnBrk="0" hangingPunct="1">
        <a:defRPr sz="2261" kern="1200">
          <a:solidFill>
            <a:schemeClr val="tx1"/>
          </a:solidFill>
          <a:latin typeface="+mn-lt"/>
          <a:ea typeface="+mn-ea"/>
          <a:cs typeface="+mn-cs"/>
        </a:defRPr>
      </a:lvl6pPr>
      <a:lvl7pPr marL="3446790" algn="l" defTabSz="1148930" rtl="0" eaLnBrk="1" latinLnBrk="0" hangingPunct="1">
        <a:defRPr sz="2261" kern="1200">
          <a:solidFill>
            <a:schemeClr val="tx1"/>
          </a:solidFill>
          <a:latin typeface="+mn-lt"/>
          <a:ea typeface="+mn-ea"/>
          <a:cs typeface="+mn-cs"/>
        </a:defRPr>
      </a:lvl7pPr>
      <a:lvl8pPr marL="4021257" algn="l" defTabSz="1148930" rtl="0" eaLnBrk="1" latinLnBrk="0" hangingPunct="1">
        <a:defRPr sz="2261" kern="1200">
          <a:solidFill>
            <a:schemeClr val="tx1"/>
          </a:solidFill>
          <a:latin typeface="+mn-lt"/>
          <a:ea typeface="+mn-ea"/>
          <a:cs typeface="+mn-cs"/>
        </a:defRPr>
      </a:lvl8pPr>
      <a:lvl9pPr marL="4595721" algn="l" defTabSz="1148930" rtl="0" eaLnBrk="1" latinLnBrk="0" hangingPunct="1">
        <a:defRPr sz="226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57.xml"/><Relationship Id="rId7" Type="http://schemas.openxmlformats.org/officeDocument/2006/relationships/image" Target="../media/image29.png"/><Relationship Id="rId2" Type="http://schemas.openxmlformats.org/officeDocument/2006/relationships/tags" Target="../tags/tag174.xml"/><Relationship Id="rId1" Type="http://schemas.openxmlformats.org/officeDocument/2006/relationships/vmlDrawing" Target="../drawings/vmlDrawing111.vml"/><Relationship Id="rId6" Type="http://schemas.openxmlformats.org/officeDocument/2006/relationships/image" Target="../media/image28.emf"/><Relationship Id="rId5" Type="http://schemas.openxmlformats.org/officeDocument/2006/relationships/oleObject" Target="../embeddings/oleObject10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55.png"/><Relationship Id="rId3" Type="http://schemas.openxmlformats.org/officeDocument/2006/relationships/image" Target="../media/image250.svg"/><Relationship Id="rId7" Type="http://schemas.openxmlformats.org/officeDocument/2006/relationships/image" Target="../media/image254.svg"/><Relationship Id="rId2" Type="http://schemas.openxmlformats.org/officeDocument/2006/relationships/image" Target="../media/image249.png"/><Relationship Id="rId1" Type="http://schemas.openxmlformats.org/officeDocument/2006/relationships/slideLayout" Target="../slideLayouts/slideLayout20.xml"/><Relationship Id="rId6" Type="http://schemas.openxmlformats.org/officeDocument/2006/relationships/image" Target="../media/image253.png"/><Relationship Id="rId5" Type="http://schemas.openxmlformats.org/officeDocument/2006/relationships/image" Target="../media/image252.svg"/><Relationship Id="rId4" Type="http://schemas.openxmlformats.org/officeDocument/2006/relationships/image" Target="../media/image251.png"/><Relationship Id="rId9" Type="http://schemas.openxmlformats.org/officeDocument/2006/relationships/image" Target="../media/image256.svg"/></Relationships>
</file>

<file path=ppt/slides/_rels/slide11.xml.rels><?xml version="1.0" encoding="UTF-8" standalone="yes"?>
<Relationships xmlns="http://schemas.openxmlformats.org/package/2006/relationships"><Relationship Id="rId8" Type="http://schemas.openxmlformats.org/officeDocument/2006/relationships/image" Target="../media/image262.png"/><Relationship Id="rId13" Type="http://schemas.openxmlformats.org/officeDocument/2006/relationships/chart" Target="../charts/chart4.xml"/><Relationship Id="rId18" Type="http://schemas.openxmlformats.org/officeDocument/2006/relationships/chart" Target="../charts/chart9.xml"/><Relationship Id="rId26" Type="http://schemas.openxmlformats.org/officeDocument/2006/relationships/image" Target="../media/image270.svg"/><Relationship Id="rId3" Type="http://schemas.openxmlformats.org/officeDocument/2006/relationships/image" Target="../media/image258.png"/><Relationship Id="rId21" Type="http://schemas.openxmlformats.org/officeDocument/2006/relationships/chart" Target="../charts/chart11.xml"/><Relationship Id="rId7" Type="http://schemas.openxmlformats.org/officeDocument/2006/relationships/image" Target="../media/image261.png"/><Relationship Id="rId12" Type="http://schemas.openxmlformats.org/officeDocument/2006/relationships/chart" Target="../charts/chart3.xml"/><Relationship Id="rId17" Type="http://schemas.openxmlformats.org/officeDocument/2006/relationships/chart" Target="../charts/chart8.xml"/><Relationship Id="rId25" Type="http://schemas.openxmlformats.org/officeDocument/2006/relationships/image" Target="../media/image269.png"/><Relationship Id="rId2" Type="http://schemas.openxmlformats.org/officeDocument/2006/relationships/image" Target="../media/image257.png"/><Relationship Id="rId16" Type="http://schemas.openxmlformats.org/officeDocument/2006/relationships/chart" Target="../charts/chart7.xml"/><Relationship Id="rId20" Type="http://schemas.openxmlformats.org/officeDocument/2006/relationships/image" Target="../media/image266.png"/><Relationship Id="rId29" Type="http://schemas.openxmlformats.org/officeDocument/2006/relationships/image" Target="../media/image273.png"/><Relationship Id="rId1" Type="http://schemas.openxmlformats.org/officeDocument/2006/relationships/slideLayout" Target="../slideLayouts/slideLayout20.xml"/><Relationship Id="rId6" Type="http://schemas.openxmlformats.org/officeDocument/2006/relationships/image" Target="../media/image260.png"/><Relationship Id="rId11" Type="http://schemas.openxmlformats.org/officeDocument/2006/relationships/chart" Target="../charts/chart2.xml"/><Relationship Id="rId24" Type="http://schemas.openxmlformats.org/officeDocument/2006/relationships/image" Target="../media/image268.png"/><Relationship Id="rId5" Type="http://schemas.openxmlformats.org/officeDocument/2006/relationships/image" Target="../media/image259.png"/><Relationship Id="rId15" Type="http://schemas.openxmlformats.org/officeDocument/2006/relationships/chart" Target="../charts/chart6.xml"/><Relationship Id="rId23" Type="http://schemas.openxmlformats.org/officeDocument/2006/relationships/image" Target="../media/image267.jpeg"/><Relationship Id="rId28" Type="http://schemas.openxmlformats.org/officeDocument/2006/relationships/image" Target="../media/image272.svg"/><Relationship Id="rId10" Type="http://schemas.openxmlformats.org/officeDocument/2006/relationships/image" Target="../media/image264.png"/><Relationship Id="rId19" Type="http://schemas.openxmlformats.org/officeDocument/2006/relationships/chart" Target="../charts/chart10.xml"/><Relationship Id="rId4" Type="http://schemas.openxmlformats.org/officeDocument/2006/relationships/chart" Target="../charts/chart1.xml"/><Relationship Id="rId9" Type="http://schemas.openxmlformats.org/officeDocument/2006/relationships/image" Target="../media/image263.png"/><Relationship Id="rId14" Type="http://schemas.openxmlformats.org/officeDocument/2006/relationships/chart" Target="../charts/chart5.xml"/><Relationship Id="rId22" Type="http://schemas.openxmlformats.org/officeDocument/2006/relationships/chart" Target="../charts/chart12.xml"/><Relationship Id="rId27" Type="http://schemas.openxmlformats.org/officeDocument/2006/relationships/image" Target="../media/image271.png"/><Relationship Id="rId30" Type="http://schemas.openxmlformats.org/officeDocument/2006/relationships/image" Target="../media/image274.svg"/></Relationships>
</file>

<file path=ppt/slides/_rels/slide12.xml.rels><?xml version="1.0" encoding="UTF-8" standalone="yes"?>
<Relationships xmlns="http://schemas.openxmlformats.org/package/2006/relationships"><Relationship Id="rId8" Type="http://schemas.openxmlformats.org/officeDocument/2006/relationships/image" Target="../media/image280.png"/><Relationship Id="rId13" Type="http://schemas.openxmlformats.org/officeDocument/2006/relationships/image" Target="../media/image285.png"/><Relationship Id="rId3" Type="http://schemas.openxmlformats.org/officeDocument/2006/relationships/image" Target="../media/image275.png"/><Relationship Id="rId7" Type="http://schemas.openxmlformats.org/officeDocument/2006/relationships/image" Target="../media/image279.svg"/><Relationship Id="rId12" Type="http://schemas.openxmlformats.org/officeDocument/2006/relationships/image" Target="../media/image284.png"/><Relationship Id="rId2" Type="http://schemas.openxmlformats.org/officeDocument/2006/relationships/notesSlide" Target="../notesSlides/notesSlide6.xml"/><Relationship Id="rId1" Type="http://schemas.openxmlformats.org/officeDocument/2006/relationships/slideLayout" Target="../slideLayouts/slideLayout41.xml"/><Relationship Id="rId6" Type="http://schemas.openxmlformats.org/officeDocument/2006/relationships/image" Target="../media/image278.png"/><Relationship Id="rId11" Type="http://schemas.openxmlformats.org/officeDocument/2006/relationships/image" Target="../media/image283.png"/><Relationship Id="rId5" Type="http://schemas.openxmlformats.org/officeDocument/2006/relationships/image" Target="../media/image277.svg"/><Relationship Id="rId10" Type="http://schemas.openxmlformats.org/officeDocument/2006/relationships/image" Target="../media/image282.png"/><Relationship Id="rId4" Type="http://schemas.openxmlformats.org/officeDocument/2006/relationships/image" Target="../media/image276.png"/><Relationship Id="rId9" Type="http://schemas.openxmlformats.org/officeDocument/2006/relationships/image" Target="../media/image281.svg"/></Relationships>
</file>

<file path=ppt/slides/_rels/slide13.xml.rels><?xml version="1.0" encoding="UTF-8" standalone="yes"?>
<Relationships xmlns="http://schemas.openxmlformats.org/package/2006/relationships"><Relationship Id="rId8" Type="http://schemas.openxmlformats.org/officeDocument/2006/relationships/image" Target="../media/image27.emf"/><Relationship Id="rId13" Type="http://schemas.microsoft.com/office/2007/relationships/diagramDrawing" Target="../diagrams/drawing12.xml"/><Relationship Id="rId3" Type="http://schemas.openxmlformats.org/officeDocument/2006/relationships/tags" Target="../tags/tag182.xml"/><Relationship Id="rId7" Type="http://schemas.openxmlformats.org/officeDocument/2006/relationships/oleObject" Target="../embeddings/oleObject108.bin"/><Relationship Id="rId12" Type="http://schemas.openxmlformats.org/officeDocument/2006/relationships/diagramColors" Target="../diagrams/colors12.xml"/><Relationship Id="rId2" Type="http://schemas.openxmlformats.org/officeDocument/2006/relationships/tags" Target="../tags/tag181.xml"/><Relationship Id="rId1" Type="http://schemas.openxmlformats.org/officeDocument/2006/relationships/vmlDrawing" Target="../drawings/vmlDrawing115.vml"/><Relationship Id="rId6" Type="http://schemas.openxmlformats.org/officeDocument/2006/relationships/image" Target="../media/image43.png"/><Relationship Id="rId11" Type="http://schemas.openxmlformats.org/officeDocument/2006/relationships/diagramQuickStyle" Target="../diagrams/quickStyle12.xml"/><Relationship Id="rId5" Type="http://schemas.openxmlformats.org/officeDocument/2006/relationships/notesSlide" Target="../notesSlides/notesSlide7.xml"/><Relationship Id="rId10" Type="http://schemas.openxmlformats.org/officeDocument/2006/relationships/diagramLayout" Target="../diagrams/layout12.xml"/><Relationship Id="rId4" Type="http://schemas.openxmlformats.org/officeDocument/2006/relationships/slideLayout" Target="../slideLayouts/slideLayout9.xml"/><Relationship Id="rId9" Type="http://schemas.openxmlformats.org/officeDocument/2006/relationships/diagramData" Target="../diagrams/data12.xml"/></Relationships>
</file>

<file path=ppt/slides/_rels/slide14.xml.rels><?xml version="1.0" encoding="UTF-8" standalone="yes"?>
<Relationships xmlns="http://schemas.openxmlformats.org/package/2006/relationships"><Relationship Id="rId8" Type="http://schemas.openxmlformats.org/officeDocument/2006/relationships/image" Target="../media/image27.emf"/><Relationship Id="rId13" Type="http://schemas.microsoft.com/office/2007/relationships/diagramDrawing" Target="../diagrams/drawing13.xml"/><Relationship Id="rId3" Type="http://schemas.openxmlformats.org/officeDocument/2006/relationships/tags" Target="../tags/tag184.xml"/><Relationship Id="rId7" Type="http://schemas.openxmlformats.org/officeDocument/2006/relationships/oleObject" Target="../embeddings/oleObject109.bin"/><Relationship Id="rId12" Type="http://schemas.openxmlformats.org/officeDocument/2006/relationships/diagramColors" Target="../diagrams/colors13.xml"/><Relationship Id="rId2" Type="http://schemas.openxmlformats.org/officeDocument/2006/relationships/tags" Target="../tags/tag183.xml"/><Relationship Id="rId1" Type="http://schemas.openxmlformats.org/officeDocument/2006/relationships/vmlDrawing" Target="../drawings/vmlDrawing116.vml"/><Relationship Id="rId6" Type="http://schemas.openxmlformats.org/officeDocument/2006/relationships/image" Target="../media/image43.png"/><Relationship Id="rId11" Type="http://schemas.openxmlformats.org/officeDocument/2006/relationships/diagramQuickStyle" Target="../diagrams/quickStyle13.xml"/><Relationship Id="rId5" Type="http://schemas.openxmlformats.org/officeDocument/2006/relationships/notesSlide" Target="../notesSlides/notesSlide8.xml"/><Relationship Id="rId10" Type="http://schemas.openxmlformats.org/officeDocument/2006/relationships/diagramLayout" Target="../diagrams/layout13.xml"/><Relationship Id="rId4" Type="http://schemas.openxmlformats.org/officeDocument/2006/relationships/slideLayout" Target="../slideLayouts/slideLayout9.xml"/><Relationship Id="rId9" Type="http://schemas.openxmlformats.org/officeDocument/2006/relationships/diagramData" Target="../diagrams/data13.xml"/></Relationships>
</file>

<file path=ppt/slides/_rels/slide15.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image" Target="../media/image286.png"/><Relationship Id="rId1" Type="http://schemas.openxmlformats.org/officeDocument/2006/relationships/slideLayout" Target="../slideLayouts/slideLayout34.xml"/><Relationship Id="rId5" Type="http://schemas.openxmlformats.org/officeDocument/2006/relationships/image" Target="../media/image289.png"/><Relationship Id="rId4" Type="http://schemas.openxmlformats.org/officeDocument/2006/relationships/image" Target="../media/image288.png"/></Relationships>
</file>

<file path=ppt/slides/_rels/slide16.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image" Target="../media/image290.png"/><Relationship Id="rId1" Type="http://schemas.openxmlformats.org/officeDocument/2006/relationships/slideLayout" Target="../slideLayouts/slideLayout34.xml"/><Relationship Id="rId6" Type="http://schemas.openxmlformats.org/officeDocument/2006/relationships/image" Target="../media/image294.png"/><Relationship Id="rId5" Type="http://schemas.openxmlformats.org/officeDocument/2006/relationships/image" Target="../media/image293.png"/><Relationship Id="rId4" Type="http://schemas.openxmlformats.org/officeDocument/2006/relationships/image" Target="../media/image292.png"/></Relationships>
</file>

<file path=ppt/slides/_rels/slide17.xml.rels><?xml version="1.0" encoding="UTF-8" standalone="yes"?>
<Relationships xmlns="http://schemas.openxmlformats.org/package/2006/relationships"><Relationship Id="rId8" Type="http://schemas.openxmlformats.org/officeDocument/2006/relationships/image" Target="../media/image298.png"/><Relationship Id="rId13" Type="http://schemas.openxmlformats.org/officeDocument/2006/relationships/image" Target="../media/image303.png"/><Relationship Id="rId18" Type="http://schemas.openxmlformats.org/officeDocument/2006/relationships/image" Target="../media/image308.png"/><Relationship Id="rId3" Type="http://schemas.microsoft.com/office/2007/relationships/hdphoto" Target="../media/hdphoto2.wdp"/><Relationship Id="rId21" Type="http://schemas.openxmlformats.org/officeDocument/2006/relationships/image" Target="../media/image311.png"/><Relationship Id="rId7" Type="http://schemas.microsoft.com/office/2007/relationships/hdphoto" Target="../media/hdphoto4.wdp"/><Relationship Id="rId12" Type="http://schemas.openxmlformats.org/officeDocument/2006/relationships/image" Target="../media/image302.png"/><Relationship Id="rId17" Type="http://schemas.openxmlformats.org/officeDocument/2006/relationships/image" Target="../media/image307.png"/><Relationship Id="rId25" Type="http://schemas.openxmlformats.org/officeDocument/2006/relationships/image" Target="../media/image315.png"/><Relationship Id="rId2" Type="http://schemas.openxmlformats.org/officeDocument/2006/relationships/image" Target="../media/image295.png"/><Relationship Id="rId16" Type="http://schemas.openxmlformats.org/officeDocument/2006/relationships/image" Target="../media/image306.png"/><Relationship Id="rId20" Type="http://schemas.openxmlformats.org/officeDocument/2006/relationships/image" Target="../media/image310.png"/><Relationship Id="rId1" Type="http://schemas.openxmlformats.org/officeDocument/2006/relationships/slideLayout" Target="../slideLayouts/slideLayout34.xml"/><Relationship Id="rId6" Type="http://schemas.openxmlformats.org/officeDocument/2006/relationships/image" Target="../media/image297.png"/><Relationship Id="rId11" Type="http://schemas.openxmlformats.org/officeDocument/2006/relationships/image" Target="../media/image301.png"/><Relationship Id="rId24" Type="http://schemas.openxmlformats.org/officeDocument/2006/relationships/image" Target="../media/image314.png"/><Relationship Id="rId5" Type="http://schemas.microsoft.com/office/2007/relationships/hdphoto" Target="../media/hdphoto3.wdp"/><Relationship Id="rId15" Type="http://schemas.openxmlformats.org/officeDocument/2006/relationships/image" Target="../media/image305.png"/><Relationship Id="rId23" Type="http://schemas.openxmlformats.org/officeDocument/2006/relationships/image" Target="../media/image313.png"/><Relationship Id="rId10" Type="http://schemas.openxmlformats.org/officeDocument/2006/relationships/image" Target="../media/image300.png"/><Relationship Id="rId19" Type="http://schemas.openxmlformats.org/officeDocument/2006/relationships/image" Target="../media/image309.png"/><Relationship Id="rId4" Type="http://schemas.openxmlformats.org/officeDocument/2006/relationships/image" Target="../media/image296.png"/><Relationship Id="rId9" Type="http://schemas.openxmlformats.org/officeDocument/2006/relationships/image" Target="../media/image299.png"/><Relationship Id="rId14" Type="http://schemas.openxmlformats.org/officeDocument/2006/relationships/image" Target="../media/image304.png"/><Relationship Id="rId22" Type="http://schemas.openxmlformats.org/officeDocument/2006/relationships/image" Target="../media/image312.png"/></Relationships>
</file>

<file path=ppt/slides/_rels/slide18.xml.rels><?xml version="1.0" encoding="UTF-8" standalone="yes"?>
<Relationships xmlns="http://schemas.openxmlformats.org/package/2006/relationships"><Relationship Id="rId8" Type="http://schemas.openxmlformats.org/officeDocument/2006/relationships/image" Target="../media/image316.png"/><Relationship Id="rId13" Type="http://schemas.openxmlformats.org/officeDocument/2006/relationships/image" Target="../media/image321.svg"/><Relationship Id="rId3" Type="http://schemas.openxmlformats.org/officeDocument/2006/relationships/tags" Target="../tags/tag186.xml"/><Relationship Id="rId7" Type="http://schemas.openxmlformats.org/officeDocument/2006/relationships/image" Target="../media/image12.emf"/><Relationship Id="rId12" Type="http://schemas.openxmlformats.org/officeDocument/2006/relationships/image" Target="../media/image320.png"/><Relationship Id="rId17" Type="http://schemas.openxmlformats.org/officeDocument/2006/relationships/image" Target="../media/image325.svg"/><Relationship Id="rId2" Type="http://schemas.openxmlformats.org/officeDocument/2006/relationships/tags" Target="../tags/tag185.xml"/><Relationship Id="rId16" Type="http://schemas.openxmlformats.org/officeDocument/2006/relationships/image" Target="../media/image324.png"/><Relationship Id="rId1" Type="http://schemas.openxmlformats.org/officeDocument/2006/relationships/vmlDrawing" Target="../drawings/vmlDrawing117.vml"/><Relationship Id="rId6" Type="http://schemas.openxmlformats.org/officeDocument/2006/relationships/oleObject" Target="../embeddings/oleObject110.bin"/><Relationship Id="rId11" Type="http://schemas.openxmlformats.org/officeDocument/2006/relationships/image" Target="../media/image319.svg"/><Relationship Id="rId5" Type="http://schemas.openxmlformats.org/officeDocument/2006/relationships/notesSlide" Target="../notesSlides/notesSlide9.xml"/><Relationship Id="rId15" Type="http://schemas.openxmlformats.org/officeDocument/2006/relationships/image" Target="../media/image323.svg"/><Relationship Id="rId10" Type="http://schemas.openxmlformats.org/officeDocument/2006/relationships/image" Target="../media/image318.png"/><Relationship Id="rId4" Type="http://schemas.openxmlformats.org/officeDocument/2006/relationships/slideLayout" Target="../slideLayouts/slideLayout88.xml"/><Relationship Id="rId9" Type="http://schemas.openxmlformats.org/officeDocument/2006/relationships/image" Target="../media/image317.svg"/><Relationship Id="rId14" Type="http://schemas.openxmlformats.org/officeDocument/2006/relationships/image" Target="../media/image322.png"/></Relationships>
</file>

<file path=ppt/slides/_rels/slide19.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image" Target="../media/image326.png"/><Relationship Id="rId1" Type="http://schemas.openxmlformats.org/officeDocument/2006/relationships/slideLayout" Target="../slideLayouts/slideLayout34.xml"/><Relationship Id="rId6" Type="http://schemas.openxmlformats.org/officeDocument/2006/relationships/image" Target="../media/image330.png"/><Relationship Id="rId5" Type="http://schemas.openxmlformats.org/officeDocument/2006/relationships/image" Target="../media/image329.png"/><Relationship Id="rId4" Type="http://schemas.openxmlformats.org/officeDocument/2006/relationships/image" Target="../media/image328.png"/></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microsoft.com/office/2007/relationships/hdphoto" Target="../media/hdphoto1.wdp"/><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image" Target="../media/image31.png"/><Relationship Id="rId1" Type="http://schemas.openxmlformats.org/officeDocument/2006/relationships/slideLayout" Target="../slideLayouts/slideLayout18.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sv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s>
</file>

<file path=ppt/slides/_rels/slide20.xml.rels><?xml version="1.0" encoding="UTF-8" standalone="yes"?>
<Relationships xmlns="http://schemas.openxmlformats.org/package/2006/relationships"><Relationship Id="rId8" Type="http://schemas.openxmlformats.org/officeDocument/2006/relationships/image" Target="../media/image331.png"/><Relationship Id="rId13" Type="http://schemas.openxmlformats.org/officeDocument/2006/relationships/image" Target="../media/image336.png"/><Relationship Id="rId3" Type="http://schemas.openxmlformats.org/officeDocument/2006/relationships/tags" Target="../tags/tag188.xml"/><Relationship Id="rId7" Type="http://schemas.openxmlformats.org/officeDocument/2006/relationships/image" Target="../media/image28.emf"/><Relationship Id="rId12" Type="http://schemas.openxmlformats.org/officeDocument/2006/relationships/image" Target="../media/image335.png"/><Relationship Id="rId2" Type="http://schemas.openxmlformats.org/officeDocument/2006/relationships/tags" Target="../tags/tag187.xml"/><Relationship Id="rId1" Type="http://schemas.openxmlformats.org/officeDocument/2006/relationships/vmlDrawing" Target="../drawings/vmlDrawing118.vml"/><Relationship Id="rId6" Type="http://schemas.openxmlformats.org/officeDocument/2006/relationships/oleObject" Target="../embeddings/oleObject111.bin"/><Relationship Id="rId11" Type="http://schemas.openxmlformats.org/officeDocument/2006/relationships/image" Target="../media/image334.png"/><Relationship Id="rId5" Type="http://schemas.openxmlformats.org/officeDocument/2006/relationships/notesSlide" Target="../notesSlides/notesSlide10.xml"/><Relationship Id="rId10" Type="http://schemas.openxmlformats.org/officeDocument/2006/relationships/image" Target="../media/image333.png"/><Relationship Id="rId4" Type="http://schemas.openxmlformats.org/officeDocument/2006/relationships/slideLayout" Target="../slideLayouts/slideLayout20.xml"/><Relationship Id="rId9" Type="http://schemas.openxmlformats.org/officeDocument/2006/relationships/image" Target="../media/image332.jpeg"/><Relationship Id="rId14" Type="http://schemas.openxmlformats.org/officeDocument/2006/relationships/image" Target="../media/image337.png"/></Relationships>
</file>

<file path=ppt/slides/_rels/slide21.xml.rels><?xml version="1.0" encoding="UTF-8" standalone="yes"?>
<Relationships xmlns="http://schemas.openxmlformats.org/package/2006/relationships"><Relationship Id="rId8" Type="http://schemas.openxmlformats.org/officeDocument/2006/relationships/image" Target="../media/image27.emf"/><Relationship Id="rId13" Type="http://schemas.microsoft.com/office/2007/relationships/diagramDrawing" Target="../diagrams/drawing14.xml"/><Relationship Id="rId3" Type="http://schemas.openxmlformats.org/officeDocument/2006/relationships/tags" Target="../tags/tag190.xml"/><Relationship Id="rId7" Type="http://schemas.openxmlformats.org/officeDocument/2006/relationships/oleObject" Target="../embeddings/oleObject109.bin"/><Relationship Id="rId12" Type="http://schemas.openxmlformats.org/officeDocument/2006/relationships/diagramColors" Target="../diagrams/colors14.xml"/><Relationship Id="rId2" Type="http://schemas.openxmlformats.org/officeDocument/2006/relationships/tags" Target="../tags/tag189.xml"/><Relationship Id="rId1" Type="http://schemas.openxmlformats.org/officeDocument/2006/relationships/vmlDrawing" Target="../drawings/vmlDrawing119.vml"/><Relationship Id="rId6" Type="http://schemas.openxmlformats.org/officeDocument/2006/relationships/image" Target="../media/image43.png"/><Relationship Id="rId11" Type="http://schemas.openxmlformats.org/officeDocument/2006/relationships/diagramQuickStyle" Target="../diagrams/quickStyle14.xml"/><Relationship Id="rId5" Type="http://schemas.openxmlformats.org/officeDocument/2006/relationships/notesSlide" Target="../notesSlides/notesSlide11.xml"/><Relationship Id="rId10" Type="http://schemas.openxmlformats.org/officeDocument/2006/relationships/diagramLayout" Target="../diagrams/layout14.xml"/><Relationship Id="rId4" Type="http://schemas.openxmlformats.org/officeDocument/2006/relationships/slideLayout" Target="../slideLayouts/slideLayout9.xml"/><Relationship Id="rId9" Type="http://schemas.openxmlformats.org/officeDocument/2006/relationships/diagramData" Target="../diagrams/data14.xml"/></Relationships>
</file>

<file path=ppt/slides/_rels/slide22.xml.rels><?xml version="1.0" encoding="UTF-8" standalone="yes"?>
<Relationships xmlns="http://schemas.openxmlformats.org/package/2006/relationships"><Relationship Id="rId8" Type="http://schemas.openxmlformats.org/officeDocument/2006/relationships/image" Target="../media/image344.png"/><Relationship Id="rId3" Type="http://schemas.openxmlformats.org/officeDocument/2006/relationships/image" Target="../media/image339.svg"/><Relationship Id="rId7" Type="http://schemas.openxmlformats.org/officeDocument/2006/relationships/image" Target="../media/image343.svg"/><Relationship Id="rId2" Type="http://schemas.openxmlformats.org/officeDocument/2006/relationships/image" Target="../media/image338.png"/><Relationship Id="rId1" Type="http://schemas.openxmlformats.org/officeDocument/2006/relationships/slideLayout" Target="../slideLayouts/slideLayout168.xml"/><Relationship Id="rId6" Type="http://schemas.openxmlformats.org/officeDocument/2006/relationships/image" Target="../media/image342.png"/><Relationship Id="rId11" Type="http://schemas.openxmlformats.org/officeDocument/2006/relationships/image" Target="../media/image347.svg"/><Relationship Id="rId5" Type="http://schemas.openxmlformats.org/officeDocument/2006/relationships/image" Target="../media/image341.svg"/><Relationship Id="rId10" Type="http://schemas.openxmlformats.org/officeDocument/2006/relationships/image" Target="../media/image346.png"/><Relationship Id="rId4" Type="http://schemas.openxmlformats.org/officeDocument/2006/relationships/image" Target="../media/image340.png"/><Relationship Id="rId9" Type="http://schemas.openxmlformats.org/officeDocument/2006/relationships/image" Target="../media/image345.svg"/></Relationships>
</file>

<file path=ppt/slides/_rels/slide23.xml.rels><?xml version="1.0" encoding="UTF-8" standalone="yes"?>
<Relationships xmlns="http://schemas.openxmlformats.org/package/2006/relationships"><Relationship Id="rId8" Type="http://schemas.openxmlformats.org/officeDocument/2006/relationships/image" Target="../media/image348.png"/><Relationship Id="rId13" Type="http://schemas.openxmlformats.org/officeDocument/2006/relationships/image" Target="../media/image353.svg"/><Relationship Id="rId3" Type="http://schemas.openxmlformats.org/officeDocument/2006/relationships/tags" Target="../tags/tag192.xml"/><Relationship Id="rId7" Type="http://schemas.openxmlformats.org/officeDocument/2006/relationships/image" Target="../media/image12.emf"/><Relationship Id="rId12" Type="http://schemas.openxmlformats.org/officeDocument/2006/relationships/image" Target="../media/image352.png"/><Relationship Id="rId17" Type="http://schemas.openxmlformats.org/officeDocument/2006/relationships/image" Target="../media/image357.svg"/><Relationship Id="rId2" Type="http://schemas.openxmlformats.org/officeDocument/2006/relationships/tags" Target="../tags/tag191.xml"/><Relationship Id="rId16" Type="http://schemas.openxmlformats.org/officeDocument/2006/relationships/image" Target="../media/image356.png"/><Relationship Id="rId1" Type="http://schemas.openxmlformats.org/officeDocument/2006/relationships/vmlDrawing" Target="../drawings/vmlDrawing120.vml"/><Relationship Id="rId6" Type="http://schemas.openxmlformats.org/officeDocument/2006/relationships/oleObject" Target="../embeddings/oleObject112.bin"/><Relationship Id="rId11" Type="http://schemas.openxmlformats.org/officeDocument/2006/relationships/image" Target="../media/image351.svg"/><Relationship Id="rId5" Type="http://schemas.openxmlformats.org/officeDocument/2006/relationships/notesSlide" Target="../notesSlides/notesSlide12.xml"/><Relationship Id="rId15" Type="http://schemas.openxmlformats.org/officeDocument/2006/relationships/image" Target="../media/image355.svg"/><Relationship Id="rId10" Type="http://schemas.openxmlformats.org/officeDocument/2006/relationships/image" Target="../media/image350.png"/><Relationship Id="rId4" Type="http://schemas.openxmlformats.org/officeDocument/2006/relationships/slideLayout" Target="../slideLayouts/slideLayout88.xml"/><Relationship Id="rId9" Type="http://schemas.openxmlformats.org/officeDocument/2006/relationships/image" Target="../media/image349.svg"/><Relationship Id="rId14" Type="http://schemas.openxmlformats.org/officeDocument/2006/relationships/image" Target="../media/image354.png"/></Relationships>
</file>

<file path=ppt/slides/_rels/slide24.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28.emf"/><Relationship Id="rId2" Type="http://schemas.openxmlformats.org/officeDocument/2006/relationships/tags" Target="../tags/tag193.xml"/><Relationship Id="rId1" Type="http://schemas.openxmlformats.org/officeDocument/2006/relationships/vmlDrawing" Target="../drawings/vmlDrawing121.vml"/><Relationship Id="rId6" Type="http://schemas.openxmlformats.org/officeDocument/2006/relationships/oleObject" Target="../embeddings/oleObject113.bin"/><Relationship Id="rId5" Type="http://schemas.openxmlformats.org/officeDocument/2006/relationships/notesSlide" Target="../notesSlides/notesSlide13.xml"/><Relationship Id="rId4" Type="http://schemas.openxmlformats.org/officeDocument/2006/relationships/slideLayout" Target="../slideLayouts/slideLayout69.xml"/></Relationships>
</file>

<file path=ppt/slides/_rels/slide25.xml.rels><?xml version="1.0" encoding="UTF-8" standalone="yes"?>
<Relationships xmlns="http://schemas.openxmlformats.org/package/2006/relationships"><Relationship Id="rId8" Type="http://schemas.openxmlformats.org/officeDocument/2006/relationships/image" Target="../media/image358.png"/><Relationship Id="rId13" Type="http://schemas.openxmlformats.org/officeDocument/2006/relationships/image" Target="../media/image363.png"/><Relationship Id="rId3" Type="http://schemas.openxmlformats.org/officeDocument/2006/relationships/tags" Target="../tags/tag196.xml"/><Relationship Id="rId7" Type="http://schemas.openxmlformats.org/officeDocument/2006/relationships/image" Target="../media/image28.emf"/><Relationship Id="rId12" Type="http://schemas.openxmlformats.org/officeDocument/2006/relationships/image" Target="../media/image362.png"/><Relationship Id="rId2" Type="http://schemas.openxmlformats.org/officeDocument/2006/relationships/tags" Target="../tags/tag195.xml"/><Relationship Id="rId1" Type="http://schemas.openxmlformats.org/officeDocument/2006/relationships/vmlDrawing" Target="../drawings/vmlDrawing122.vml"/><Relationship Id="rId6" Type="http://schemas.openxmlformats.org/officeDocument/2006/relationships/oleObject" Target="../embeddings/oleObject111.bin"/><Relationship Id="rId11" Type="http://schemas.openxmlformats.org/officeDocument/2006/relationships/image" Target="../media/image361.png"/><Relationship Id="rId5" Type="http://schemas.openxmlformats.org/officeDocument/2006/relationships/notesSlide" Target="../notesSlides/notesSlide14.xml"/><Relationship Id="rId10" Type="http://schemas.openxmlformats.org/officeDocument/2006/relationships/image" Target="../media/image360.png"/><Relationship Id="rId4" Type="http://schemas.openxmlformats.org/officeDocument/2006/relationships/slideLayout" Target="../slideLayouts/slideLayout20.xml"/><Relationship Id="rId9" Type="http://schemas.openxmlformats.org/officeDocument/2006/relationships/image" Target="../media/image359.png"/><Relationship Id="rId14" Type="http://schemas.openxmlformats.org/officeDocument/2006/relationships/image" Target="../media/image364.png"/></Relationships>
</file>

<file path=ppt/slides/_rels/slide26.xml.rels><?xml version="1.0" encoding="UTF-8" standalone="yes"?>
<Relationships xmlns="http://schemas.openxmlformats.org/package/2006/relationships"><Relationship Id="rId8" Type="http://schemas.openxmlformats.org/officeDocument/2006/relationships/image" Target="../media/image27.emf"/><Relationship Id="rId13" Type="http://schemas.microsoft.com/office/2007/relationships/diagramDrawing" Target="../diagrams/drawing15.xml"/><Relationship Id="rId3" Type="http://schemas.openxmlformats.org/officeDocument/2006/relationships/tags" Target="../tags/tag198.xml"/><Relationship Id="rId7" Type="http://schemas.openxmlformats.org/officeDocument/2006/relationships/oleObject" Target="../embeddings/oleObject109.bin"/><Relationship Id="rId12" Type="http://schemas.openxmlformats.org/officeDocument/2006/relationships/diagramColors" Target="../diagrams/colors15.xml"/><Relationship Id="rId2" Type="http://schemas.openxmlformats.org/officeDocument/2006/relationships/tags" Target="../tags/tag197.xml"/><Relationship Id="rId1" Type="http://schemas.openxmlformats.org/officeDocument/2006/relationships/vmlDrawing" Target="../drawings/vmlDrawing123.vml"/><Relationship Id="rId6" Type="http://schemas.openxmlformats.org/officeDocument/2006/relationships/image" Target="../media/image43.png"/><Relationship Id="rId11" Type="http://schemas.openxmlformats.org/officeDocument/2006/relationships/diagramQuickStyle" Target="../diagrams/quickStyle15.xml"/><Relationship Id="rId5" Type="http://schemas.openxmlformats.org/officeDocument/2006/relationships/notesSlide" Target="../notesSlides/notesSlide15.xml"/><Relationship Id="rId10" Type="http://schemas.openxmlformats.org/officeDocument/2006/relationships/diagramLayout" Target="../diagrams/layout15.xml"/><Relationship Id="rId4" Type="http://schemas.openxmlformats.org/officeDocument/2006/relationships/slideLayout" Target="../slideLayouts/slideLayout9.xml"/><Relationship Id="rId9" Type="http://schemas.openxmlformats.org/officeDocument/2006/relationships/diagramData" Target="../diagrams/data15.xml"/></Relationships>
</file>

<file path=ppt/slides/_rels/slide27.xml.rels><?xml version="1.0" encoding="UTF-8" standalone="yes"?>
<Relationships xmlns="http://schemas.openxmlformats.org/package/2006/relationships"><Relationship Id="rId8" Type="http://schemas.openxmlformats.org/officeDocument/2006/relationships/image" Target="../media/image371.png"/><Relationship Id="rId3" Type="http://schemas.openxmlformats.org/officeDocument/2006/relationships/image" Target="../media/image366.svg"/><Relationship Id="rId7" Type="http://schemas.openxmlformats.org/officeDocument/2006/relationships/image" Target="../media/image370.svg"/><Relationship Id="rId2" Type="http://schemas.openxmlformats.org/officeDocument/2006/relationships/image" Target="../media/image365.png"/><Relationship Id="rId1" Type="http://schemas.openxmlformats.org/officeDocument/2006/relationships/slideLayout" Target="../slideLayouts/slideLayout20.xml"/><Relationship Id="rId6" Type="http://schemas.openxmlformats.org/officeDocument/2006/relationships/image" Target="../media/image369.png"/><Relationship Id="rId5" Type="http://schemas.openxmlformats.org/officeDocument/2006/relationships/image" Target="../media/image368.svg"/><Relationship Id="rId4" Type="http://schemas.openxmlformats.org/officeDocument/2006/relationships/image" Target="../media/image367.png"/><Relationship Id="rId9" Type="http://schemas.openxmlformats.org/officeDocument/2006/relationships/image" Target="../media/image372.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8" Type="http://schemas.openxmlformats.org/officeDocument/2006/relationships/image" Target="../media/image333.png"/><Relationship Id="rId13" Type="http://schemas.openxmlformats.org/officeDocument/2006/relationships/image" Target="../media/image376.png"/><Relationship Id="rId3" Type="http://schemas.openxmlformats.org/officeDocument/2006/relationships/tags" Target="../tags/tag200.xml"/><Relationship Id="rId7" Type="http://schemas.openxmlformats.org/officeDocument/2006/relationships/image" Target="../media/image28.emf"/><Relationship Id="rId12" Type="http://schemas.openxmlformats.org/officeDocument/2006/relationships/image" Target="../media/image375.png"/><Relationship Id="rId2" Type="http://schemas.openxmlformats.org/officeDocument/2006/relationships/tags" Target="../tags/tag199.xml"/><Relationship Id="rId1" Type="http://schemas.openxmlformats.org/officeDocument/2006/relationships/vmlDrawing" Target="../drawings/vmlDrawing124.vml"/><Relationship Id="rId6" Type="http://schemas.openxmlformats.org/officeDocument/2006/relationships/oleObject" Target="../embeddings/oleObject111.bin"/><Relationship Id="rId11" Type="http://schemas.openxmlformats.org/officeDocument/2006/relationships/image" Target="../media/image374.png"/><Relationship Id="rId5" Type="http://schemas.openxmlformats.org/officeDocument/2006/relationships/notesSlide" Target="../notesSlides/notesSlide16.xml"/><Relationship Id="rId10" Type="http://schemas.openxmlformats.org/officeDocument/2006/relationships/image" Target="../media/image373.png"/><Relationship Id="rId4" Type="http://schemas.openxmlformats.org/officeDocument/2006/relationships/slideLayout" Target="../slideLayouts/slideLayout20.xml"/><Relationship Id="rId9" Type="http://schemas.openxmlformats.org/officeDocument/2006/relationships/image" Target="../media/image334.png"/></Relationships>
</file>

<file path=ppt/slides/_rels/slide3.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42.emf"/><Relationship Id="rId2" Type="http://schemas.openxmlformats.org/officeDocument/2006/relationships/tags" Target="../tags/tag175.xml"/><Relationship Id="rId1" Type="http://schemas.openxmlformats.org/officeDocument/2006/relationships/vmlDrawing" Target="../drawings/vmlDrawing112.vml"/><Relationship Id="rId6" Type="http://schemas.openxmlformats.org/officeDocument/2006/relationships/oleObject" Target="../embeddings/oleObject105.bin"/><Relationship Id="rId5" Type="http://schemas.openxmlformats.org/officeDocument/2006/relationships/notesSlide" Target="../notesSlides/notesSlide2.xml"/><Relationship Id="rId4"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8" Type="http://schemas.openxmlformats.org/officeDocument/2006/relationships/image" Target="../media/image27.emf"/><Relationship Id="rId13" Type="http://schemas.microsoft.com/office/2007/relationships/diagramDrawing" Target="../diagrams/drawing16.xml"/><Relationship Id="rId3" Type="http://schemas.openxmlformats.org/officeDocument/2006/relationships/tags" Target="../tags/tag202.xml"/><Relationship Id="rId7" Type="http://schemas.openxmlformats.org/officeDocument/2006/relationships/oleObject" Target="../embeddings/oleObject114.bin"/><Relationship Id="rId12" Type="http://schemas.openxmlformats.org/officeDocument/2006/relationships/diagramColors" Target="../diagrams/colors16.xml"/><Relationship Id="rId2" Type="http://schemas.openxmlformats.org/officeDocument/2006/relationships/tags" Target="../tags/tag201.xml"/><Relationship Id="rId1" Type="http://schemas.openxmlformats.org/officeDocument/2006/relationships/vmlDrawing" Target="../drawings/vmlDrawing125.vml"/><Relationship Id="rId6" Type="http://schemas.openxmlformats.org/officeDocument/2006/relationships/image" Target="../media/image377.png"/><Relationship Id="rId11" Type="http://schemas.openxmlformats.org/officeDocument/2006/relationships/diagramQuickStyle" Target="../diagrams/quickStyle16.xml"/><Relationship Id="rId5" Type="http://schemas.openxmlformats.org/officeDocument/2006/relationships/notesSlide" Target="../notesSlides/notesSlide17.xml"/><Relationship Id="rId10" Type="http://schemas.openxmlformats.org/officeDocument/2006/relationships/diagramLayout" Target="../diagrams/layout16.xml"/><Relationship Id="rId4" Type="http://schemas.openxmlformats.org/officeDocument/2006/relationships/slideLayout" Target="../slideLayouts/slideLayout9.xml"/><Relationship Id="rId9" Type="http://schemas.openxmlformats.org/officeDocument/2006/relationships/diagramData" Target="../diagrams/data16.xml"/></Relationships>
</file>

<file path=ppt/slides/_rels/slide31.xml.rels><?xml version="1.0" encoding="UTF-8" standalone="yes"?>
<Relationships xmlns="http://schemas.openxmlformats.org/package/2006/relationships"><Relationship Id="rId8" Type="http://schemas.openxmlformats.org/officeDocument/2006/relationships/image" Target="../media/image378.png"/><Relationship Id="rId13" Type="http://schemas.openxmlformats.org/officeDocument/2006/relationships/image" Target="../media/image383.svg"/><Relationship Id="rId3" Type="http://schemas.openxmlformats.org/officeDocument/2006/relationships/tags" Target="../tags/tag204.xml"/><Relationship Id="rId7" Type="http://schemas.openxmlformats.org/officeDocument/2006/relationships/image" Target="../media/image28.emf"/><Relationship Id="rId12" Type="http://schemas.openxmlformats.org/officeDocument/2006/relationships/image" Target="../media/image382.png"/><Relationship Id="rId2" Type="http://schemas.openxmlformats.org/officeDocument/2006/relationships/tags" Target="../tags/tag203.xml"/><Relationship Id="rId1" Type="http://schemas.openxmlformats.org/officeDocument/2006/relationships/vmlDrawing" Target="../drawings/vmlDrawing126.vml"/><Relationship Id="rId6" Type="http://schemas.openxmlformats.org/officeDocument/2006/relationships/oleObject" Target="../embeddings/oleObject115.bin"/><Relationship Id="rId11" Type="http://schemas.openxmlformats.org/officeDocument/2006/relationships/image" Target="../media/image381.svg"/><Relationship Id="rId5" Type="http://schemas.openxmlformats.org/officeDocument/2006/relationships/notesSlide" Target="../notesSlides/notesSlide18.xml"/><Relationship Id="rId15" Type="http://schemas.openxmlformats.org/officeDocument/2006/relationships/image" Target="../media/image385.svg"/><Relationship Id="rId10" Type="http://schemas.openxmlformats.org/officeDocument/2006/relationships/image" Target="../media/image380.png"/><Relationship Id="rId4" Type="http://schemas.openxmlformats.org/officeDocument/2006/relationships/slideLayout" Target="../slideLayouts/slideLayout20.xml"/><Relationship Id="rId9" Type="http://schemas.openxmlformats.org/officeDocument/2006/relationships/image" Target="../media/image379.svg"/><Relationship Id="rId14" Type="http://schemas.openxmlformats.org/officeDocument/2006/relationships/image" Target="../media/image384.png"/></Relationships>
</file>

<file path=ppt/slides/_rels/slide32.xml.rels><?xml version="1.0" encoding="UTF-8" standalone="yes"?>
<Relationships xmlns="http://schemas.openxmlformats.org/package/2006/relationships"><Relationship Id="rId8" Type="http://schemas.openxmlformats.org/officeDocument/2006/relationships/image" Target="../media/image336.png"/><Relationship Id="rId13" Type="http://schemas.openxmlformats.org/officeDocument/2006/relationships/image" Target="../media/image389.png"/><Relationship Id="rId3" Type="http://schemas.openxmlformats.org/officeDocument/2006/relationships/tags" Target="../tags/tag206.xml"/><Relationship Id="rId7" Type="http://schemas.openxmlformats.org/officeDocument/2006/relationships/image" Target="../media/image28.emf"/><Relationship Id="rId12" Type="http://schemas.openxmlformats.org/officeDocument/2006/relationships/image" Target="../media/image388.png"/><Relationship Id="rId17" Type="http://schemas.openxmlformats.org/officeDocument/2006/relationships/image" Target="../media/image393.png"/><Relationship Id="rId2" Type="http://schemas.openxmlformats.org/officeDocument/2006/relationships/tags" Target="../tags/tag205.xml"/><Relationship Id="rId16" Type="http://schemas.openxmlformats.org/officeDocument/2006/relationships/image" Target="../media/image392.png"/><Relationship Id="rId1" Type="http://schemas.openxmlformats.org/officeDocument/2006/relationships/vmlDrawing" Target="../drawings/vmlDrawing127.vml"/><Relationship Id="rId6" Type="http://schemas.openxmlformats.org/officeDocument/2006/relationships/oleObject" Target="../embeddings/oleObject116.bin"/><Relationship Id="rId11" Type="http://schemas.openxmlformats.org/officeDocument/2006/relationships/image" Target="../media/image387.png"/><Relationship Id="rId5" Type="http://schemas.openxmlformats.org/officeDocument/2006/relationships/notesSlide" Target="../notesSlides/notesSlide19.xml"/><Relationship Id="rId15" Type="http://schemas.openxmlformats.org/officeDocument/2006/relationships/image" Target="../media/image391.png"/><Relationship Id="rId10" Type="http://schemas.openxmlformats.org/officeDocument/2006/relationships/image" Target="../media/image386.png"/><Relationship Id="rId4" Type="http://schemas.openxmlformats.org/officeDocument/2006/relationships/slideLayout" Target="../slideLayouts/slideLayout20.xml"/><Relationship Id="rId9" Type="http://schemas.openxmlformats.org/officeDocument/2006/relationships/image" Target="../media/image337.png"/><Relationship Id="rId14" Type="http://schemas.openxmlformats.org/officeDocument/2006/relationships/image" Target="../media/image390.png"/></Relationships>
</file>

<file path=ppt/slides/_rels/slide33.xml.rels><?xml version="1.0" encoding="UTF-8" standalone="yes"?>
<Relationships xmlns="http://schemas.openxmlformats.org/package/2006/relationships"><Relationship Id="rId8" Type="http://schemas.openxmlformats.org/officeDocument/2006/relationships/image" Target="../media/image27.emf"/><Relationship Id="rId13" Type="http://schemas.microsoft.com/office/2007/relationships/diagramDrawing" Target="../diagrams/drawing17.xml"/><Relationship Id="rId3" Type="http://schemas.openxmlformats.org/officeDocument/2006/relationships/tags" Target="../tags/tag208.xml"/><Relationship Id="rId7" Type="http://schemas.openxmlformats.org/officeDocument/2006/relationships/oleObject" Target="../embeddings/oleObject117.bin"/><Relationship Id="rId12" Type="http://schemas.openxmlformats.org/officeDocument/2006/relationships/diagramColors" Target="../diagrams/colors17.xml"/><Relationship Id="rId2" Type="http://schemas.openxmlformats.org/officeDocument/2006/relationships/tags" Target="../tags/tag207.xml"/><Relationship Id="rId1" Type="http://schemas.openxmlformats.org/officeDocument/2006/relationships/vmlDrawing" Target="../drawings/vmlDrawing128.vml"/><Relationship Id="rId6" Type="http://schemas.openxmlformats.org/officeDocument/2006/relationships/image" Target="../media/image377.png"/><Relationship Id="rId11" Type="http://schemas.openxmlformats.org/officeDocument/2006/relationships/diagramQuickStyle" Target="../diagrams/quickStyle17.xml"/><Relationship Id="rId5" Type="http://schemas.openxmlformats.org/officeDocument/2006/relationships/notesSlide" Target="../notesSlides/notesSlide20.xml"/><Relationship Id="rId10" Type="http://schemas.openxmlformats.org/officeDocument/2006/relationships/diagramLayout" Target="../diagrams/layout17.xml"/><Relationship Id="rId4" Type="http://schemas.openxmlformats.org/officeDocument/2006/relationships/slideLayout" Target="../slideLayouts/slideLayout9.xml"/><Relationship Id="rId9" Type="http://schemas.openxmlformats.org/officeDocument/2006/relationships/diagramData" Target="../diagrams/data17.xml"/></Relationships>
</file>

<file path=ppt/slides/_rels/slide34.xml.rels><?xml version="1.0" encoding="UTF-8" standalone="yes"?>
<Relationships xmlns="http://schemas.openxmlformats.org/package/2006/relationships"><Relationship Id="rId8" Type="http://schemas.openxmlformats.org/officeDocument/2006/relationships/image" Target="../media/image400.png"/><Relationship Id="rId13" Type="http://schemas.openxmlformats.org/officeDocument/2006/relationships/image" Target="../media/image405.svg"/><Relationship Id="rId18" Type="http://schemas.openxmlformats.org/officeDocument/2006/relationships/image" Target="../media/image410.png"/><Relationship Id="rId26" Type="http://schemas.openxmlformats.org/officeDocument/2006/relationships/image" Target="../media/image418.png"/><Relationship Id="rId39" Type="http://schemas.openxmlformats.org/officeDocument/2006/relationships/image" Target="../media/image431.svg"/><Relationship Id="rId3" Type="http://schemas.openxmlformats.org/officeDocument/2006/relationships/image" Target="../media/image395.svg"/><Relationship Id="rId21" Type="http://schemas.openxmlformats.org/officeDocument/2006/relationships/image" Target="../media/image413.svg"/><Relationship Id="rId34" Type="http://schemas.openxmlformats.org/officeDocument/2006/relationships/image" Target="../media/image426.png"/><Relationship Id="rId42" Type="http://schemas.openxmlformats.org/officeDocument/2006/relationships/image" Target="../media/image434.png"/><Relationship Id="rId7" Type="http://schemas.openxmlformats.org/officeDocument/2006/relationships/image" Target="../media/image399.svg"/><Relationship Id="rId12" Type="http://schemas.openxmlformats.org/officeDocument/2006/relationships/image" Target="../media/image404.png"/><Relationship Id="rId17" Type="http://schemas.openxmlformats.org/officeDocument/2006/relationships/image" Target="../media/image409.svg"/><Relationship Id="rId25" Type="http://schemas.openxmlformats.org/officeDocument/2006/relationships/image" Target="../media/image417.svg"/><Relationship Id="rId33" Type="http://schemas.openxmlformats.org/officeDocument/2006/relationships/image" Target="../media/image425.svg"/><Relationship Id="rId38" Type="http://schemas.openxmlformats.org/officeDocument/2006/relationships/image" Target="../media/image430.png"/><Relationship Id="rId2" Type="http://schemas.openxmlformats.org/officeDocument/2006/relationships/image" Target="../media/image394.png"/><Relationship Id="rId16" Type="http://schemas.openxmlformats.org/officeDocument/2006/relationships/image" Target="../media/image408.png"/><Relationship Id="rId20" Type="http://schemas.openxmlformats.org/officeDocument/2006/relationships/image" Target="../media/image412.png"/><Relationship Id="rId29" Type="http://schemas.openxmlformats.org/officeDocument/2006/relationships/image" Target="../media/image421.svg"/><Relationship Id="rId41" Type="http://schemas.openxmlformats.org/officeDocument/2006/relationships/image" Target="../media/image433.svg"/><Relationship Id="rId1" Type="http://schemas.openxmlformats.org/officeDocument/2006/relationships/slideLayout" Target="../slideLayouts/slideLayout81.xml"/><Relationship Id="rId6" Type="http://schemas.openxmlformats.org/officeDocument/2006/relationships/image" Target="../media/image398.png"/><Relationship Id="rId11" Type="http://schemas.openxmlformats.org/officeDocument/2006/relationships/image" Target="../media/image403.svg"/><Relationship Id="rId24" Type="http://schemas.openxmlformats.org/officeDocument/2006/relationships/image" Target="../media/image416.png"/><Relationship Id="rId32" Type="http://schemas.openxmlformats.org/officeDocument/2006/relationships/image" Target="../media/image424.png"/><Relationship Id="rId37" Type="http://schemas.openxmlformats.org/officeDocument/2006/relationships/image" Target="../media/image429.svg"/><Relationship Id="rId40" Type="http://schemas.openxmlformats.org/officeDocument/2006/relationships/image" Target="../media/image432.png"/><Relationship Id="rId5" Type="http://schemas.openxmlformats.org/officeDocument/2006/relationships/image" Target="../media/image397.svg"/><Relationship Id="rId15" Type="http://schemas.openxmlformats.org/officeDocument/2006/relationships/image" Target="../media/image407.svg"/><Relationship Id="rId23" Type="http://schemas.openxmlformats.org/officeDocument/2006/relationships/image" Target="../media/image415.svg"/><Relationship Id="rId28" Type="http://schemas.openxmlformats.org/officeDocument/2006/relationships/image" Target="../media/image420.png"/><Relationship Id="rId36" Type="http://schemas.openxmlformats.org/officeDocument/2006/relationships/image" Target="../media/image428.png"/><Relationship Id="rId10" Type="http://schemas.openxmlformats.org/officeDocument/2006/relationships/image" Target="../media/image402.png"/><Relationship Id="rId19" Type="http://schemas.openxmlformats.org/officeDocument/2006/relationships/image" Target="../media/image411.svg"/><Relationship Id="rId31" Type="http://schemas.openxmlformats.org/officeDocument/2006/relationships/image" Target="../media/image423.svg"/><Relationship Id="rId4" Type="http://schemas.openxmlformats.org/officeDocument/2006/relationships/image" Target="../media/image396.png"/><Relationship Id="rId9" Type="http://schemas.openxmlformats.org/officeDocument/2006/relationships/image" Target="../media/image401.svg"/><Relationship Id="rId14" Type="http://schemas.openxmlformats.org/officeDocument/2006/relationships/image" Target="../media/image406.png"/><Relationship Id="rId22" Type="http://schemas.openxmlformats.org/officeDocument/2006/relationships/image" Target="../media/image414.png"/><Relationship Id="rId27" Type="http://schemas.openxmlformats.org/officeDocument/2006/relationships/image" Target="../media/image419.svg"/><Relationship Id="rId30" Type="http://schemas.openxmlformats.org/officeDocument/2006/relationships/image" Target="../media/image422.png"/><Relationship Id="rId35" Type="http://schemas.openxmlformats.org/officeDocument/2006/relationships/image" Target="../media/image427.svg"/><Relationship Id="rId43" Type="http://schemas.openxmlformats.org/officeDocument/2006/relationships/image" Target="../media/image435.svg"/></Relationships>
</file>

<file path=ppt/slides/_rels/slide35.xml.rels><?xml version="1.0" encoding="UTF-8" standalone="yes"?>
<Relationships xmlns="http://schemas.openxmlformats.org/package/2006/relationships"><Relationship Id="rId8" Type="http://schemas.openxmlformats.org/officeDocument/2006/relationships/image" Target="../media/image436.png"/><Relationship Id="rId13" Type="http://schemas.openxmlformats.org/officeDocument/2006/relationships/image" Target="../media/image437.png"/><Relationship Id="rId3" Type="http://schemas.openxmlformats.org/officeDocument/2006/relationships/tags" Target="../tags/tag210.xml"/><Relationship Id="rId7" Type="http://schemas.openxmlformats.org/officeDocument/2006/relationships/image" Target="../media/image28.emf"/><Relationship Id="rId12" Type="http://schemas.openxmlformats.org/officeDocument/2006/relationships/image" Target="../media/image391.png"/><Relationship Id="rId2" Type="http://schemas.openxmlformats.org/officeDocument/2006/relationships/tags" Target="../tags/tag209.xml"/><Relationship Id="rId1" Type="http://schemas.openxmlformats.org/officeDocument/2006/relationships/vmlDrawing" Target="../drawings/vmlDrawing129.vml"/><Relationship Id="rId6" Type="http://schemas.openxmlformats.org/officeDocument/2006/relationships/oleObject" Target="../embeddings/oleObject118.bin"/><Relationship Id="rId11" Type="http://schemas.openxmlformats.org/officeDocument/2006/relationships/image" Target="../media/image390.png"/><Relationship Id="rId5" Type="http://schemas.openxmlformats.org/officeDocument/2006/relationships/notesSlide" Target="../notesSlides/notesSlide21.xml"/><Relationship Id="rId15" Type="http://schemas.openxmlformats.org/officeDocument/2006/relationships/image" Target="../media/image438.png"/><Relationship Id="rId10" Type="http://schemas.openxmlformats.org/officeDocument/2006/relationships/image" Target="../media/image361.png"/><Relationship Id="rId4" Type="http://schemas.openxmlformats.org/officeDocument/2006/relationships/slideLayout" Target="../slideLayouts/slideLayout20.xml"/><Relationship Id="rId9" Type="http://schemas.openxmlformats.org/officeDocument/2006/relationships/image" Target="../media/image360.png"/><Relationship Id="rId14" Type="http://schemas.openxmlformats.org/officeDocument/2006/relationships/image" Target="../media/image392.png"/></Relationships>
</file>

<file path=ppt/slides/_rels/slide36.xml.rels><?xml version="1.0" encoding="UTF-8" standalone="yes"?>
<Relationships xmlns="http://schemas.openxmlformats.org/package/2006/relationships"><Relationship Id="rId2" Type="http://schemas.openxmlformats.org/officeDocument/2006/relationships/image" Target="../media/image439.jpeg"/><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8" Type="http://schemas.openxmlformats.org/officeDocument/2006/relationships/image" Target="../media/image445.svg"/><Relationship Id="rId13" Type="http://schemas.openxmlformats.org/officeDocument/2006/relationships/image" Target="../media/image450.png"/><Relationship Id="rId3" Type="http://schemas.openxmlformats.org/officeDocument/2006/relationships/image" Target="../media/image440.png"/><Relationship Id="rId7" Type="http://schemas.openxmlformats.org/officeDocument/2006/relationships/image" Target="../media/image444.png"/><Relationship Id="rId12" Type="http://schemas.openxmlformats.org/officeDocument/2006/relationships/image" Target="../media/image449.svg"/><Relationship Id="rId2" Type="http://schemas.openxmlformats.org/officeDocument/2006/relationships/notesSlide" Target="../notesSlides/notesSlide22.xml"/><Relationship Id="rId16" Type="http://schemas.openxmlformats.org/officeDocument/2006/relationships/image" Target="../media/image453.svg"/><Relationship Id="rId1" Type="http://schemas.openxmlformats.org/officeDocument/2006/relationships/slideLayout" Target="../slideLayouts/slideLayout130.xml"/><Relationship Id="rId6" Type="http://schemas.openxmlformats.org/officeDocument/2006/relationships/image" Target="../media/image443.svg"/><Relationship Id="rId11" Type="http://schemas.openxmlformats.org/officeDocument/2006/relationships/image" Target="../media/image448.png"/><Relationship Id="rId5" Type="http://schemas.openxmlformats.org/officeDocument/2006/relationships/image" Target="../media/image442.png"/><Relationship Id="rId15" Type="http://schemas.openxmlformats.org/officeDocument/2006/relationships/image" Target="../media/image452.png"/><Relationship Id="rId10" Type="http://schemas.openxmlformats.org/officeDocument/2006/relationships/image" Target="../media/image447.svg"/><Relationship Id="rId4" Type="http://schemas.openxmlformats.org/officeDocument/2006/relationships/image" Target="../media/image441.svg"/><Relationship Id="rId9" Type="http://schemas.openxmlformats.org/officeDocument/2006/relationships/image" Target="../media/image446.png"/><Relationship Id="rId14" Type="http://schemas.openxmlformats.org/officeDocument/2006/relationships/image" Target="../media/image451.svg"/></Relationships>
</file>

<file path=ppt/slides/_rels/slide38.xml.rels><?xml version="1.0" encoding="UTF-8" standalone="yes"?>
<Relationships xmlns="http://schemas.openxmlformats.org/package/2006/relationships"><Relationship Id="rId3" Type="http://schemas.openxmlformats.org/officeDocument/2006/relationships/image" Target="../media/image455.png"/><Relationship Id="rId2" Type="http://schemas.openxmlformats.org/officeDocument/2006/relationships/image" Target="../media/image454.png"/><Relationship Id="rId1" Type="http://schemas.openxmlformats.org/officeDocument/2006/relationships/slideLayout" Target="../slideLayouts/slideLayout20.xml"/><Relationship Id="rId6" Type="http://schemas.microsoft.com/office/2007/relationships/hdphoto" Target="../media/hdphoto5.wdp"/><Relationship Id="rId5" Type="http://schemas.openxmlformats.org/officeDocument/2006/relationships/image" Target="../media/image457.png"/><Relationship Id="rId4" Type="http://schemas.openxmlformats.org/officeDocument/2006/relationships/image" Target="../media/image456.png"/></Relationships>
</file>

<file path=ppt/slides/_rels/slide39.xml.rels><?xml version="1.0" encoding="UTF-8" standalone="yes"?>
<Relationships xmlns="http://schemas.openxmlformats.org/package/2006/relationships"><Relationship Id="rId3" Type="http://schemas.openxmlformats.org/officeDocument/2006/relationships/image" Target="../media/image459.png"/><Relationship Id="rId2" Type="http://schemas.openxmlformats.org/officeDocument/2006/relationships/image" Target="../media/image458.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8.xml"/></Relationships>
</file>

<file path=ppt/slides/_rels/slide40.xml.rels><?xml version="1.0" encoding="UTF-8" standalone="yes"?>
<Relationships xmlns="http://schemas.openxmlformats.org/package/2006/relationships"><Relationship Id="rId2" Type="http://schemas.openxmlformats.org/officeDocument/2006/relationships/image" Target="../media/image439.jpeg"/><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3" Type="http://schemas.openxmlformats.org/officeDocument/2006/relationships/image" Target="../media/image460.png"/><Relationship Id="rId2" Type="http://schemas.openxmlformats.org/officeDocument/2006/relationships/notesSlide" Target="../notesSlides/notesSlide23.xml"/><Relationship Id="rId1" Type="http://schemas.openxmlformats.org/officeDocument/2006/relationships/slideLayout" Target="../slideLayouts/slideLayout106.xml"/></Relationships>
</file>

<file path=ppt/slides/_rels/slide42.xml.rels><?xml version="1.0" encoding="UTF-8" standalone="yes"?>
<Relationships xmlns="http://schemas.openxmlformats.org/package/2006/relationships"><Relationship Id="rId8" Type="http://schemas.openxmlformats.org/officeDocument/2006/relationships/image" Target="../media/image461.png"/><Relationship Id="rId13" Type="http://schemas.openxmlformats.org/officeDocument/2006/relationships/image" Target="../media/image466.png"/><Relationship Id="rId18" Type="http://schemas.openxmlformats.org/officeDocument/2006/relationships/image" Target="../media/image471.svg"/><Relationship Id="rId3" Type="http://schemas.openxmlformats.org/officeDocument/2006/relationships/tags" Target="../tags/tag212.xml"/><Relationship Id="rId21" Type="http://schemas.openxmlformats.org/officeDocument/2006/relationships/image" Target="../media/image460.png"/><Relationship Id="rId7" Type="http://schemas.openxmlformats.org/officeDocument/2006/relationships/image" Target="../media/image28.emf"/><Relationship Id="rId12" Type="http://schemas.openxmlformats.org/officeDocument/2006/relationships/image" Target="../media/image465.svg"/><Relationship Id="rId17" Type="http://schemas.openxmlformats.org/officeDocument/2006/relationships/image" Target="../media/image470.png"/><Relationship Id="rId2" Type="http://schemas.openxmlformats.org/officeDocument/2006/relationships/tags" Target="../tags/tag211.xml"/><Relationship Id="rId16" Type="http://schemas.openxmlformats.org/officeDocument/2006/relationships/image" Target="../media/image469.svg"/><Relationship Id="rId20" Type="http://schemas.openxmlformats.org/officeDocument/2006/relationships/image" Target="../media/image473.svg"/><Relationship Id="rId1" Type="http://schemas.openxmlformats.org/officeDocument/2006/relationships/vmlDrawing" Target="../drawings/vmlDrawing130.vml"/><Relationship Id="rId6" Type="http://schemas.openxmlformats.org/officeDocument/2006/relationships/oleObject" Target="../embeddings/oleObject119.bin"/><Relationship Id="rId11" Type="http://schemas.openxmlformats.org/officeDocument/2006/relationships/image" Target="../media/image464.png"/><Relationship Id="rId5" Type="http://schemas.openxmlformats.org/officeDocument/2006/relationships/notesSlide" Target="../notesSlides/notesSlide24.xml"/><Relationship Id="rId15" Type="http://schemas.openxmlformats.org/officeDocument/2006/relationships/image" Target="../media/image468.png"/><Relationship Id="rId10" Type="http://schemas.openxmlformats.org/officeDocument/2006/relationships/image" Target="../media/image463.png"/><Relationship Id="rId19" Type="http://schemas.openxmlformats.org/officeDocument/2006/relationships/image" Target="../media/image472.png"/><Relationship Id="rId4" Type="http://schemas.openxmlformats.org/officeDocument/2006/relationships/slideLayout" Target="../slideLayouts/slideLayout118.xml"/><Relationship Id="rId9" Type="http://schemas.openxmlformats.org/officeDocument/2006/relationships/image" Target="../media/image462.svg"/><Relationship Id="rId14" Type="http://schemas.openxmlformats.org/officeDocument/2006/relationships/image" Target="../media/image467.svg"/></Relationships>
</file>

<file path=ppt/slides/_rels/slide43.xml.rels><?xml version="1.0" encoding="UTF-8" standalone="yes"?>
<Relationships xmlns="http://schemas.openxmlformats.org/package/2006/relationships"><Relationship Id="rId2" Type="http://schemas.openxmlformats.org/officeDocument/2006/relationships/image" Target="../media/image439.jpeg"/><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8" Type="http://schemas.openxmlformats.org/officeDocument/2006/relationships/image" Target="../media/image478.png"/><Relationship Id="rId13" Type="http://schemas.openxmlformats.org/officeDocument/2006/relationships/image" Target="../media/image481.png"/><Relationship Id="rId18" Type="http://schemas.microsoft.com/office/2007/relationships/hdphoto" Target="../media/hdphoto11.wdp"/><Relationship Id="rId3" Type="http://schemas.openxmlformats.org/officeDocument/2006/relationships/image" Target="../media/image474.png"/><Relationship Id="rId21" Type="http://schemas.openxmlformats.org/officeDocument/2006/relationships/image" Target="../media/image485.png"/><Relationship Id="rId7" Type="http://schemas.openxmlformats.org/officeDocument/2006/relationships/image" Target="../media/image477.png"/><Relationship Id="rId12" Type="http://schemas.openxmlformats.org/officeDocument/2006/relationships/image" Target="../media/image480.jpeg"/><Relationship Id="rId17" Type="http://schemas.openxmlformats.org/officeDocument/2006/relationships/image" Target="../media/image483.png"/><Relationship Id="rId2" Type="http://schemas.openxmlformats.org/officeDocument/2006/relationships/notesSlide" Target="../notesSlides/notesSlide25.xml"/><Relationship Id="rId16" Type="http://schemas.microsoft.com/office/2007/relationships/hdphoto" Target="../media/hdphoto10.wdp"/><Relationship Id="rId20" Type="http://schemas.microsoft.com/office/2007/relationships/hdphoto" Target="../media/hdphoto12.wdp"/><Relationship Id="rId1" Type="http://schemas.openxmlformats.org/officeDocument/2006/relationships/slideLayout" Target="../slideLayouts/slideLayout74.xml"/><Relationship Id="rId6" Type="http://schemas.openxmlformats.org/officeDocument/2006/relationships/image" Target="../media/image476.jpeg"/><Relationship Id="rId11" Type="http://schemas.microsoft.com/office/2007/relationships/hdphoto" Target="../media/hdphoto8.wdp"/><Relationship Id="rId5" Type="http://schemas.openxmlformats.org/officeDocument/2006/relationships/image" Target="../media/image475.png"/><Relationship Id="rId15" Type="http://schemas.openxmlformats.org/officeDocument/2006/relationships/image" Target="../media/image482.png"/><Relationship Id="rId10" Type="http://schemas.openxmlformats.org/officeDocument/2006/relationships/image" Target="../media/image479.png"/><Relationship Id="rId19" Type="http://schemas.openxmlformats.org/officeDocument/2006/relationships/image" Target="../media/image484.png"/><Relationship Id="rId4" Type="http://schemas.microsoft.com/office/2007/relationships/hdphoto" Target="../media/hdphoto6.wdp"/><Relationship Id="rId9" Type="http://schemas.microsoft.com/office/2007/relationships/hdphoto" Target="../media/hdphoto7.wdp"/><Relationship Id="rId14" Type="http://schemas.microsoft.com/office/2007/relationships/hdphoto" Target="../media/hdphoto9.wdp"/><Relationship Id="rId22" Type="http://schemas.microsoft.com/office/2007/relationships/hdphoto" Target="../media/hdphoto13.wdp"/></Relationships>
</file>

<file path=ppt/slides/_rels/slide45.xml.rels><?xml version="1.0" encoding="UTF-8" standalone="yes"?>
<Relationships xmlns="http://schemas.openxmlformats.org/package/2006/relationships"><Relationship Id="rId8" Type="http://schemas.openxmlformats.org/officeDocument/2006/relationships/image" Target="../media/image477.png"/><Relationship Id="rId3" Type="http://schemas.openxmlformats.org/officeDocument/2006/relationships/tags" Target="../tags/tag214.xml"/><Relationship Id="rId7" Type="http://schemas.openxmlformats.org/officeDocument/2006/relationships/image" Target="../media/image28.emf"/><Relationship Id="rId12" Type="http://schemas.microsoft.com/office/2007/relationships/hdphoto" Target="../media/hdphoto9.wdp"/><Relationship Id="rId2" Type="http://schemas.openxmlformats.org/officeDocument/2006/relationships/tags" Target="../tags/tag213.xml"/><Relationship Id="rId1" Type="http://schemas.openxmlformats.org/officeDocument/2006/relationships/vmlDrawing" Target="../drawings/vmlDrawing131.vml"/><Relationship Id="rId6" Type="http://schemas.openxmlformats.org/officeDocument/2006/relationships/oleObject" Target="../embeddings/oleObject120.bin"/><Relationship Id="rId11" Type="http://schemas.openxmlformats.org/officeDocument/2006/relationships/image" Target="../media/image481.png"/><Relationship Id="rId5" Type="http://schemas.openxmlformats.org/officeDocument/2006/relationships/notesSlide" Target="../notesSlides/notesSlide26.xml"/><Relationship Id="rId10" Type="http://schemas.microsoft.com/office/2007/relationships/hdphoto" Target="../media/hdphoto8.wdp"/><Relationship Id="rId4" Type="http://schemas.openxmlformats.org/officeDocument/2006/relationships/slideLayout" Target="../slideLayouts/slideLayout20.xml"/><Relationship Id="rId9" Type="http://schemas.openxmlformats.org/officeDocument/2006/relationships/image" Target="../media/image479.png"/></Relationships>
</file>

<file path=ppt/slides/_rels/slide46.xml.rels><?xml version="1.0" encoding="UTF-8" standalone="yes"?>
<Relationships xmlns="http://schemas.openxmlformats.org/package/2006/relationships"><Relationship Id="rId8" Type="http://schemas.openxmlformats.org/officeDocument/2006/relationships/image" Target="../media/image475.png"/><Relationship Id="rId3" Type="http://schemas.openxmlformats.org/officeDocument/2006/relationships/tags" Target="../tags/tag216.xml"/><Relationship Id="rId7" Type="http://schemas.openxmlformats.org/officeDocument/2006/relationships/image" Target="../media/image28.emf"/><Relationship Id="rId12" Type="http://schemas.openxmlformats.org/officeDocument/2006/relationships/image" Target="../media/image477.png"/><Relationship Id="rId2" Type="http://schemas.openxmlformats.org/officeDocument/2006/relationships/tags" Target="../tags/tag215.xml"/><Relationship Id="rId1" Type="http://schemas.openxmlformats.org/officeDocument/2006/relationships/vmlDrawing" Target="../drawings/vmlDrawing132.vml"/><Relationship Id="rId6" Type="http://schemas.openxmlformats.org/officeDocument/2006/relationships/oleObject" Target="../embeddings/oleObject121.bin"/><Relationship Id="rId11" Type="http://schemas.microsoft.com/office/2007/relationships/hdphoto" Target="../media/hdphoto6.wdp"/><Relationship Id="rId5" Type="http://schemas.openxmlformats.org/officeDocument/2006/relationships/notesSlide" Target="../notesSlides/notesSlide27.xml"/><Relationship Id="rId10" Type="http://schemas.openxmlformats.org/officeDocument/2006/relationships/image" Target="../media/image474.png"/><Relationship Id="rId4" Type="http://schemas.openxmlformats.org/officeDocument/2006/relationships/slideLayout" Target="../slideLayouts/slideLayout20.xml"/><Relationship Id="rId9" Type="http://schemas.openxmlformats.org/officeDocument/2006/relationships/image" Target="../media/image486.jpeg"/></Relationships>
</file>

<file path=ppt/slides/_rels/slide47.xml.rels><?xml version="1.0" encoding="UTF-8" standalone="yes"?>
<Relationships xmlns="http://schemas.openxmlformats.org/package/2006/relationships"><Relationship Id="rId8" Type="http://schemas.openxmlformats.org/officeDocument/2006/relationships/image" Target="../media/image478.png"/><Relationship Id="rId13" Type="http://schemas.microsoft.com/office/2007/relationships/hdphoto" Target="../media/hdphoto10.wdp"/><Relationship Id="rId3" Type="http://schemas.openxmlformats.org/officeDocument/2006/relationships/tags" Target="../tags/tag218.xml"/><Relationship Id="rId7" Type="http://schemas.openxmlformats.org/officeDocument/2006/relationships/image" Target="../media/image28.emf"/><Relationship Id="rId12" Type="http://schemas.openxmlformats.org/officeDocument/2006/relationships/image" Target="../media/image482.png"/><Relationship Id="rId2" Type="http://schemas.openxmlformats.org/officeDocument/2006/relationships/tags" Target="../tags/tag217.xml"/><Relationship Id="rId1" Type="http://schemas.openxmlformats.org/officeDocument/2006/relationships/vmlDrawing" Target="../drawings/vmlDrawing133.vml"/><Relationship Id="rId6" Type="http://schemas.openxmlformats.org/officeDocument/2006/relationships/oleObject" Target="../embeddings/oleObject122.bin"/><Relationship Id="rId11" Type="http://schemas.openxmlformats.org/officeDocument/2006/relationships/image" Target="../media/image477.png"/><Relationship Id="rId5" Type="http://schemas.openxmlformats.org/officeDocument/2006/relationships/notesSlide" Target="../notesSlides/notesSlide28.xml"/><Relationship Id="rId10" Type="http://schemas.openxmlformats.org/officeDocument/2006/relationships/image" Target="../media/image480.jpeg"/><Relationship Id="rId4" Type="http://schemas.openxmlformats.org/officeDocument/2006/relationships/slideLayout" Target="../slideLayouts/slideLayout20.xml"/><Relationship Id="rId9" Type="http://schemas.microsoft.com/office/2007/relationships/hdphoto" Target="../media/hdphoto7.wdp"/></Relationships>
</file>

<file path=ppt/slides/_rels/slide48.xml.rels><?xml version="1.0" encoding="UTF-8" standalone="yes"?>
<Relationships xmlns="http://schemas.openxmlformats.org/package/2006/relationships"><Relationship Id="rId8" Type="http://schemas.openxmlformats.org/officeDocument/2006/relationships/image" Target="../media/image483.png"/><Relationship Id="rId13" Type="http://schemas.openxmlformats.org/officeDocument/2006/relationships/image" Target="../media/image484.png"/><Relationship Id="rId3" Type="http://schemas.openxmlformats.org/officeDocument/2006/relationships/tags" Target="../tags/tag220.xml"/><Relationship Id="rId7" Type="http://schemas.openxmlformats.org/officeDocument/2006/relationships/image" Target="../media/image28.emf"/><Relationship Id="rId12" Type="http://schemas.microsoft.com/office/2007/relationships/hdphoto" Target="../media/hdphoto13.wdp"/><Relationship Id="rId2" Type="http://schemas.openxmlformats.org/officeDocument/2006/relationships/tags" Target="../tags/tag219.xml"/><Relationship Id="rId1" Type="http://schemas.openxmlformats.org/officeDocument/2006/relationships/vmlDrawing" Target="../drawings/vmlDrawing134.vml"/><Relationship Id="rId6" Type="http://schemas.openxmlformats.org/officeDocument/2006/relationships/oleObject" Target="../embeddings/oleObject123.bin"/><Relationship Id="rId11" Type="http://schemas.openxmlformats.org/officeDocument/2006/relationships/image" Target="../media/image485.png"/><Relationship Id="rId5" Type="http://schemas.openxmlformats.org/officeDocument/2006/relationships/notesSlide" Target="../notesSlides/notesSlide29.xml"/><Relationship Id="rId10" Type="http://schemas.openxmlformats.org/officeDocument/2006/relationships/image" Target="../media/image477.png"/><Relationship Id="rId4" Type="http://schemas.openxmlformats.org/officeDocument/2006/relationships/slideLayout" Target="../slideLayouts/slideLayout20.xml"/><Relationship Id="rId9" Type="http://schemas.microsoft.com/office/2007/relationships/hdphoto" Target="../media/hdphoto11.wdp"/><Relationship Id="rId14" Type="http://schemas.microsoft.com/office/2007/relationships/hdphoto" Target="../media/hdphoto12.wdp"/></Relationships>
</file>

<file path=ppt/slides/_rels/slide49.xml.rels><?xml version="1.0" encoding="UTF-8" standalone="yes"?>
<Relationships xmlns="http://schemas.openxmlformats.org/package/2006/relationships"><Relationship Id="rId2" Type="http://schemas.openxmlformats.org/officeDocument/2006/relationships/image" Target="../media/image439.jpe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tags" Target="../tags/tag178.xml"/><Relationship Id="rId7" Type="http://schemas.openxmlformats.org/officeDocument/2006/relationships/image" Target="../media/image28.emf"/><Relationship Id="rId12" Type="http://schemas.openxmlformats.org/officeDocument/2006/relationships/image" Target="../media/image48.png"/><Relationship Id="rId2" Type="http://schemas.openxmlformats.org/officeDocument/2006/relationships/tags" Target="../tags/tag177.xml"/><Relationship Id="rId16" Type="http://schemas.openxmlformats.org/officeDocument/2006/relationships/image" Target="../media/image52.png"/><Relationship Id="rId1" Type="http://schemas.openxmlformats.org/officeDocument/2006/relationships/vmlDrawing" Target="../drawings/vmlDrawing113.vml"/><Relationship Id="rId6" Type="http://schemas.openxmlformats.org/officeDocument/2006/relationships/oleObject" Target="../embeddings/oleObject106.bin"/><Relationship Id="rId11" Type="http://schemas.openxmlformats.org/officeDocument/2006/relationships/image" Target="../media/image47.png"/><Relationship Id="rId5" Type="http://schemas.openxmlformats.org/officeDocument/2006/relationships/notesSlide" Target="../notesSlides/notesSlide3.xml"/><Relationship Id="rId15" Type="http://schemas.openxmlformats.org/officeDocument/2006/relationships/image" Target="../media/image51.png"/><Relationship Id="rId10" Type="http://schemas.openxmlformats.org/officeDocument/2006/relationships/image" Target="../media/image46.svg"/><Relationship Id="rId4" Type="http://schemas.openxmlformats.org/officeDocument/2006/relationships/slideLayout" Target="../slideLayouts/slideLayout20.xml"/><Relationship Id="rId9" Type="http://schemas.openxmlformats.org/officeDocument/2006/relationships/image" Target="../media/image45.png"/><Relationship Id="rId14" Type="http://schemas.openxmlformats.org/officeDocument/2006/relationships/image" Target="../media/image50.png"/></Relationships>
</file>

<file path=ppt/slides/_rels/slide50.xml.rels><?xml version="1.0" encoding="UTF-8" standalone="yes"?>
<Relationships xmlns="http://schemas.openxmlformats.org/package/2006/relationships"><Relationship Id="rId8" Type="http://schemas.openxmlformats.org/officeDocument/2006/relationships/image" Target="../media/image487.png"/><Relationship Id="rId3" Type="http://schemas.openxmlformats.org/officeDocument/2006/relationships/tags" Target="../tags/tag222.xml"/><Relationship Id="rId7" Type="http://schemas.openxmlformats.org/officeDocument/2006/relationships/image" Target="../media/image28.emf"/><Relationship Id="rId2" Type="http://schemas.openxmlformats.org/officeDocument/2006/relationships/tags" Target="../tags/tag221.xml"/><Relationship Id="rId1" Type="http://schemas.openxmlformats.org/officeDocument/2006/relationships/vmlDrawing" Target="../drawings/vmlDrawing135.vml"/><Relationship Id="rId6" Type="http://schemas.openxmlformats.org/officeDocument/2006/relationships/oleObject" Target="../embeddings/oleObject124.bin"/><Relationship Id="rId5" Type="http://schemas.openxmlformats.org/officeDocument/2006/relationships/notesSlide" Target="../notesSlides/notesSlide30.xml"/><Relationship Id="rId4" Type="http://schemas.openxmlformats.org/officeDocument/2006/relationships/slideLayout" Target="../slideLayouts/slideLayout46.xml"/><Relationship Id="rId9" Type="http://schemas.openxmlformats.org/officeDocument/2006/relationships/image" Target="../media/image488.png"/></Relationships>
</file>

<file path=ppt/slides/_rels/slide51.xml.rels><?xml version="1.0" encoding="UTF-8" standalone="yes"?>
<Relationships xmlns="http://schemas.openxmlformats.org/package/2006/relationships"><Relationship Id="rId8" Type="http://schemas.openxmlformats.org/officeDocument/2006/relationships/image" Target="../media/image489.png"/><Relationship Id="rId3" Type="http://schemas.openxmlformats.org/officeDocument/2006/relationships/tags" Target="../tags/tag224.xml"/><Relationship Id="rId7" Type="http://schemas.openxmlformats.org/officeDocument/2006/relationships/image" Target="../media/image28.emf"/><Relationship Id="rId2" Type="http://schemas.openxmlformats.org/officeDocument/2006/relationships/tags" Target="../tags/tag223.xml"/><Relationship Id="rId1" Type="http://schemas.openxmlformats.org/officeDocument/2006/relationships/vmlDrawing" Target="../drawings/vmlDrawing136.vml"/><Relationship Id="rId6" Type="http://schemas.openxmlformats.org/officeDocument/2006/relationships/oleObject" Target="../embeddings/oleObject125.bin"/><Relationship Id="rId5" Type="http://schemas.openxmlformats.org/officeDocument/2006/relationships/notesSlide" Target="../notesSlides/notesSlide31.xml"/><Relationship Id="rId4" Type="http://schemas.openxmlformats.org/officeDocument/2006/relationships/slideLayout" Target="../slideLayouts/slideLayout175.xml"/><Relationship Id="rId9" Type="http://schemas.openxmlformats.org/officeDocument/2006/relationships/image" Target="../media/image490.png"/></Relationships>
</file>

<file path=ppt/slides/_rels/slide52.xml.rels><?xml version="1.0" encoding="UTF-8" standalone="yes"?>
<Relationships xmlns="http://schemas.openxmlformats.org/package/2006/relationships"><Relationship Id="rId8" Type="http://schemas.openxmlformats.org/officeDocument/2006/relationships/image" Target="../media/image491.png"/><Relationship Id="rId3" Type="http://schemas.openxmlformats.org/officeDocument/2006/relationships/tags" Target="../tags/tag226.xml"/><Relationship Id="rId7" Type="http://schemas.openxmlformats.org/officeDocument/2006/relationships/image" Target="../media/image28.emf"/><Relationship Id="rId2" Type="http://schemas.openxmlformats.org/officeDocument/2006/relationships/tags" Target="../tags/tag225.xml"/><Relationship Id="rId1" Type="http://schemas.openxmlformats.org/officeDocument/2006/relationships/vmlDrawing" Target="../drawings/vmlDrawing137.vml"/><Relationship Id="rId6" Type="http://schemas.openxmlformats.org/officeDocument/2006/relationships/oleObject" Target="../embeddings/oleObject126.bin"/><Relationship Id="rId5" Type="http://schemas.openxmlformats.org/officeDocument/2006/relationships/notesSlide" Target="../notesSlides/notesSlide32.xml"/><Relationship Id="rId10" Type="http://schemas.openxmlformats.org/officeDocument/2006/relationships/image" Target="../media/image493.png"/><Relationship Id="rId4" Type="http://schemas.openxmlformats.org/officeDocument/2006/relationships/slideLayout" Target="../slideLayouts/slideLayout46.xml"/><Relationship Id="rId9" Type="http://schemas.openxmlformats.org/officeDocument/2006/relationships/image" Target="../media/image492.png"/></Relationships>
</file>

<file path=ppt/slides/_rels/slide53.xml.rels><?xml version="1.0" encoding="UTF-8" standalone="yes"?>
<Relationships xmlns="http://schemas.openxmlformats.org/package/2006/relationships"><Relationship Id="rId8" Type="http://schemas.openxmlformats.org/officeDocument/2006/relationships/image" Target="../media/image494.png"/><Relationship Id="rId3" Type="http://schemas.openxmlformats.org/officeDocument/2006/relationships/tags" Target="../tags/tag228.xml"/><Relationship Id="rId7" Type="http://schemas.openxmlformats.org/officeDocument/2006/relationships/image" Target="../media/image28.emf"/><Relationship Id="rId2" Type="http://schemas.openxmlformats.org/officeDocument/2006/relationships/tags" Target="../tags/tag227.xml"/><Relationship Id="rId1" Type="http://schemas.openxmlformats.org/officeDocument/2006/relationships/vmlDrawing" Target="../drawings/vmlDrawing138.vml"/><Relationship Id="rId6" Type="http://schemas.openxmlformats.org/officeDocument/2006/relationships/oleObject" Target="../embeddings/oleObject127.bin"/><Relationship Id="rId5" Type="http://schemas.openxmlformats.org/officeDocument/2006/relationships/notesSlide" Target="../notesSlides/notesSlide33.xml"/><Relationship Id="rId10" Type="http://schemas.openxmlformats.org/officeDocument/2006/relationships/image" Target="../media/image496.png"/><Relationship Id="rId4" Type="http://schemas.openxmlformats.org/officeDocument/2006/relationships/slideLayout" Target="../slideLayouts/slideLayout46.xml"/><Relationship Id="rId9" Type="http://schemas.openxmlformats.org/officeDocument/2006/relationships/image" Target="../media/image495.png"/></Relationships>
</file>

<file path=ppt/slides/_rels/slide54.xml.rels><?xml version="1.0" encoding="UTF-8" standalone="yes"?>
<Relationships xmlns="http://schemas.openxmlformats.org/package/2006/relationships"><Relationship Id="rId8" Type="http://schemas.openxmlformats.org/officeDocument/2006/relationships/image" Target="../media/image497.png"/><Relationship Id="rId3" Type="http://schemas.openxmlformats.org/officeDocument/2006/relationships/tags" Target="../tags/tag230.xml"/><Relationship Id="rId7" Type="http://schemas.openxmlformats.org/officeDocument/2006/relationships/image" Target="../media/image28.emf"/><Relationship Id="rId2" Type="http://schemas.openxmlformats.org/officeDocument/2006/relationships/tags" Target="../tags/tag229.xml"/><Relationship Id="rId1" Type="http://schemas.openxmlformats.org/officeDocument/2006/relationships/vmlDrawing" Target="../drawings/vmlDrawing139.vml"/><Relationship Id="rId6" Type="http://schemas.openxmlformats.org/officeDocument/2006/relationships/oleObject" Target="../embeddings/oleObject128.bin"/><Relationship Id="rId5" Type="http://schemas.openxmlformats.org/officeDocument/2006/relationships/notesSlide" Target="../notesSlides/notesSlide34.xml"/><Relationship Id="rId10" Type="http://schemas.openxmlformats.org/officeDocument/2006/relationships/image" Target="../media/image499.png"/><Relationship Id="rId4" Type="http://schemas.openxmlformats.org/officeDocument/2006/relationships/slideLayout" Target="../slideLayouts/slideLayout51.xml"/><Relationship Id="rId9" Type="http://schemas.openxmlformats.org/officeDocument/2006/relationships/image" Target="../media/image498.png"/></Relationships>
</file>

<file path=ppt/slides/_rels/slide55.xml.rels><?xml version="1.0" encoding="UTF-8" standalone="yes"?>
<Relationships xmlns="http://schemas.openxmlformats.org/package/2006/relationships"><Relationship Id="rId8" Type="http://schemas.openxmlformats.org/officeDocument/2006/relationships/image" Target="../media/image500.png"/><Relationship Id="rId3" Type="http://schemas.openxmlformats.org/officeDocument/2006/relationships/tags" Target="../tags/tag232.xml"/><Relationship Id="rId7" Type="http://schemas.openxmlformats.org/officeDocument/2006/relationships/image" Target="../media/image28.emf"/><Relationship Id="rId2" Type="http://schemas.openxmlformats.org/officeDocument/2006/relationships/tags" Target="../tags/tag231.xml"/><Relationship Id="rId1" Type="http://schemas.openxmlformats.org/officeDocument/2006/relationships/vmlDrawing" Target="../drawings/vmlDrawing140.vml"/><Relationship Id="rId6" Type="http://schemas.openxmlformats.org/officeDocument/2006/relationships/oleObject" Target="../embeddings/oleObject129.bin"/><Relationship Id="rId5" Type="http://schemas.openxmlformats.org/officeDocument/2006/relationships/notesSlide" Target="../notesSlides/notesSlide35.xml"/><Relationship Id="rId10" Type="http://schemas.openxmlformats.org/officeDocument/2006/relationships/image" Target="../media/image502.jpeg"/><Relationship Id="rId4" Type="http://schemas.openxmlformats.org/officeDocument/2006/relationships/slideLayout" Target="../slideLayouts/slideLayout101.xml"/><Relationship Id="rId9" Type="http://schemas.openxmlformats.org/officeDocument/2006/relationships/image" Target="../media/image501.png"/></Relationships>
</file>

<file path=ppt/slides/_rels/slide56.xml.rels><?xml version="1.0" encoding="UTF-8" standalone="yes"?>
<Relationships xmlns="http://schemas.openxmlformats.org/package/2006/relationships"><Relationship Id="rId8" Type="http://schemas.openxmlformats.org/officeDocument/2006/relationships/image" Target="../media/image503.emf"/><Relationship Id="rId3" Type="http://schemas.openxmlformats.org/officeDocument/2006/relationships/tags" Target="../tags/tag234.xml"/><Relationship Id="rId7" Type="http://schemas.openxmlformats.org/officeDocument/2006/relationships/image" Target="../media/image28.emf"/><Relationship Id="rId2" Type="http://schemas.openxmlformats.org/officeDocument/2006/relationships/tags" Target="../tags/tag233.xml"/><Relationship Id="rId1" Type="http://schemas.openxmlformats.org/officeDocument/2006/relationships/vmlDrawing" Target="../drawings/vmlDrawing141.vml"/><Relationship Id="rId6" Type="http://schemas.openxmlformats.org/officeDocument/2006/relationships/oleObject" Target="../embeddings/oleObject130.bin"/><Relationship Id="rId5" Type="http://schemas.openxmlformats.org/officeDocument/2006/relationships/notesSlide" Target="../notesSlides/notesSlide36.xml"/><Relationship Id="rId10" Type="http://schemas.openxmlformats.org/officeDocument/2006/relationships/image" Target="../media/image505.png"/><Relationship Id="rId4" Type="http://schemas.openxmlformats.org/officeDocument/2006/relationships/slideLayout" Target="../slideLayouts/slideLayout101.xml"/><Relationship Id="rId9" Type="http://schemas.openxmlformats.org/officeDocument/2006/relationships/image" Target="../media/image504.png"/></Relationships>
</file>

<file path=ppt/slides/_rels/slide57.xml.rels><?xml version="1.0" encoding="UTF-8" standalone="yes"?>
<Relationships xmlns="http://schemas.openxmlformats.org/package/2006/relationships"><Relationship Id="rId8" Type="http://schemas.openxmlformats.org/officeDocument/2006/relationships/image" Target="../media/image506.png"/><Relationship Id="rId3" Type="http://schemas.openxmlformats.org/officeDocument/2006/relationships/tags" Target="../tags/tag236.xml"/><Relationship Id="rId7" Type="http://schemas.openxmlformats.org/officeDocument/2006/relationships/image" Target="../media/image28.emf"/><Relationship Id="rId2" Type="http://schemas.openxmlformats.org/officeDocument/2006/relationships/tags" Target="../tags/tag235.xml"/><Relationship Id="rId1" Type="http://schemas.openxmlformats.org/officeDocument/2006/relationships/vmlDrawing" Target="../drawings/vmlDrawing142.vml"/><Relationship Id="rId6" Type="http://schemas.openxmlformats.org/officeDocument/2006/relationships/oleObject" Target="../embeddings/oleObject131.bin"/><Relationship Id="rId5" Type="http://schemas.openxmlformats.org/officeDocument/2006/relationships/notesSlide" Target="../notesSlides/notesSlide37.xml"/><Relationship Id="rId10" Type="http://schemas.openxmlformats.org/officeDocument/2006/relationships/image" Target="../media/image508.tiff"/><Relationship Id="rId4" Type="http://schemas.openxmlformats.org/officeDocument/2006/relationships/slideLayout" Target="../slideLayouts/slideLayout101.xml"/><Relationship Id="rId9" Type="http://schemas.openxmlformats.org/officeDocument/2006/relationships/image" Target="../media/image507.png"/></Relationships>
</file>

<file path=ppt/slides/_rels/slide58.xml.rels><?xml version="1.0" encoding="UTF-8" standalone="yes"?>
<Relationships xmlns="http://schemas.openxmlformats.org/package/2006/relationships"><Relationship Id="rId8" Type="http://schemas.openxmlformats.org/officeDocument/2006/relationships/image" Target="../media/image509.png"/><Relationship Id="rId3" Type="http://schemas.openxmlformats.org/officeDocument/2006/relationships/tags" Target="../tags/tag238.xml"/><Relationship Id="rId7" Type="http://schemas.openxmlformats.org/officeDocument/2006/relationships/image" Target="../media/image28.emf"/><Relationship Id="rId12" Type="http://schemas.openxmlformats.org/officeDocument/2006/relationships/image" Target="file:////C:/2a43c541674e50a677fb45f57bff3b79" TargetMode="External"/><Relationship Id="rId2" Type="http://schemas.openxmlformats.org/officeDocument/2006/relationships/tags" Target="../tags/tag237.xml"/><Relationship Id="rId1" Type="http://schemas.openxmlformats.org/officeDocument/2006/relationships/vmlDrawing" Target="../drawings/vmlDrawing143.vml"/><Relationship Id="rId6" Type="http://schemas.openxmlformats.org/officeDocument/2006/relationships/oleObject" Target="../embeddings/oleObject132.bin"/><Relationship Id="rId11" Type="http://schemas.openxmlformats.org/officeDocument/2006/relationships/image" Target="../media/image511.jpeg"/><Relationship Id="rId5" Type="http://schemas.openxmlformats.org/officeDocument/2006/relationships/notesSlide" Target="../notesSlides/notesSlide38.xml"/><Relationship Id="rId10" Type="http://schemas.openxmlformats.org/officeDocument/2006/relationships/image" Target="file:////C:/1f3962e4f80b79299da4bd4a8dbd3d66" TargetMode="External"/><Relationship Id="rId4" Type="http://schemas.openxmlformats.org/officeDocument/2006/relationships/slideLayout" Target="../slideLayouts/slideLayout101.xml"/><Relationship Id="rId9" Type="http://schemas.openxmlformats.org/officeDocument/2006/relationships/image" Target="../media/image510.jpeg"/></Relationships>
</file>

<file path=ppt/slides/_rels/slide59.xml.rels><?xml version="1.0" encoding="UTF-8" standalone="yes"?>
<Relationships xmlns="http://schemas.openxmlformats.org/package/2006/relationships"><Relationship Id="rId8" Type="http://schemas.openxmlformats.org/officeDocument/2006/relationships/image" Target="../media/image512.png"/><Relationship Id="rId3" Type="http://schemas.openxmlformats.org/officeDocument/2006/relationships/tags" Target="../tags/tag240.xml"/><Relationship Id="rId7" Type="http://schemas.openxmlformats.org/officeDocument/2006/relationships/image" Target="../media/image28.emf"/><Relationship Id="rId2" Type="http://schemas.openxmlformats.org/officeDocument/2006/relationships/tags" Target="../tags/tag239.xml"/><Relationship Id="rId1" Type="http://schemas.openxmlformats.org/officeDocument/2006/relationships/vmlDrawing" Target="../drawings/vmlDrawing144.vml"/><Relationship Id="rId6" Type="http://schemas.openxmlformats.org/officeDocument/2006/relationships/oleObject" Target="../embeddings/oleObject133.bin"/><Relationship Id="rId11" Type="http://schemas.openxmlformats.org/officeDocument/2006/relationships/image" Target="../media/image514.tiff"/><Relationship Id="rId5" Type="http://schemas.openxmlformats.org/officeDocument/2006/relationships/notesSlide" Target="../notesSlides/notesSlide39.xml"/><Relationship Id="rId10" Type="http://schemas.openxmlformats.org/officeDocument/2006/relationships/image" Target="file:////C:/6a2e3fbbc155aa32fab9a4d411b8c0e8" TargetMode="External"/><Relationship Id="rId4" Type="http://schemas.openxmlformats.org/officeDocument/2006/relationships/slideLayout" Target="../slideLayouts/slideLayout101.xml"/><Relationship Id="rId9" Type="http://schemas.openxmlformats.org/officeDocument/2006/relationships/image" Target="../media/image513.png"/></Relationships>
</file>

<file path=ppt/slides/_rels/slide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8.xml"/></Relationships>
</file>

<file path=ppt/slides/_rels/slide60.xml.rels><?xml version="1.0" encoding="UTF-8" standalone="yes"?>
<Relationships xmlns="http://schemas.openxmlformats.org/package/2006/relationships"><Relationship Id="rId8" Type="http://schemas.openxmlformats.org/officeDocument/2006/relationships/image" Target="../media/image515.jpeg"/><Relationship Id="rId3" Type="http://schemas.openxmlformats.org/officeDocument/2006/relationships/tags" Target="../tags/tag242.xml"/><Relationship Id="rId7" Type="http://schemas.openxmlformats.org/officeDocument/2006/relationships/image" Target="../media/image28.emf"/><Relationship Id="rId2" Type="http://schemas.openxmlformats.org/officeDocument/2006/relationships/tags" Target="../tags/tag241.xml"/><Relationship Id="rId1" Type="http://schemas.openxmlformats.org/officeDocument/2006/relationships/vmlDrawing" Target="../drawings/vmlDrawing145.vml"/><Relationship Id="rId6" Type="http://schemas.openxmlformats.org/officeDocument/2006/relationships/oleObject" Target="../embeddings/oleObject134.bin"/><Relationship Id="rId5" Type="http://schemas.openxmlformats.org/officeDocument/2006/relationships/notesSlide" Target="../notesSlides/notesSlide40.xml"/><Relationship Id="rId4" Type="http://schemas.openxmlformats.org/officeDocument/2006/relationships/slideLayout" Target="../slideLayouts/slideLayout101.xml"/></Relationships>
</file>

<file path=ppt/slides/_rels/slide61.xml.rels><?xml version="1.0" encoding="UTF-8" standalone="yes"?>
<Relationships xmlns="http://schemas.openxmlformats.org/package/2006/relationships"><Relationship Id="rId8" Type="http://schemas.openxmlformats.org/officeDocument/2006/relationships/image" Target="../media/image516.png"/><Relationship Id="rId3" Type="http://schemas.openxmlformats.org/officeDocument/2006/relationships/tags" Target="../tags/tag244.xml"/><Relationship Id="rId7" Type="http://schemas.openxmlformats.org/officeDocument/2006/relationships/image" Target="../media/image28.emf"/><Relationship Id="rId2" Type="http://schemas.openxmlformats.org/officeDocument/2006/relationships/tags" Target="../tags/tag243.xml"/><Relationship Id="rId1" Type="http://schemas.openxmlformats.org/officeDocument/2006/relationships/vmlDrawing" Target="../drawings/vmlDrawing146.vml"/><Relationship Id="rId6" Type="http://schemas.openxmlformats.org/officeDocument/2006/relationships/oleObject" Target="../embeddings/oleObject135.bin"/><Relationship Id="rId5" Type="http://schemas.openxmlformats.org/officeDocument/2006/relationships/notesSlide" Target="../notesSlides/notesSlide41.xml"/><Relationship Id="rId10" Type="http://schemas.openxmlformats.org/officeDocument/2006/relationships/image" Target="../media/image518.png"/><Relationship Id="rId4" Type="http://schemas.openxmlformats.org/officeDocument/2006/relationships/slideLayout" Target="../slideLayouts/slideLayout101.xml"/><Relationship Id="rId9" Type="http://schemas.openxmlformats.org/officeDocument/2006/relationships/image" Target="../media/image517.png"/></Relationships>
</file>

<file path=ppt/slides/_rels/slide62.xml.rels><?xml version="1.0" encoding="UTF-8" standalone="yes"?>
<Relationships xmlns="http://schemas.openxmlformats.org/package/2006/relationships"><Relationship Id="rId8" Type="http://schemas.openxmlformats.org/officeDocument/2006/relationships/image" Target="../media/image519.png"/><Relationship Id="rId3" Type="http://schemas.openxmlformats.org/officeDocument/2006/relationships/tags" Target="../tags/tag246.xml"/><Relationship Id="rId7" Type="http://schemas.openxmlformats.org/officeDocument/2006/relationships/image" Target="../media/image28.emf"/><Relationship Id="rId12" Type="http://schemas.openxmlformats.org/officeDocument/2006/relationships/image" Target="../media/image523.jpeg"/><Relationship Id="rId2" Type="http://schemas.openxmlformats.org/officeDocument/2006/relationships/tags" Target="../tags/tag245.xml"/><Relationship Id="rId1" Type="http://schemas.openxmlformats.org/officeDocument/2006/relationships/vmlDrawing" Target="../drawings/vmlDrawing147.vml"/><Relationship Id="rId6" Type="http://schemas.openxmlformats.org/officeDocument/2006/relationships/oleObject" Target="../embeddings/oleObject136.bin"/><Relationship Id="rId11" Type="http://schemas.openxmlformats.org/officeDocument/2006/relationships/image" Target="../media/image522.jpeg"/><Relationship Id="rId5" Type="http://schemas.openxmlformats.org/officeDocument/2006/relationships/notesSlide" Target="../notesSlides/notesSlide42.xml"/><Relationship Id="rId10" Type="http://schemas.openxmlformats.org/officeDocument/2006/relationships/image" Target="../media/image521.jpeg"/><Relationship Id="rId4" Type="http://schemas.openxmlformats.org/officeDocument/2006/relationships/slideLayout" Target="../slideLayouts/slideLayout101.xml"/><Relationship Id="rId9" Type="http://schemas.openxmlformats.org/officeDocument/2006/relationships/image" Target="../media/image520.jpeg"/></Relationships>
</file>

<file path=ppt/slides/_rels/slide63.xml.rels><?xml version="1.0" encoding="UTF-8" standalone="yes"?>
<Relationships xmlns="http://schemas.openxmlformats.org/package/2006/relationships"><Relationship Id="rId8" Type="http://schemas.openxmlformats.org/officeDocument/2006/relationships/image" Target="../media/image524.png"/><Relationship Id="rId3" Type="http://schemas.openxmlformats.org/officeDocument/2006/relationships/tags" Target="../tags/tag248.xml"/><Relationship Id="rId7" Type="http://schemas.openxmlformats.org/officeDocument/2006/relationships/image" Target="../media/image28.emf"/><Relationship Id="rId12" Type="http://schemas.openxmlformats.org/officeDocument/2006/relationships/image" Target="../media/image528.png"/><Relationship Id="rId2" Type="http://schemas.openxmlformats.org/officeDocument/2006/relationships/tags" Target="../tags/tag247.xml"/><Relationship Id="rId1" Type="http://schemas.openxmlformats.org/officeDocument/2006/relationships/vmlDrawing" Target="../drawings/vmlDrawing148.vml"/><Relationship Id="rId6" Type="http://schemas.openxmlformats.org/officeDocument/2006/relationships/oleObject" Target="../embeddings/oleObject137.bin"/><Relationship Id="rId11" Type="http://schemas.openxmlformats.org/officeDocument/2006/relationships/image" Target="../media/image527.png"/><Relationship Id="rId5" Type="http://schemas.openxmlformats.org/officeDocument/2006/relationships/notesSlide" Target="../notesSlides/notesSlide43.xml"/><Relationship Id="rId10" Type="http://schemas.openxmlformats.org/officeDocument/2006/relationships/image" Target="../media/image526.png"/><Relationship Id="rId4" Type="http://schemas.openxmlformats.org/officeDocument/2006/relationships/slideLayout" Target="../slideLayouts/slideLayout101.xml"/><Relationship Id="rId9" Type="http://schemas.openxmlformats.org/officeDocument/2006/relationships/image" Target="../media/image525.png"/></Relationships>
</file>

<file path=ppt/slides/_rels/slide64.xml.rels><?xml version="1.0" encoding="UTF-8" standalone="yes"?>
<Relationships xmlns="http://schemas.openxmlformats.org/package/2006/relationships"><Relationship Id="rId2" Type="http://schemas.openxmlformats.org/officeDocument/2006/relationships/image" Target="../media/image439.jpeg"/><Relationship Id="rId1" Type="http://schemas.openxmlformats.org/officeDocument/2006/relationships/slideLayout" Target="../slideLayouts/slideLayout2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80.xml"/></Relationships>
</file>

<file path=ppt/slides/_rels/slide8.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sv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diagramData" Target="../diagrams/data10.xml"/><Relationship Id="rId21" Type="http://schemas.openxmlformats.org/officeDocument/2006/relationships/image" Target="../media/image67.svg"/><Relationship Id="rId7" Type="http://schemas.microsoft.com/office/2007/relationships/diagramDrawing" Target="../diagrams/drawing10.xml"/><Relationship Id="rId12" Type="http://schemas.openxmlformats.org/officeDocument/2006/relationships/image" Target="../media/image58.png"/><Relationship Id="rId17" Type="http://schemas.openxmlformats.org/officeDocument/2006/relationships/image" Target="../media/image63.svg"/><Relationship Id="rId25" Type="http://schemas.openxmlformats.org/officeDocument/2006/relationships/image" Target="../media/image71.svg"/><Relationship Id="rId2" Type="http://schemas.openxmlformats.org/officeDocument/2006/relationships/notesSlide" Target="../notesSlides/notesSlide4.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diagramLayout" Target="../diagrams/layout11.xml"/><Relationship Id="rId1" Type="http://schemas.openxmlformats.org/officeDocument/2006/relationships/slideLayout" Target="../slideLayouts/slideLayout163.xml"/><Relationship Id="rId6" Type="http://schemas.openxmlformats.org/officeDocument/2006/relationships/diagramColors" Target="../diagrams/colors10.xml"/><Relationship Id="rId11" Type="http://schemas.openxmlformats.org/officeDocument/2006/relationships/image" Target="../media/image57.svg"/><Relationship Id="rId24" Type="http://schemas.openxmlformats.org/officeDocument/2006/relationships/image" Target="../media/image70.png"/><Relationship Id="rId32" Type="http://schemas.microsoft.com/office/2007/relationships/diagramDrawing" Target="../diagrams/drawing11.xml"/><Relationship Id="rId5" Type="http://schemas.openxmlformats.org/officeDocument/2006/relationships/diagramQuickStyle" Target="../diagrams/quickStyle10.xml"/><Relationship Id="rId15" Type="http://schemas.openxmlformats.org/officeDocument/2006/relationships/image" Target="../media/image61.svg"/><Relationship Id="rId23" Type="http://schemas.openxmlformats.org/officeDocument/2006/relationships/image" Target="../media/image69.svg"/><Relationship Id="rId28" Type="http://schemas.openxmlformats.org/officeDocument/2006/relationships/diagramData" Target="../diagrams/data11.xml"/><Relationship Id="rId10" Type="http://schemas.openxmlformats.org/officeDocument/2006/relationships/image" Target="../media/image56.png"/><Relationship Id="rId19" Type="http://schemas.openxmlformats.org/officeDocument/2006/relationships/image" Target="../media/image65.svg"/><Relationship Id="rId31" Type="http://schemas.openxmlformats.org/officeDocument/2006/relationships/diagramColors" Target="../diagrams/colors11.xml"/><Relationship Id="rId4" Type="http://schemas.openxmlformats.org/officeDocument/2006/relationships/diagramLayout" Target="../diagrams/layout10.xml"/><Relationship Id="rId9" Type="http://schemas.openxmlformats.org/officeDocument/2006/relationships/image" Target="../media/image55.sv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29.png"/><Relationship Id="rId30" Type="http://schemas.openxmlformats.org/officeDocument/2006/relationships/diagramQuickStyle" Target="../diagrams/quickStyle11.xml"/></Relationships>
</file>

<file path=ppt/slides/_rels/slide9.xml.rels><?xml version="1.0" encoding="UTF-8" standalone="yes"?>
<Relationships xmlns="http://schemas.openxmlformats.org/package/2006/relationships"><Relationship Id="rId26" Type="http://schemas.openxmlformats.org/officeDocument/2006/relationships/image" Target="../media/image91.png"/><Relationship Id="rId117" Type="http://schemas.openxmlformats.org/officeDocument/2006/relationships/image" Target="../media/image182.png"/><Relationship Id="rId21" Type="http://schemas.openxmlformats.org/officeDocument/2006/relationships/image" Target="../media/image86.png"/><Relationship Id="rId42" Type="http://schemas.openxmlformats.org/officeDocument/2006/relationships/image" Target="../media/image107.png"/><Relationship Id="rId47" Type="http://schemas.openxmlformats.org/officeDocument/2006/relationships/image" Target="../media/image112.png"/><Relationship Id="rId63" Type="http://schemas.openxmlformats.org/officeDocument/2006/relationships/image" Target="../media/image128.png"/><Relationship Id="rId68" Type="http://schemas.openxmlformats.org/officeDocument/2006/relationships/image" Target="../media/image133.png"/><Relationship Id="rId84" Type="http://schemas.openxmlformats.org/officeDocument/2006/relationships/image" Target="../media/image149.png"/><Relationship Id="rId89" Type="http://schemas.openxmlformats.org/officeDocument/2006/relationships/image" Target="../media/image154.png"/><Relationship Id="rId112" Type="http://schemas.openxmlformats.org/officeDocument/2006/relationships/image" Target="../media/image177.png"/><Relationship Id="rId133" Type="http://schemas.openxmlformats.org/officeDocument/2006/relationships/image" Target="../media/image198.png"/><Relationship Id="rId138" Type="http://schemas.openxmlformats.org/officeDocument/2006/relationships/image" Target="../media/image203.png"/><Relationship Id="rId154" Type="http://schemas.openxmlformats.org/officeDocument/2006/relationships/image" Target="../media/image219.png"/><Relationship Id="rId159" Type="http://schemas.openxmlformats.org/officeDocument/2006/relationships/image" Target="../media/image224.png"/><Relationship Id="rId175" Type="http://schemas.openxmlformats.org/officeDocument/2006/relationships/image" Target="../media/image240.png"/><Relationship Id="rId170" Type="http://schemas.openxmlformats.org/officeDocument/2006/relationships/image" Target="../media/image235.png"/><Relationship Id="rId16" Type="http://schemas.openxmlformats.org/officeDocument/2006/relationships/image" Target="../media/image81.png"/><Relationship Id="rId107" Type="http://schemas.openxmlformats.org/officeDocument/2006/relationships/image" Target="../media/image172.png"/><Relationship Id="rId11" Type="http://schemas.openxmlformats.org/officeDocument/2006/relationships/image" Target="../media/image76.png"/><Relationship Id="rId32" Type="http://schemas.openxmlformats.org/officeDocument/2006/relationships/image" Target="../media/image97.png"/><Relationship Id="rId37" Type="http://schemas.openxmlformats.org/officeDocument/2006/relationships/image" Target="../media/image102.png"/><Relationship Id="rId53" Type="http://schemas.openxmlformats.org/officeDocument/2006/relationships/image" Target="../media/image118.png"/><Relationship Id="rId58" Type="http://schemas.openxmlformats.org/officeDocument/2006/relationships/image" Target="../media/image123.png"/><Relationship Id="rId74" Type="http://schemas.openxmlformats.org/officeDocument/2006/relationships/image" Target="../media/image139.png"/><Relationship Id="rId79" Type="http://schemas.openxmlformats.org/officeDocument/2006/relationships/image" Target="../media/image144.png"/><Relationship Id="rId102" Type="http://schemas.openxmlformats.org/officeDocument/2006/relationships/image" Target="../media/image167.png"/><Relationship Id="rId123" Type="http://schemas.openxmlformats.org/officeDocument/2006/relationships/image" Target="../media/image188.png"/><Relationship Id="rId128" Type="http://schemas.openxmlformats.org/officeDocument/2006/relationships/image" Target="../media/image193.png"/><Relationship Id="rId144" Type="http://schemas.openxmlformats.org/officeDocument/2006/relationships/image" Target="../media/image209.png"/><Relationship Id="rId149" Type="http://schemas.openxmlformats.org/officeDocument/2006/relationships/image" Target="../media/image214.png"/><Relationship Id="rId5" Type="http://schemas.openxmlformats.org/officeDocument/2006/relationships/notesSlide" Target="../notesSlides/notesSlide5.xml"/><Relationship Id="rId90" Type="http://schemas.openxmlformats.org/officeDocument/2006/relationships/image" Target="../media/image155.png"/><Relationship Id="rId95" Type="http://schemas.openxmlformats.org/officeDocument/2006/relationships/image" Target="../media/image160.png"/><Relationship Id="rId160" Type="http://schemas.openxmlformats.org/officeDocument/2006/relationships/image" Target="../media/image225.png"/><Relationship Id="rId165" Type="http://schemas.openxmlformats.org/officeDocument/2006/relationships/image" Target="../media/image230.png"/><Relationship Id="rId181" Type="http://schemas.openxmlformats.org/officeDocument/2006/relationships/image" Target="../media/image246.png"/><Relationship Id="rId22" Type="http://schemas.openxmlformats.org/officeDocument/2006/relationships/image" Target="../media/image87.png"/><Relationship Id="rId27" Type="http://schemas.openxmlformats.org/officeDocument/2006/relationships/image" Target="../media/image92.png"/><Relationship Id="rId43" Type="http://schemas.openxmlformats.org/officeDocument/2006/relationships/image" Target="../media/image108.png"/><Relationship Id="rId48" Type="http://schemas.openxmlformats.org/officeDocument/2006/relationships/image" Target="../media/image113.png"/><Relationship Id="rId64" Type="http://schemas.openxmlformats.org/officeDocument/2006/relationships/image" Target="../media/image129.png"/><Relationship Id="rId69" Type="http://schemas.openxmlformats.org/officeDocument/2006/relationships/image" Target="../media/image134.png"/><Relationship Id="rId113" Type="http://schemas.openxmlformats.org/officeDocument/2006/relationships/image" Target="../media/image178.png"/><Relationship Id="rId118" Type="http://schemas.openxmlformats.org/officeDocument/2006/relationships/image" Target="../media/image183.png"/><Relationship Id="rId134" Type="http://schemas.openxmlformats.org/officeDocument/2006/relationships/image" Target="../media/image199.png"/><Relationship Id="rId139" Type="http://schemas.openxmlformats.org/officeDocument/2006/relationships/image" Target="../media/image204.png"/><Relationship Id="rId80" Type="http://schemas.openxmlformats.org/officeDocument/2006/relationships/image" Target="../media/image145.png"/><Relationship Id="rId85" Type="http://schemas.openxmlformats.org/officeDocument/2006/relationships/image" Target="../media/image150.png"/><Relationship Id="rId150" Type="http://schemas.openxmlformats.org/officeDocument/2006/relationships/image" Target="../media/image215.png"/><Relationship Id="rId155" Type="http://schemas.openxmlformats.org/officeDocument/2006/relationships/image" Target="../media/image220.png"/><Relationship Id="rId171" Type="http://schemas.openxmlformats.org/officeDocument/2006/relationships/image" Target="../media/image236.png"/><Relationship Id="rId176" Type="http://schemas.openxmlformats.org/officeDocument/2006/relationships/image" Target="../media/image241.png"/><Relationship Id="rId12" Type="http://schemas.openxmlformats.org/officeDocument/2006/relationships/image" Target="../media/image77.png"/><Relationship Id="rId17" Type="http://schemas.openxmlformats.org/officeDocument/2006/relationships/image" Target="../media/image82.png"/><Relationship Id="rId33" Type="http://schemas.openxmlformats.org/officeDocument/2006/relationships/image" Target="../media/image98.png"/><Relationship Id="rId38" Type="http://schemas.openxmlformats.org/officeDocument/2006/relationships/image" Target="../media/image103.png"/><Relationship Id="rId59" Type="http://schemas.openxmlformats.org/officeDocument/2006/relationships/image" Target="../media/image124.png"/><Relationship Id="rId103" Type="http://schemas.openxmlformats.org/officeDocument/2006/relationships/image" Target="../media/image168.png"/><Relationship Id="rId108" Type="http://schemas.openxmlformats.org/officeDocument/2006/relationships/image" Target="../media/image173.png"/><Relationship Id="rId124" Type="http://schemas.openxmlformats.org/officeDocument/2006/relationships/image" Target="../media/image189.png"/><Relationship Id="rId129" Type="http://schemas.openxmlformats.org/officeDocument/2006/relationships/image" Target="../media/image194.png"/><Relationship Id="rId54" Type="http://schemas.openxmlformats.org/officeDocument/2006/relationships/image" Target="../media/image119.png"/><Relationship Id="rId70" Type="http://schemas.openxmlformats.org/officeDocument/2006/relationships/image" Target="../media/image135.png"/><Relationship Id="rId75" Type="http://schemas.openxmlformats.org/officeDocument/2006/relationships/image" Target="../media/image140.png"/><Relationship Id="rId91" Type="http://schemas.openxmlformats.org/officeDocument/2006/relationships/image" Target="../media/image156.png"/><Relationship Id="rId96" Type="http://schemas.openxmlformats.org/officeDocument/2006/relationships/image" Target="../media/image161.png"/><Relationship Id="rId140" Type="http://schemas.openxmlformats.org/officeDocument/2006/relationships/image" Target="../media/image205.png"/><Relationship Id="rId145" Type="http://schemas.openxmlformats.org/officeDocument/2006/relationships/image" Target="../media/image210.png"/><Relationship Id="rId161" Type="http://schemas.openxmlformats.org/officeDocument/2006/relationships/image" Target="../media/image226.png"/><Relationship Id="rId166" Type="http://schemas.openxmlformats.org/officeDocument/2006/relationships/image" Target="../media/image231.png"/><Relationship Id="rId182" Type="http://schemas.openxmlformats.org/officeDocument/2006/relationships/image" Target="../media/image247.png"/><Relationship Id="rId1" Type="http://schemas.openxmlformats.org/officeDocument/2006/relationships/vmlDrawing" Target="../drawings/vmlDrawing114.vml"/><Relationship Id="rId6" Type="http://schemas.openxmlformats.org/officeDocument/2006/relationships/oleObject" Target="../embeddings/oleObject107.bin"/><Relationship Id="rId23" Type="http://schemas.openxmlformats.org/officeDocument/2006/relationships/image" Target="../media/image88.png"/><Relationship Id="rId28" Type="http://schemas.openxmlformats.org/officeDocument/2006/relationships/image" Target="../media/image93.png"/><Relationship Id="rId49" Type="http://schemas.openxmlformats.org/officeDocument/2006/relationships/image" Target="../media/image114.png"/><Relationship Id="rId114" Type="http://schemas.openxmlformats.org/officeDocument/2006/relationships/image" Target="../media/image179.png"/><Relationship Id="rId119" Type="http://schemas.openxmlformats.org/officeDocument/2006/relationships/image" Target="../media/image184.png"/><Relationship Id="rId44" Type="http://schemas.openxmlformats.org/officeDocument/2006/relationships/image" Target="../media/image109.png"/><Relationship Id="rId60" Type="http://schemas.openxmlformats.org/officeDocument/2006/relationships/image" Target="../media/image125.png"/><Relationship Id="rId65" Type="http://schemas.openxmlformats.org/officeDocument/2006/relationships/image" Target="../media/image130.png"/><Relationship Id="rId81" Type="http://schemas.openxmlformats.org/officeDocument/2006/relationships/image" Target="../media/image146.png"/><Relationship Id="rId86" Type="http://schemas.openxmlformats.org/officeDocument/2006/relationships/image" Target="../media/image151.png"/><Relationship Id="rId130" Type="http://schemas.openxmlformats.org/officeDocument/2006/relationships/image" Target="../media/image195.png"/><Relationship Id="rId135" Type="http://schemas.openxmlformats.org/officeDocument/2006/relationships/image" Target="../media/image200.png"/><Relationship Id="rId151" Type="http://schemas.openxmlformats.org/officeDocument/2006/relationships/image" Target="../media/image216.png"/><Relationship Id="rId156" Type="http://schemas.openxmlformats.org/officeDocument/2006/relationships/image" Target="../media/image221.png"/><Relationship Id="rId177" Type="http://schemas.openxmlformats.org/officeDocument/2006/relationships/image" Target="../media/image242.png"/><Relationship Id="rId4" Type="http://schemas.openxmlformats.org/officeDocument/2006/relationships/slideLayout" Target="../slideLayouts/slideLayout99.xml"/><Relationship Id="rId9" Type="http://schemas.openxmlformats.org/officeDocument/2006/relationships/image" Target="../media/image74.png"/><Relationship Id="rId172" Type="http://schemas.openxmlformats.org/officeDocument/2006/relationships/image" Target="../media/image237.png"/><Relationship Id="rId180" Type="http://schemas.openxmlformats.org/officeDocument/2006/relationships/image" Target="../media/image245.png"/><Relationship Id="rId13" Type="http://schemas.openxmlformats.org/officeDocument/2006/relationships/image" Target="../media/image78.png"/><Relationship Id="rId18" Type="http://schemas.openxmlformats.org/officeDocument/2006/relationships/image" Target="../media/image83.png"/><Relationship Id="rId39" Type="http://schemas.openxmlformats.org/officeDocument/2006/relationships/image" Target="../media/image104.png"/><Relationship Id="rId109" Type="http://schemas.openxmlformats.org/officeDocument/2006/relationships/image" Target="../media/image174.png"/><Relationship Id="rId34" Type="http://schemas.openxmlformats.org/officeDocument/2006/relationships/image" Target="../media/image99.png"/><Relationship Id="rId50" Type="http://schemas.openxmlformats.org/officeDocument/2006/relationships/image" Target="../media/image115.png"/><Relationship Id="rId55" Type="http://schemas.openxmlformats.org/officeDocument/2006/relationships/image" Target="../media/image120.png"/><Relationship Id="rId76" Type="http://schemas.openxmlformats.org/officeDocument/2006/relationships/image" Target="../media/image141.png"/><Relationship Id="rId97" Type="http://schemas.openxmlformats.org/officeDocument/2006/relationships/image" Target="../media/image162.png"/><Relationship Id="rId104" Type="http://schemas.openxmlformats.org/officeDocument/2006/relationships/image" Target="../media/image169.png"/><Relationship Id="rId120" Type="http://schemas.openxmlformats.org/officeDocument/2006/relationships/image" Target="../media/image185.png"/><Relationship Id="rId125" Type="http://schemas.openxmlformats.org/officeDocument/2006/relationships/image" Target="../media/image190.png"/><Relationship Id="rId141" Type="http://schemas.openxmlformats.org/officeDocument/2006/relationships/image" Target="../media/image206.png"/><Relationship Id="rId146" Type="http://schemas.openxmlformats.org/officeDocument/2006/relationships/image" Target="../media/image211.png"/><Relationship Id="rId167" Type="http://schemas.openxmlformats.org/officeDocument/2006/relationships/image" Target="../media/image232.png"/><Relationship Id="rId7" Type="http://schemas.openxmlformats.org/officeDocument/2006/relationships/image" Target="../media/image28.emf"/><Relationship Id="rId71" Type="http://schemas.openxmlformats.org/officeDocument/2006/relationships/image" Target="../media/image136.png"/><Relationship Id="rId92" Type="http://schemas.openxmlformats.org/officeDocument/2006/relationships/image" Target="../media/image157.png"/><Relationship Id="rId162" Type="http://schemas.openxmlformats.org/officeDocument/2006/relationships/image" Target="../media/image227.png"/><Relationship Id="rId183" Type="http://schemas.openxmlformats.org/officeDocument/2006/relationships/image" Target="../media/image248.png"/><Relationship Id="rId2" Type="http://schemas.openxmlformats.org/officeDocument/2006/relationships/tags" Target="../tags/tag179.xml"/><Relationship Id="rId29" Type="http://schemas.openxmlformats.org/officeDocument/2006/relationships/image" Target="../media/image94.png"/><Relationship Id="rId24" Type="http://schemas.openxmlformats.org/officeDocument/2006/relationships/image" Target="../media/image89.png"/><Relationship Id="rId40" Type="http://schemas.openxmlformats.org/officeDocument/2006/relationships/image" Target="../media/image105.png"/><Relationship Id="rId45" Type="http://schemas.openxmlformats.org/officeDocument/2006/relationships/image" Target="../media/image110.png"/><Relationship Id="rId66" Type="http://schemas.openxmlformats.org/officeDocument/2006/relationships/image" Target="../media/image131.png"/><Relationship Id="rId87" Type="http://schemas.openxmlformats.org/officeDocument/2006/relationships/image" Target="../media/image152.png"/><Relationship Id="rId110" Type="http://schemas.openxmlformats.org/officeDocument/2006/relationships/image" Target="../media/image175.png"/><Relationship Id="rId115" Type="http://schemas.openxmlformats.org/officeDocument/2006/relationships/image" Target="../media/image180.png"/><Relationship Id="rId131" Type="http://schemas.openxmlformats.org/officeDocument/2006/relationships/image" Target="../media/image196.png"/><Relationship Id="rId136" Type="http://schemas.openxmlformats.org/officeDocument/2006/relationships/image" Target="../media/image201.png"/><Relationship Id="rId157" Type="http://schemas.openxmlformats.org/officeDocument/2006/relationships/image" Target="../media/image222.png"/><Relationship Id="rId178" Type="http://schemas.openxmlformats.org/officeDocument/2006/relationships/image" Target="../media/image243.png"/><Relationship Id="rId61" Type="http://schemas.openxmlformats.org/officeDocument/2006/relationships/image" Target="../media/image126.png"/><Relationship Id="rId82" Type="http://schemas.openxmlformats.org/officeDocument/2006/relationships/image" Target="../media/image147.png"/><Relationship Id="rId152" Type="http://schemas.openxmlformats.org/officeDocument/2006/relationships/image" Target="../media/image217.png"/><Relationship Id="rId173" Type="http://schemas.openxmlformats.org/officeDocument/2006/relationships/image" Target="../media/image238.png"/><Relationship Id="rId19" Type="http://schemas.openxmlformats.org/officeDocument/2006/relationships/image" Target="../media/image84.png"/><Relationship Id="rId14" Type="http://schemas.openxmlformats.org/officeDocument/2006/relationships/image" Target="../media/image79.png"/><Relationship Id="rId30" Type="http://schemas.openxmlformats.org/officeDocument/2006/relationships/image" Target="../media/image95.png"/><Relationship Id="rId35" Type="http://schemas.openxmlformats.org/officeDocument/2006/relationships/image" Target="../media/image100.png"/><Relationship Id="rId56" Type="http://schemas.openxmlformats.org/officeDocument/2006/relationships/image" Target="../media/image121.png"/><Relationship Id="rId77" Type="http://schemas.openxmlformats.org/officeDocument/2006/relationships/image" Target="../media/image142.png"/><Relationship Id="rId100" Type="http://schemas.openxmlformats.org/officeDocument/2006/relationships/image" Target="../media/image165.png"/><Relationship Id="rId105" Type="http://schemas.openxmlformats.org/officeDocument/2006/relationships/image" Target="../media/image170.png"/><Relationship Id="rId126" Type="http://schemas.openxmlformats.org/officeDocument/2006/relationships/image" Target="../media/image191.png"/><Relationship Id="rId147" Type="http://schemas.openxmlformats.org/officeDocument/2006/relationships/image" Target="../media/image212.png"/><Relationship Id="rId168" Type="http://schemas.openxmlformats.org/officeDocument/2006/relationships/image" Target="../media/image233.png"/><Relationship Id="rId8" Type="http://schemas.openxmlformats.org/officeDocument/2006/relationships/image" Target="../media/image73.png"/><Relationship Id="rId51" Type="http://schemas.openxmlformats.org/officeDocument/2006/relationships/image" Target="../media/image116.png"/><Relationship Id="rId72" Type="http://schemas.openxmlformats.org/officeDocument/2006/relationships/image" Target="../media/image137.png"/><Relationship Id="rId93" Type="http://schemas.openxmlformats.org/officeDocument/2006/relationships/image" Target="../media/image158.png"/><Relationship Id="rId98" Type="http://schemas.openxmlformats.org/officeDocument/2006/relationships/image" Target="../media/image163.png"/><Relationship Id="rId121" Type="http://schemas.openxmlformats.org/officeDocument/2006/relationships/image" Target="../media/image186.png"/><Relationship Id="rId142" Type="http://schemas.openxmlformats.org/officeDocument/2006/relationships/image" Target="../media/image207.png"/><Relationship Id="rId163" Type="http://schemas.openxmlformats.org/officeDocument/2006/relationships/image" Target="../media/image228.png"/><Relationship Id="rId3" Type="http://schemas.openxmlformats.org/officeDocument/2006/relationships/tags" Target="../tags/tag180.xml"/><Relationship Id="rId25" Type="http://schemas.openxmlformats.org/officeDocument/2006/relationships/image" Target="../media/image90.png"/><Relationship Id="rId46" Type="http://schemas.openxmlformats.org/officeDocument/2006/relationships/image" Target="../media/image111.png"/><Relationship Id="rId67" Type="http://schemas.openxmlformats.org/officeDocument/2006/relationships/image" Target="../media/image132.png"/><Relationship Id="rId116" Type="http://schemas.openxmlformats.org/officeDocument/2006/relationships/image" Target="../media/image181.png"/><Relationship Id="rId137" Type="http://schemas.openxmlformats.org/officeDocument/2006/relationships/image" Target="../media/image202.png"/><Relationship Id="rId158" Type="http://schemas.openxmlformats.org/officeDocument/2006/relationships/image" Target="../media/image223.png"/><Relationship Id="rId20" Type="http://schemas.openxmlformats.org/officeDocument/2006/relationships/image" Target="../media/image85.png"/><Relationship Id="rId41" Type="http://schemas.openxmlformats.org/officeDocument/2006/relationships/image" Target="../media/image106.png"/><Relationship Id="rId62" Type="http://schemas.openxmlformats.org/officeDocument/2006/relationships/image" Target="../media/image127.png"/><Relationship Id="rId83" Type="http://schemas.openxmlformats.org/officeDocument/2006/relationships/image" Target="../media/image148.png"/><Relationship Id="rId88" Type="http://schemas.openxmlformats.org/officeDocument/2006/relationships/image" Target="../media/image153.png"/><Relationship Id="rId111" Type="http://schemas.openxmlformats.org/officeDocument/2006/relationships/image" Target="../media/image176.png"/><Relationship Id="rId132" Type="http://schemas.openxmlformats.org/officeDocument/2006/relationships/image" Target="../media/image197.png"/><Relationship Id="rId153" Type="http://schemas.openxmlformats.org/officeDocument/2006/relationships/image" Target="../media/image218.png"/><Relationship Id="rId174" Type="http://schemas.openxmlformats.org/officeDocument/2006/relationships/image" Target="../media/image239.png"/><Relationship Id="rId179" Type="http://schemas.openxmlformats.org/officeDocument/2006/relationships/image" Target="../media/image244.png"/><Relationship Id="rId15" Type="http://schemas.openxmlformats.org/officeDocument/2006/relationships/image" Target="../media/image80.png"/><Relationship Id="rId36" Type="http://schemas.openxmlformats.org/officeDocument/2006/relationships/image" Target="../media/image101.png"/><Relationship Id="rId57" Type="http://schemas.openxmlformats.org/officeDocument/2006/relationships/image" Target="../media/image122.png"/><Relationship Id="rId106" Type="http://schemas.openxmlformats.org/officeDocument/2006/relationships/image" Target="../media/image171.png"/><Relationship Id="rId127" Type="http://schemas.openxmlformats.org/officeDocument/2006/relationships/image" Target="../media/image192.png"/><Relationship Id="rId10" Type="http://schemas.openxmlformats.org/officeDocument/2006/relationships/image" Target="../media/image75.png"/><Relationship Id="rId31" Type="http://schemas.openxmlformats.org/officeDocument/2006/relationships/image" Target="../media/image96.png"/><Relationship Id="rId52" Type="http://schemas.openxmlformats.org/officeDocument/2006/relationships/image" Target="../media/image117.png"/><Relationship Id="rId73" Type="http://schemas.openxmlformats.org/officeDocument/2006/relationships/image" Target="../media/image138.png"/><Relationship Id="rId78" Type="http://schemas.openxmlformats.org/officeDocument/2006/relationships/image" Target="../media/image143.png"/><Relationship Id="rId94" Type="http://schemas.openxmlformats.org/officeDocument/2006/relationships/image" Target="../media/image159.png"/><Relationship Id="rId99" Type="http://schemas.openxmlformats.org/officeDocument/2006/relationships/image" Target="../media/image164.png"/><Relationship Id="rId101" Type="http://schemas.openxmlformats.org/officeDocument/2006/relationships/image" Target="../media/image166.png"/><Relationship Id="rId122" Type="http://schemas.openxmlformats.org/officeDocument/2006/relationships/image" Target="../media/image187.png"/><Relationship Id="rId143" Type="http://schemas.openxmlformats.org/officeDocument/2006/relationships/image" Target="../media/image208.png"/><Relationship Id="rId148" Type="http://schemas.openxmlformats.org/officeDocument/2006/relationships/image" Target="../media/image213.png"/><Relationship Id="rId164" Type="http://schemas.openxmlformats.org/officeDocument/2006/relationships/image" Target="../media/image229.png"/><Relationship Id="rId169" Type="http://schemas.openxmlformats.org/officeDocument/2006/relationships/image" Target="../media/image2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22A758-39C9-46E6-9DE4-F2F0550B1008}"/>
              </a:ext>
            </a:extLst>
          </p:cNvPr>
          <p:cNvGraphicFramePr>
            <a:graphicFrameLocks noChangeAspect="1"/>
          </p:cNvGraphicFramePr>
          <p:nvPr>
            <p:custDataLst>
              <p:tags r:id="rId2"/>
            </p:custDataLst>
          </p:nvPr>
        </p:nvGraphicFramePr>
        <p:xfrm>
          <a:off x="7148" y="3046"/>
          <a:ext cx="1439" cy="1439"/>
        </p:xfrm>
        <a:graphic>
          <a:graphicData uri="http://schemas.openxmlformats.org/presentationml/2006/ole">
            <mc:AlternateContent xmlns:mc="http://schemas.openxmlformats.org/markup-compatibility/2006">
              <mc:Choice xmlns:v="urn:schemas-microsoft-com:vml" Requires="v">
                <p:oleObj spid="_x0000_s197641"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7B22A758-39C9-46E6-9DE4-F2F0550B1008}"/>
                          </a:ext>
                        </a:extLst>
                      </p:cNvPr>
                      <p:cNvPicPr/>
                      <p:nvPr/>
                    </p:nvPicPr>
                    <p:blipFill>
                      <a:blip r:embed="rId6"/>
                      <a:stretch>
                        <a:fillRect/>
                      </a:stretch>
                    </p:blipFill>
                    <p:spPr>
                      <a:xfrm>
                        <a:off x="7148" y="3046"/>
                        <a:ext cx="1439" cy="1439"/>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885B938B-EB13-9C4A-9EEA-B4C852FA8327}"/>
              </a:ext>
            </a:extLst>
          </p:cNvPr>
          <p:cNvGrpSpPr/>
          <p:nvPr/>
        </p:nvGrpSpPr>
        <p:grpSpPr>
          <a:xfrm>
            <a:off x="2855" y="3597134"/>
            <a:ext cx="12302542" cy="2237326"/>
            <a:chOff x="-3391610" y="2589233"/>
            <a:chExt cx="13564122" cy="2466755"/>
          </a:xfrm>
        </p:grpSpPr>
        <p:sp>
          <p:nvSpPr>
            <p:cNvPr id="9" name="Rectangle 8">
              <a:extLst>
                <a:ext uri="{FF2B5EF4-FFF2-40B4-BE49-F238E27FC236}">
                  <a16:creationId xmlns:a16="http://schemas.microsoft.com/office/drawing/2014/main" id="{3C8A32CE-810C-4F16-B2CF-D04E2CE2E0D4}"/>
                </a:ext>
              </a:extLst>
            </p:cNvPr>
            <p:cNvSpPr/>
            <p:nvPr/>
          </p:nvSpPr>
          <p:spPr>
            <a:xfrm>
              <a:off x="-3391610" y="2589233"/>
              <a:ext cx="13564122" cy="2466755"/>
            </a:xfrm>
            <a:prstGeom prst="rect">
              <a:avLst/>
            </a:prstGeom>
            <a:solidFill>
              <a:srgbClr val="000000">
                <a:alpha val="75000"/>
              </a:srgbClr>
            </a:solidFill>
            <a:ln w="12700" cap="flat" cmpd="sng" algn="ctr">
              <a:noFill/>
              <a:prstDash val="solid"/>
              <a:miter lim="800000"/>
            </a:ln>
            <a:effectLst/>
          </p:spPr>
          <p:txBody>
            <a:bodyPr rtlCol="0" anchor="ctr"/>
            <a:lstStyle/>
            <a:p>
              <a:pPr algn="ctr" defTabSz="913956" eaLnBrk="1" fontAlgn="auto" hangingPunct="1">
                <a:spcBef>
                  <a:spcPts val="0"/>
                </a:spcBef>
                <a:spcAft>
                  <a:spcPts val="0"/>
                </a:spcAft>
                <a:defRPr/>
              </a:pPr>
              <a:endParaRPr lang="en-US" sz="1799" kern="0" dirty="0">
                <a:solidFill>
                  <a:prstClr val="white"/>
                </a:solidFill>
                <a:latin typeface="EYInterstate" panose="02000503020000020004" pitchFamily="2" charset="0"/>
                <a:ea typeface="+mn-ea"/>
                <a:cs typeface="+mn-cs"/>
              </a:endParaRPr>
            </a:p>
          </p:txBody>
        </p:sp>
        <p:sp>
          <p:nvSpPr>
            <p:cNvPr id="11" name="Text Placeholder 3">
              <a:extLst>
                <a:ext uri="{FF2B5EF4-FFF2-40B4-BE49-F238E27FC236}">
                  <a16:creationId xmlns:a16="http://schemas.microsoft.com/office/drawing/2014/main" id="{B9D4F65C-C90D-427D-A699-33D75CA2161D}"/>
                </a:ext>
              </a:extLst>
            </p:cNvPr>
            <p:cNvSpPr txBox="1">
              <a:spLocks/>
            </p:cNvSpPr>
            <p:nvPr/>
          </p:nvSpPr>
          <p:spPr>
            <a:xfrm>
              <a:off x="-3179135" y="2794088"/>
              <a:ext cx="11244624" cy="1578205"/>
            </a:xfrm>
            <a:prstGeom prst="rect">
              <a:avLst/>
            </a:prstGeom>
          </p:spPr>
          <p:txBody>
            <a:bodyPr lIns="0" tIns="0" rIns="0" bIns="0" anchor="t" anchorCtr="0"/>
            <a:lstStyle>
              <a:lvl1pPr marL="0" indent="0" algn="l" rtl="0" eaLnBrk="1" fontAlgn="base" hangingPunct="1">
                <a:spcBef>
                  <a:spcPct val="20000"/>
                </a:spcBef>
                <a:spcAft>
                  <a:spcPct val="0"/>
                </a:spcAft>
                <a:buNone/>
                <a:defRPr sz="2800" i="1">
                  <a:solidFill>
                    <a:srgbClr val="FF0000"/>
                  </a:solidFill>
                  <a:latin typeface="Century Gothic" panose="020B0502020202020204" pitchFamily="34" charset="0"/>
                  <a:ea typeface="+mn-ea"/>
                  <a:cs typeface="+mn-cs"/>
                </a:defRPr>
              </a:lvl1pPr>
              <a:lvl2pPr marL="743003" indent="-285771" algn="l" rtl="0" eaLnBrk="1" fontAlgn="base" hangingPunct="1">
                <a:spcBef>
                  <a:spcPct val="20000"/>
                </a:spcBef>
                <a:spcAft>
                  <a:spcPct val="0"/>
                </a:spcAft>
                <a:buChar char="–"/>
                <a:defRPr sz="2801">
                  <a:solidFill>
                    <a:schemeClr val="bg1"/>
                  </a:solidFill>
                  <a:latin typeface="Century Gothic" panose="020B0502020202020204" pitchFamily="34" charset="0"/>
                  <a:cs typeface="+mn-cs"/>
                </a:defRPr>
              </a:lvl2pPr>
              <a:lvl3pPr marL="1143082" indent="-228617" algn="l" rtl="0" eaLnBrk="1" fontAlgn="base" hangingPunct="1">
                <a:spcBef>
                  <a:spcPct val="20000"/>
                </a:spcBef>
                <a:spcAft>
                  <a:spcPct val="0"/>
                </a:spcAft>
                <a:buChar char="•"/>
                <a:defRPr sz="2400">
                  <a:solidFill>
                    <a:schemeClr val="bg1"/>
                  </a:solidFill>
                  <a:latin typeface="Century Gothic" panose="020B0502020202020204" pitchFamily="34" charset="0"/>
                  <a:cs typeface="+mn-cs"/>
                </a:defRPr>
              </a:lvl3pPr>
              <a:lvl4pPr marL="1600315" indent="-228617" algn="l" rtl="0" eaLnBrk="1" fontAlgn="base" hangingPunct="1">
                <a:spcBef>
                  <a:spcPct val="20000"/>
                </a:spcBef>
                <a:spcAft>
                  <a:spcPct val="0"/>
                </a:spcAft>
                <a:buChar char="–"/>
                <a:defRPr sz="2000">
                  <a:solidFill>
                    <a:schemeClr val="bg1"/>
                  </a:solidFill>
                  <a:latin typeface="Century Gothic" panose="020B0502020202020204" pitchFamily="34" charset="0"/>
                  <a:cs typeface="+mn-cs"/>
                </a:defRPr>
              </a:lvl4pPr>
              <a:lvl5pPr marL="2057547" indent="-228617" algn="l" rtl="0" eaLnBrk="1" fontAlgn="base" hangingPunct="1">
                <a:spcBef>
                  <a:spcPct val="20000"/>
                </a:spcBef>
                <a:spcAft>
                  <a:spcPct val="0"/>
                </a:spcAft>
                <a:buChar char="»"/>
                <a:defRPr sz="2000">
                  <a:solidFill>
                    <a:schemeClr val="bg1"/>
                  </a:solidFill>
                  <a:latin typeface="Century Gothic" panose="020B0502020202020204" pitchFamily="34" charset="0"/>
                  <a:cs typeface="+mn-cs"/>
                </a:defRPr>
              </a:lvl5pPr>
              <a:lvl6pPr marL="2514781" indent="-228617" algn="l" rtl="0" eaLnBrk="1" fontAlgn="base" hangingPunct="1">
                <a:spcBef>
                  <a:spcPct val="20000"/>
                </a:spcBef>
                <a:spcAft>
                  <a:spcPct val="0"/>
                </a:spcAft>
                <a:buChar char="»"/>
                <a:defRPr sz="2000">
                  <a:solidFill>
                    <a:schemeClr val="tx1"/>
                  </a:solidFill>
                  <a:latin typeface="+mn-lt"/>
                  <a:cs typeface="+mn-cs"/>
                </a:defRPr>
              </a:lvl6pPr>
              <a:lvl7pPr marL="2972013" indent="-228617" algn="l" rtl="0" eaLnBrk="1" fontAlgn="base" hangingPunct="1">
                <a:spcBef>
                  <a:spcPct val="20000"/>
                </a:spcBef>
                <a:spcAft>
                  <a:spcPct val="0"/>
                </a:spcAft>
                <a:buChar char="»"/>
                <a:defRPr sz="2000">
                  <a:solidFill>
                    <a:schemeClr val="tx1"/>
                  </a:solidFill>
                  <a:latin typeface="+mn-lt"/>
                  <a:cs typeface="+mn-cs"/>
                </a:defRPr>
              </a:lvl7pPr>
              <a:lvl8pPr marL="3429246" indent="-228617" algn="l" rtl="0" eaLnBrk="1" fontAlgn="base" hangingPunct="1">
                <a:spcBef>
                  <a:spcPct val="20000"/>
                </a:spcBef>
                <a:spcAft>
                  <a:spcPct val="0"/>
                </a:spcAft>
                <a:buChar char="»"/>
                <a:defRPr sz="2000">
                  <a:solidFill>
                    <a:schemeClr val="tx1"/>
                  </a:solidFill>
                  <a:latin typeface="+mn-lt"/>
                  <a:cs typeface="+mn-cs"/>
                </a:defRPr>
              </a:lvl8pPr>
              <a:lvl9pPr marL="3886479" indent="-228617" algn="l" rtl="0" eaLnBrk="1" fontAlgn="base" hangingPunct="1">
                <a:spcBef>
                  <a:spcPct val="20000"/>
                </a:spcBef>
                <a:spcAft>
                  <a:spcPct val="0"/>
                </a:spcAft>
                <a:buChar char="»"/>
                <a:defRPr sz="2000">
                  <a:solidFill>
                    <a:schemeClr val="tx1"/>
                  </a:solidFill>
                  <a:latin typeface="+mn-lt"/>
                  <a:cs typeface="+mn-cs"/>
                </a:defRPr>
              </a:lvl9pPr>
            </a:lstStyle>
            <a:p>
              <a:pPr marL="53257" defTabSz="829015">
                <a:spcBef>
                  <a:spcPts val="0"/>
                </a:spcBef>
                <a:spcAft>
                  <a:spcPts val="1088"/>
                </a:spcAft>
                <a:buClr>
                  <a:srgbClr val="FFE600"/>
                </a:buClr>
                <a:buSzPct val="80000"/>
                <a:defRPr/>
              </a:pPr>
              <a:r>
                <a:rPr lang="en-US" sz="1814" b="1" i="0" kern="0" dirty="0">
                  <a:solidFill>
                    <a:srgbClr val="FFE600"/>
                  </a:solidFill>
                  <a:latin typeface="EYInterstate" panose="02000503020000020004" pitchFamily="2" charset="0"/>
                </a:rPr>
                <a:t>Proposal</a:t>
              </a:r>
              <a:endParaRPr lang="en-US" sz="1814" b="1" i="0" kern="0" dirty="0">
                <a:solidFill>
                  <a:srgbClr val="FFFFFF"/>
                </a:solidFill>
                <a:latin typeface="EYInterstate" panose="02000503020000020004" pitchFamily="2" charset="0"/>
              </a:endParaRPr>
            </a:p>
            <a:p>
              <a:pPr marL="53257" defTabSz="829015">
                <a:spcBef>
                  <a:spcPts val="0"/>
                </a:spcBef>
                <a:spcAft>
                  <a:spcPts val="1088"/>
                </a:spcAft>
                <a:buClr>
                  <a:srgbClr val="FFE600"/>
                </a:buClr>
                <a:buSzPct val="80000"/>
                <a:defRPr/>
              </a:pPr>
              <a:r>
                <a:rPr lang="en-US" sz="3175" b="1" i="0" kern="0" dirty="0">
                  <a:solidFill>
                    <a:srgbClr val="FFE600"/>
                  </a:solidFill>
                  <a:latin typeface="EYInterstate" panose="02000503020000020004" pitchFamily="2" charset="0"/>
                </a:rPr>
                <a:t>Data Platform Roadmap</a:t>
              </a:r>
            </a:p>
            <a:p>
              <a:pPr marL="53257" defTabSz="829015">
                <a:spcBef>
                  <a:spcPts val="0"/>
                </a:spcBef>
                <a:spcAft>
                  <a:spcPts val="1088"/>
                </a:spcAft>
                <a:buClr>
                  <a:srgbClr val="FFE600"/>
                </a:buClr>
                <a:buSzPct val="80000"/>
                <a:defRPr/>
              </a:pPr>
              <a:r>
                <a:rPr lang="en-US" sz="2540" b="1" i="0" kern="0" dirty="0">
                  <a:solidFill>
                    <a:srgbClr val="FFFFFF"/>
                  </a:solidFill>
                  <a:latin typeface="EYInterstate" panose="02000503020000020004" pitchFamily="2" charset="0"/>
                </a:rPr>
                <a:t>AIAT Technology, Digital &amp; Analytics Initiative</a:t>
              </a:r>
            </a:p>
            <a:p>
              <a:pPr marL="53257" defTabSz="829015">
                <a:spcBef>
                  <a:spcPts val="0"/>
                </a:spcBef>
                <a:spcAft>
                  <a:spcPts val="1088"/>
                </a:spcAft>
                <a:buClr>
                  <a:srgbClr val="FFE600"/>
                </a:buClr>
                <a:buSzPct val="80000"/>
                <a:defRPr/>
              </a:pPr>
              <a:r>
                <a:rPr lang="en-US" sz="1814" b="1" i="0" kern="0" dirty="0">
                  <a:solidFill>
                    <a:srgbClr val="FFFFFF"/>
                  </a:solidFill>
                  <a:latin typeface="EYInterstate" panose="02000503020000020004" pitchFamily="2" charset="0"/>
                </a:rPr>
                <a:t>January 2021</a:t>
              </a:r>
              <a:endParaRPr lang="en-GB" sz="1814" b="1" i="0" kern="0" dirty="0">
                <a:solidFill>
                  <a:srgbClr val="FFE600"/>
                </a:solidFill>
                <a:latin typeface="EYInterstate" panose="02000503020000020004" pitchFamily="2" charset="0"/>
              </a:endParaRPr>
            </a:p>
          </p:txBody>
        </p:sp>
      </p:grpSp>
      <p:pic>
        <p:nvPicPr>
          <p:cNvPr id="10" name="Picture 9">
            <a:extLst>
              <a:ext uri="{FF2B5EF4-FFF2-40B4-BE49-F238E27FC236}">
                <a16:creationId xmlns:a16="http://schemas.microsoft.com/office/drawing/2014/main" id="{47A1DCC2-314B-481A-9DE7-9615BF7A27E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613796" y="71719"/>
            <a:ext cx="491528" cy="502909"/>
          </a:xfrm>
          <a:prstGeom prst="rect">
            <a:avLst/>
          </a:prstGeom>
        </p:spPr>
      </p:pic>
      <p:pic>
        <p:nvPicPr>
          <p:cNvPr id="1947824" name="Picture 176" descr="aia logo - CHILDREN'S WISHING WELL">
            <a:extLst>
              <a:ext uri="{FF2B5EF4-FFF2-40B4-BE49-F238E27FC236}">
                <a16:creationId xmlns:a16="http://schemas.microsoft.com/office/drawing/2014/main" id="{0FCF0CC2-244C-48C4-9366-B443D6DBA55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026" y="48103"/>
            <a:ext cx="829353" cy="882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3462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5DE2A-57AA-4F4F-A8F8-72D2DBB0A076}"/>
              </a:ext>
            </a:extLst>
          </p:cNvPr>
          <p:cNvSpPr>
            <a:spLocks noGrp="1"/>
          </p:cNvSpPr>
          <p:nvPr>
            <p:ph type="title"/>
          </p:nvPr>
        </p:nvSpPr>
        <p:spPr/>
        <p:txBody>
          <a:bodyPr/>
          <a:lstStyle/>
          <a:p>
            <a:r>
              <a:rPr lang="en-US" dirty="0"/>
              <a:t>We have a team of expertise for our four core Data &amp; Analytics capabilities, who will be supporting AIAT’s technology, digital and analytics journey</a:t>
            </a:r>
          </a:p>
        </p:txBody>
      </p:sp>
      <p:graphicFrame>
        <p:nvGraphicFramePr>
          <p:cNvPr id="5" name="Group 17">
            <a:extLst>
              <a:ext uri="{FF2B5EF4-FFF2-40B4-BE49-F238E27FC236}">
                <a16:creationId xmlns:a16="http://schemas.microsoft.com/office/drawing/2014/main" id="{88356A9E-F938-4423-B792-E197F0BB7EFA}"/>
              </a:ext>
            </a:extLst>
          </p:cNvPr>
          <p:cNvGraphicFramePr>
            <a:graphicFrameLocks noGrp="1"/>
          </p:cNvGraphicFramePr>
          <p:nvPr>
            <p:extLst>
              <p:ext uri="{D42A27DB-BD31-4B8C-83A1-F6EECF244321}">
                <p14:modId xmlns:p14="http://schemas.microsoft.com/office/powerpoint/2010/main" val="3019732890"/>
              </p:ext>
            </p:extLst>
          </p:nvPr>
        </p:nvGraphicFramePr>
        <p:xfrm>
          <a:off x="861536" y="2324795"/>
          <a:ext cx="10979148" cy="3798159"/>
        </p:xfrm>
        <a:graphic>
          <a:graphicData uri="http://schemas.openxmlformats.org/drawingml/2006/table">
            <a:tbl>
              <a:tblPr/>
              <a:tblGrid>
                <a:gridCol w="2744787">
                  <a:extLst>
                    <a:ext uri="{9D8B030D-6E8A-4147-A177-3AD203B41FA5}">
                      <a16:colId xmlns:a16="http://schemas.microsoft.com/office/drawing/2014/main" val="20000"/>
                    </a:ext>
                  </a:extLst>
                </a:gridCol>
                <a:gridCol w="2744787">
                  <a:extLst>
                    <a:ext uri="{9D8B030D-6E8A-4147-A177-3AD203B41FA5}">
                      <a16:colId xmlns:a16="http://schemas.microsoft.com/office/drawing/2014/main" val="20001"/>
                    </a:ext>
                  </a:extLst>
                </a:gridCol>
                <a:gridCol w="2744787">
                  <a:extLst>
                    <a:ext uri="{9D8B030D-6E8A-4147-A177-3AD203B41FA5}">
                      <a16:colId xmlns:a16="http://schemas.microsoft.com/office/drawing/2014/main" val="20002"/>
                    </a:ext>
                  </a:extLst>
                </a:gridCol>
                <a:gridCol w="2744787">
                  <a:extLst>
                    <a:ext uri="{9D8B030D-6E8A-4147-A177-3AD203B41FA5}">
                      <a16:colId xmlns:a16="http://schemas.microsoft.com/office/drawing/2014/main" val="3265212100"/>
                    </a:ext>
                  </a:extLst>
                </a:gridCol>
              </a:tblGrid>
              <a:tr h="297646">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0000"/>
                        </a:spcBef>
                        <a:spcAft>
                          <a:spcPct val="0"/>
                        </a:spcAft>
                        <a:buClr>
                          <a:srgbClr val="FFD200"/>
                        </a:buClr>
                        <a:buSzPct val="75000"/>
                        <a:buFontTx/>
                        <a:buNone/>
                        <a:tabLst/>
                        <a:defRPr/>
                      </a:pPr>
                      <a:r>
                        <a:rPr kumimoji="0" lang="en-US" sz="12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Arial" pitchFamily="34" charset="0"/>
                        </a:rPr>
                        <a:t>Data Governance</a:t>
                      </a:r>
                      <a:endParaRPr kumimoji="0" lang="en-US" sz="1200" b="1" i="0" u="none" strike="noStrike" cap="none" normalizeH="0" baseline="0" dirty="0">
                        <a:ln>
                          <a:noFill/>
                        </a:ln>
                        <a:solidFill>
                          <a:schemeClr val="bg1"/>
                        </a:solidFill>
                        <a:effectLst/>
                        <a:latin typeface="EYInterstate" panose="02000503020000020004" pitchFamily="2" charset="0"/>
                        <a:cs typeface="Arial" pitchFamily="34" charset="0"/>
                      </a:endParaRPr>
                    </a:p>
                  </a:txBody>
                  <a:tcPr marL="99060" marR="99060" anchor="ctr"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333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0000"/>
                        </a:spcBef>
                        <a:spcAft>
                          <a:spcPct val="0"/>
                        </a:spcAft>
                        <a:buClr>
                          <a:srgbClr val="FFD200"/>
                        </a:buClr>
                        <a:buSzPct val="75000"/>
                        <a:buFontTx/>
                        <a:buNone/>
                        <a:tabLst/>
                      </a:pPr>
                      <a:r>
                        <a:rPr kumimoji="0" lang="en-US" sz="1200" b="1" i="0" u="none" strike="noStrike" cap="none" normalizeH="0" baseline="0" dirty="0">
                          <a:ln>
                            <a:noFill/>
                          </a:ln>
                          <a:solidFill>
                            <a:schemeClr val="tx2"/>
                          </a:solidFill>
                          <a:effectLst/>
                          <a:latin typeface="EYInterstate" panose="02000503020000020004" pitchFamily="2" charset="0"/>
                          <a:cs typeface="Arial" pitchFamily="34" charset="0"/>
                        </a:rPr>
                        <a:t>BI/Analytics</a:t>
                      </a:r>
                    </a:p>
                  </a:txBody>
                  <a:tcPr marL="99060" marR="99060" anchor="ctr"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3333"/>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0000"/>
                        </a:spcBef>
                        <a:spcAft>
                          <a:spcPct val="0"/>
                        </a:spcAft>
                        <a:buClr>
                          <a:srgbClr val="FFD200"/>
                        </a:buClr>
                        <a:buSzPct val="75000"/>
                        <a:buFontTx/>
                        <a:buNone/>
                        <a:tabLst/>
                        <a:defRPr/>
                      </a:pPr>
                      <a:r>
                        <a:rPr kumimoji="0" lang="en-US" sz="12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Arial" pitchFamily="34" charset="0"/>
                        </a:rPr>
                        <a:t>Information Management</a:t>
                      </a:r>
                      <a:endParaRPr kumimoji="0" lang="en-US" sz="1200" b="1" i="0" u="none" strike="noStrike" cap="none" normalizeH="0" baseline="0" dirty="0">
                        <a:ln>
                          <a:noFill/>
                        </a:ln>
                        <a:solidFill>
                          <a:schemeClr val="bg1"/>
                        </a:solidFill>
                        <a:effectLst/>
                        <a:latin typeface="EYInterstate" panose="02000503020000020004" pitchFamily="2" charset="0"/>
                        <a:cs typeface="Arial" pitchFamily="34" charset="0"/>
                      </a:endParaRPr>
                    </a:p>
                  </a:txBody>
                  <a:tcPr marL="99060" marR="99060" anchor="ctr"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3333"/>
                    </a:solidFill>
                  </a:tcPr>
                </a:tc>
                <a:tc>
                  <a:txBody>
                    <a:bodyPr/>
                    <a:lstStyle>
                      <a:lvl1pPr marL="0" algn="l" defTabSz="1148930" rtl="0" eaLnBrk="1" latinLnBrk="0" hangingPunct="1">
                        <a:defRPr sz="2261" kern="1200">
                          <a:solidFill>
                            <a:schemeClr val="tx1"/>
                          </a:solidFill>
                          <a:latin typeface="Arial"/>
                        </a:defRPr>
                      </a:lvl1pPr>
                      <a:lvl2pPr marL="574464" algn="l" defTabSz="1148930" rtl="0" eaLnBrk="1" latinLnBrk="0" hangingPunct="1">
                        <a:defRPr sz="2261" kern="1200">
                          <a:solidFill>
                            <a:schemeClr val="tx1"/>
                          </a:solidFill>
                          <a:latin typeface="Arial"/>
                        </a:defRPr>
                      </a:lvl2pPr>
                      <a:lvl3pPr marL="1148930" algn="l" defTabSz="1148930" rtl="0" eaLnBrk="1" latinLnBrk="0" hangingPunct="1">
                        <a:defRPr sz="2261" kern="1200">
                          <a:solidFill>
                            <a:schemeClr val="tx1"/>
                          </a:solidFill>
                          <a:latin typeface="Arial"/>
                        </a:defRPr>
                      </a:lvl3pPr>
                      <a:lvl4pPr marL="1723396" algn="l" defTabSz="1148930" rtl="0" eaLnBrk="1" latinLnBrk="0" hangingPunct="1">
                        <a:defRPr sz="2261" kern="1200">
                          <a:solidFill>
                            <a:schemeClr val="tx1"/>
                          </a:solidFill>
                          <a:latin typeface="Arial"/>
                        </a:defRPr>
                      </a:lvl4pPr>
                      <a:lvl5pPr marL="2297863" algn="l" defTabSz="1148930" rtl="0" eaLnBrk="1" latinLnBrk="0" hangingPunct="1">
                        <a:defRPr sz="2261" kern="1200">
                          <a:solidFill>
                            <a:schemeClr val="tx1"/>
                          </a:solidFill>
                          <a:latin typeface="Arial"/>
                        </a:defRPr>
                      </a:lvl5pPr>
                      <a:lvl6pPr marL="2872327" algn="l" defTabSz="1148930" rtl="0" eaLnBrk="1" latinLnBrk="0" hangingPunct="1">
                        <a:defRPr sz="2261" kern="1200">
                          <a:solidFill>
                            <a:schemeClr val="tx1"/>
                          </a:solidFill>
                          <a:latin typeface="Arial"/>
                        </a:defRPr>
                      </a:lvl6pPr>
                      <a:lvl7pPr marL="3446790" algn="l" defTabSz="1148930" rtl="0" eaLnBrk="1" latinLnBrk="0" hangingPunct="1">
                        <a:defRPr sz="2261" kern="1200">
                          <a:solidFill>
                            <a:schemeClr val="tx1"/>
                          </a:solidFill>
                          <a:latin typeface="Arial"/>
                        </a:defRPr>
                      </a:lvl7pPr>
                      <a:lvl8pPr marL="4021257" algn="l" defTabSz="1148930" rtl="0" eaLnBrk="1" latinLnBrk="0" hangingPunct="1">
                        <a:defRPr sz="2261" kern="1200">
                          <a:solidFill>
                            <a:schemeClr val="tx1"/>
                          </a:solidFill>
                          <a:latin typeface="Arial"/>
                        </a:defRPr>
                      </a:lvl8pPr>
                      <a:lvl9pPr marL="4595721" algn="l" defTabSz="1148930" rtl="0" eaLnBrk="1" latinLnBrk="0" hangingPunct="1">
                        <a:defRPr sz="2261" kern="1200">
                          <a:solidFill>
                            <a:schemeClr val="tx1"/>
                          </a:solidFill>
                          <a:latin typeface="Arial"/>
                        </a:defRPr>
                      </a:lvl9pPr>
                    </a:lstStyle>
                    <a:p>
                      <a:pPr marL="0" marR="0" lvl="0" indent="0" algn="ctr" defTabSz="914400" rtl="0" eaLnBrk="1" fontAlgn="base" latinLnBrk="0" hangingPunct="1">
                        <a:lnSpc>
                          <a:spcPct val="100000"/>
                        </a:lnSpc>
                        <a:spcBef>
                          <a:spcPct val="30000"/>
                        </a:spcBef>
                        <a:spcAft>
                          <a:spcPct val="0"/>
                        </a:spcAft>
                        <a:buClr>
                          <a:srgbClr val="FFD200"/>
                        </a:buClr>
                        <a:buSzPct val="75000"/>
                        <a:buFontTx/>
                        <a:buNone/>
                        <a:tabLst/>
                        <a:defRPr/>
                      </a:pPr>
                      <a:r>
                        <a:rPr kumimoji="0" lang="en-US" sz="1200" b="1" i="0" u="none" strike="noStrike" cap="none" normalizeH="0" baseline="0" dirty="0">
                          <a:ln>
                            <a:noFill/>
                          </a:ln>
                          <a:solidFill>
                            <a:schemeClr val="tx2"/>
                          </a:solidFill>
                          <a:effectLst/>
                          <a:latin typeface="EYInterstate" panose="02000503020000020004" pitchFamily="2" charset="0"/>
                          <a:cs typeface="Arial" pitchFamily="34" charset="0"/>
                        </a:rPr>
                        <a:t>AI/Machine Learning</a:t>
                      </a:r>
                    </a:p>
                  </a:txBody>
                  <a:tcPr marL="99060" marR="99060" anchor="ctr"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1116702">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0000"/>
                        </a:spcBef>
                        <a:spcAft>
                          <a:spcPts val="500"/>
                        </a:spcAft>
                        <a:buClr>
                          <a:srgbClr val="FFD200"/>
                        </a:buClr>
                        <a:buSzPct val="75000"/>
                        <a:buFontTx/>
                        <a:buNone/>
                        <a:tabLst/>
                      </a:pPr>
                      <a:r>
                        <a:rPr kumimoji="0" lang="en-US" sz="1000" b="0" i="0" u="none" strike="noStrike" cap="none" normalizeH="0" baseline="0" dirty="0">
                          <a:ln>
                            <a:noFill/>
                          </a:ln>
                          <a:solidFill>
                            <a:srgbClr val="333333"/>
                          </a:solidFill>
                          <a:effectLst/>
                          <a:latin typeface="EYInterstate Light" panose="02000506000000020004" pitchFamily="2" charset="0"/>
                          <a:cs typeface="Arial" pitchFamily="34" charset="0"/>
                        </a:rPr>
                        <a:t>EY helps our clients better manage enterprise data and feel confident in its accuracy and reliability by executing data governance policies and standards.</a:t>
                      </a:r>
                    </a:p>
                    <a:p>
                      <a:pPr marL="0" marR="0" lvl="0" indent="0" algn="l" defTabSz="914400" rtl="0" eaLnBrk="1" fontAlgn="base" latinLnBrk="0" hangingPunct="1">
                        <a:lnSpc>
                          <a:spcPct val="100000"/>
                        </a:lnSpc>
                        <a:spcBef>
                          <a:spcPct val="30000"/>
                        </a:spcBef>
                        <a:spcAft>
                          <a:spcPts val="500"/>
                        </a:spcAft>
                        <a:buClr>
                          <a:srgbClr val="FFD200"/>
                        </a:buClr>
                        <a:buSzPct val="75000"/>
                        <a:buFontTx/>
                        <a:buNone/>
                        <a:tabLst/>
                      </a:pPr>
                      <a:endParaRPr kumimoji="0" lang="en-US" sz="1000" b="0" i="0" u="none" strike="noStrike" cap="none" normalizeH="0" baseline="0" dirty="0">
                        <a:ln>
                          <a:noFill/>
                        </a:ln>
                        <a:solidFill>
                          <a:srgbClr val="333333"/>
                        </a:solidFill>
                        <a:effectLst/>
                        <a:latin typeface="EYInterstate Light" panose="02000506000000020004" pitchFamily="2" charset="0"/>
                        <a:cs typeface="Arial" pitchFamily="34" charset="0"/>
                      </a:endParaRPr>
                    </a:p>
                    <a:p>
                      <a:pPr marL="0" marR="0" lvl="0" indent="0" algn="l" defTabSz="914400" rtl="0" eaLnBrk="1" fontAlgn="base" latinLnBrk="0" hangingPunct="1">
                        <a:lnSpc>
                          <a:spcPct val="100000"/>
                        </a:lnSpc>
                        <a:spcBef>
                          <a:spcPct val="30000"/>
                        </a:spcBef>
                        <a:spcAft>
                          <a:spcPts val="500"/>
                        </a:spcAft>
                        <a:buClr>
                          <a:srgbClr val="FFD200"/>
                        </a:buClr>
                        <a:buSzPct val="75000"/>
                        <a:buFontTx/>
                        <a:buNone/>
                        <a:tabLst/>
                      </a:pPr>
                      <a:endParaRPr kumimoji="0" lang="en-US" sz="1000" b="0" i="0" u="none" strike="noStrike" cap="none" normalizeH="0" baseline="0" dirty="0">
                        <a:ln>
                          <a:noFill/>
                        </a:ln>
                        <a:solidFill>
                          <a:srgbClr val="333333"/>
                        </a:solidFill>
                        <a:effectLst/>
                        <a:latin typeface="EYInterstate Light" panose="02000506000000020004" pitchFamily="2" charset="0"/>
                        <a:cs typeface="Arial" pitchFamily="34" charset="0"/>
                      </a:endParaRPr>
                    </a:p>
                  </a:txBody>
                  <a:tcPr marL="99060" marR="9906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FFFFFF">
                        <a:lumMod val="95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0000"/>
                        </a:spcBef>
                        <a:spcAft>
                          <a:spcPts val="500"/>
                        </a:spcAft>
                        <a:buClr>
                          <a:srgbClr val="FFD200"/>
                        </a:buClr>
                        <a:buSzPct val="75000"/>
                        <a:buFontTx/>
                        <a:buNone/>
                        <a:tabLst/>
                        <a:defRPr/>
                      </a:pPr>
                      <a:r>
                        <a:rPr kumimoji="0" lang="en-US" sz="1000" b="0" i="0" u="none" strike="noStrike" cap="none" normalizeH="0" baseline="0" dirty="0">
                          <a:ln>
                            <a:noFill/>
                          </a:ln>
                          <a:solidFill>
                            <a:srgbClr val="333333"/>
                          </a:solidFill>
                          <a:effectLst/>
                          <a:latin typeface="EYInterstate Light" panose="02000506000000020004" pitchFamily="2" charset="0"/>
                          <a:cs typeface="Arial" pitchFamily="34" charset="0"/>
                        </a:rPr>
                        <a:t>EY helps our clients realize the full potential of their data through effective reporting and analysis and key metrics. Furthermore, </a:t>
                      </a: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Arial" pitchFamily="34" charset="0"/>
                        </a:rPr>
                        <a:t>EY helps our clients with a comprehensive set of capabilities to analyze and review business data for key indicators. </a:t>
                      </a:r>
                    </a:p>
                  </a:txBody>
                  <a:tcPr marL="99060" marR="9906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FFFFFF">
                        <a:lumMod val="95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0000"/>
                        </a:spcBef>
                        <a:spcAft>
                          <a:spcPts val="500"/>
                        </a:spcAft>
                        <a:buClr>
                          <a:srgbClr val="FFD200"/>
                        </a:buClr>
                        <a:buSzPct val="75000"/>
                        <a:buFontTx/>
                        <a:buNone/>
                        <a:tabLst/>
                      </a:pPr>
                      <a:r>
                        <a:rPr kumimoji="0" lang="en-US" sz="1000" b="0" i="0" u="none" strike="noStrike" cap="none" normalizeH="0" baseline="0" dirty="0">
                          <a:ln>
                            <a:noFill/>
                          </a:ln>
                          <a:solidFill>
                            <a:srgbClr val="333333"/>
                          </a:solidFill>
                          <a:effectLst/>
                          <a:latin typeface="EYInterstate Light" panose="02000506000000020004" pitchFamily="2" charset="0"/>
                          <a:cs typeface="Arial" pitchFamily="34" charset="0"/>
                        </a:rPr>
                        <a:t>EY helps our clients develop strategic information plans and blueprints for collecting, storing, maintaining, recalling and using data through the full data lifecycle.</a:t>
                      </a:r>
                    </a:p>
                  </a:txBody>
                  <a:tcPr marL="99060" marR="9906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1148930" rtl="0" eaLnBrk="1" latinLnBrk="0" hangingPunct="1">
                        <a:defRPr sz="2261" kern="1200">
                          <a:solidFill>
                            <a:schemeClr val="tx1"/>
                          </a:solidFill>
                          <a:latin typeface="Arial"/>
                        </a:defRPr>
                      </a:lvl1pPr>
                      <a:lvl2pPr marL="574464" algn="l" defTabSz="1148930" rtl="0" eaLnBrk="1" latinLnBrk="0" hangingPunct="1">
                        <a:defRPr sz="2261" kern="1200">
                          <a:solidFill>
                            <a:schemeClr val="tx1"/>
                          </a:solidFill>
                          <a:latin typeface="Arial"/>
                        </a:defRPr>
                      </a:lvl2pPr>
                      <a:lvl3pPr marL="1148930" algn="l" defTabSz="1148930" rtl="0" eaLnBrk="1" latinLnBrk="0" hangingPunct="1">
                        <a:defRPr sz="2261" kern="1200">
                          <a:solidFill>
                            <a:schemeClr val="tx1"/>
                          </a:solidFill>
                          <a:latin typeface="Arial"/>
                        </a:defRPr>
                      </a:lvl3pPr>
                      <a:lvl4pPr marL="1723396" algn="l" defTabSz="1148930" rtl="0" eaLnBrk="1" latinLnBrk="0" hangingPunct="1">
                        <a:defRPr sz="2261" kern="1200">
                          <a:solidFill>
                            <a:schemeClr val="tx1"/>
                          </a:solidFill>
                          <a:latin typeface="Arial"/>
                        </a:defRPr>
                      </a:lvl4pPr>
                      <a:lvl5pPr marL="2297863" algn="l" defTabSz="1148930" rtl="0" eaLnBrk="1" latinLnBrk="0" hangingPunct="1">
                        <a:defRPr sz="2261" kern="1200">
                          <a:solidFill>
                            <a:schemeClr val="tx1"/>
                          </a:solidFill>
                          <a:latin typeface="Arial"/>
                        </a:defRPr>
                      </a:lvl5pPr>
                      <a:lvl6pPr marL="2872327" algn="l" defTabSz="1148930" rtl="0" eaLnBrk="1" latinLnBrk="0" hangingPunct="1">
                        <a:defRPr sz="2261" kern="1200">
                          <a:solidFill>
                            <a:schemeClr val="tx1"/>
                          </a:solidFill>
                          <a:latin typeface="Arial"/>
                        </a:defRPr>
                      </a:lvl6pPr>
                      <a:lvl7pPr marL="3446790" algn="l" defTabSz="1148930" rtl="0" eaLnBrk="1" latinLnBrk="0" hangingPunct="1">
                        <a:defRPr sz="2261" kern="1200">
                          <a:solidFill>
                            <a:schemeClr val="tx1"/>
                          </a:solidFill>
                          <a:latin typeface="Arial"/>
                        </a:defRPr>
                      </a:lvl7pPr>
                      <a:lvl8pPr marL="4021257" algn="l" defTabSz="1148930" rtl="0" eaLnBrk="1" latinLnBrk="0" hangingPunct="1">
                        <a:defRPr sz="2261" kern="1200">
                          <a:solidFill>
                            <a:schemeClr val="tx1"/>
                          </a:solidFill>
                          <a:latin typeface="Arial"/>
                        </a:defRPr>
                      </a:lvl8pPr>
                      <a:lvl9pPr marL="4595721" algn="l" defTabSz="1148930" rtl="0" eaLnBrk="1" latinLnBrk="0" hangingPunct="1">
                        <a:defRPr sz="2261" kern="1200">
                          <a:solidFill>
                            <a:schemeClr val="tx1"/>
                          </a:solidFill>
                          <a:latin typeface="Arial"/>
                        </a:defRPr>
                      </a:lvl9pPr>
                    </a:lstStyle>
                    <a:p>
                      <a:pPr marL="0" marR="0" lvl="0" indent="0" algn="l" defTabSz="914400" rtl="0" eaLnBrk="1" fontAlgn="base" latinLnBrk="0" hangingPunct="1">
                        <a:lnSpc>
                          <a:spcPct val="100000"/>
                        </a:lnSpc>
                        <a:spcBef>
                          <a:spcPct val="30000"/>
                        </a:spcBef>
                        <a:spcAft>
                          <a:spcPts val="500"/>
                        </a:spcAft>
                        <a:buClr>
                          <a:srgbClr val="FFD200"/>
                        </a:buClr>
                        <a:buSzPct val="75000"/>
                        <a:buFontTx/>
                        <a:buNone/>
                        <a:tabLst/>
                        <a:defRPr/>
                      </a:pPr>
                      <a:r>
                        <a:rPr kumimoji="0" lang="en-US" sz="1000" b="0" i="0" u="none" strike="noStrike" cap="none" normalizeH="0" baseline="0" dirty="0">
                          <a:ln>
                            <a:noFill/>
                          </a:ln>
                          <a:solidFill>
                            <a:srgbClr val="333333"/>
                          </a:solidFill>
                          <a:effectLst/>
                          <a:latin typeface="EYInterstate Light" panose="02000506000000020004" pitchFamily="2" charset="0"/>
                          <a:cs typeface="Arial" pitchFamily="34" charset="0"/>
                        </a:rPr>
                        <a:t>EY helps our clients unlock hidden value within structured / unstructured data and deliver transformative business outcomes through the combination of AI technologies such as machine learning, computer vision, natural language processing with data science and analytics.</a:t>
                      </a:r>
                    </a:p>
                  </a:txBody>
                  <a:tcPr marL="99060" marR="9906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FFFFFF">
                        <a:lumMod val="95000"/>
                      </a:srgbClr>
                    </a:solidFill>
                  </a:tcPr>
                </a:tc>
                <a:extLst>
                  <a:ext uri="{0D108BD9-81ED-4DB2-BD59-A6C34878D82A}">
                    <a16:rowId xmlns:a16="http://schemas.microsoft.com/office/drawing/2014/main" val="10001"/>
                  </a:ext>
                </a:extLst>
              </a:tr>
              <a:tr h="2276233">
                <a:tc>
                  <a:txBody>
                    <a:bodyPr/>
                    <a:lstStyle>
                      <a:lvl1pPr marL="0" algn="l" defTabSz="1148930" rtl="0" eaLnBrk="1" latinLnBrk="0" hangingPunct="1">
                        <a:defRPr sz="2261" kern="1200">
                          <a:solidFill>
                            <a:schemeClr val="tx1"/>
                          </a:solidFill>
                          <a:latin typeface="Arial"/>
                        </a:defRPr>
                      </a:lvl1pPr>
                      <a:lvl2pPr marL="574464" algn="l" defTabSz="1148930" rtl="0" eaLnBrk="1" latinLnBrk="0" hangingPunct="1">
                        <a:defRPr sz="2261" kern="1200">
                          <a:solidFill>
                            <a:schemeClr val="tx1"/>
                          </a:solidFill>
                          <a:latin typeface="Arial"/>
                        </a:defRPr>
                      </a:lvl2pPr>
                      <a:lvl3pPr marL="1148930" algn="l" defTabSz="1148930" rtl="0" eaLnBrk="1" latinLnBrk="0" hangingPunct="1">
                        <a:defRPr sz="2261" kern="1200">
                          <a:solidFill>
                            <a:schemeClr val="tx1"/>
                          </a:solidFill>
                          <a:latin typeface="Arial"/>
                        </a:defRPr>
                      </a:lvl3pPr>
                      <a:lvl4pPr marL="1723396" algn="l" defTabSz="1148930" rtl="0" eaLnBrk="1" latinLnBrk="0" hangingPunct="1">
                        <a:defRPr sz="2261" kern="1200">
                          <a:solidFill>
                            <a:schemeClr val="tx1"/>
                          </a:solidFill>
                          <a:latin typeface="Arial"/>
                        </a:defRPr>
                      </a:lvl4pPr>
                      <a:lvl5pPr marL="2297863" algn="l" defTabSz="1148930" rtl="0" eaLnBrk="1" latinLnBrk="0" hangingPunct="1">
                        <a:defRPr sz="2261" kern="1200">
                          <a:solidFill>
                            <a:schemeClr val="tx1"/>
                          </a:solidFill>
                          <a:latin typeface="Arial"/>
                        </a:defRPr>
                      </a:lvl5pPr>
                      <a:lvl6pPr marL="2872327" algn="l" defTabSz="1148930" rtl="0" eaLnBrk="1" latinLnBrk="0" hangingPunct="1">
                        <a:defRPr sz="2261" kern="1200">
                          <a:solidFill>
                            <a:schemeClr val="tx1"/>
                          </a:solidFill>
                          <a:latin typeface="Arial"/>
                        </a:defRPr>
                      </a:lvl6pPr>
                      <a:lvl7pPr marL="3446790" algn="l" defTabSz="1148930" rtl="0" eaLnBrk="1" latinLnBrk="0" hangingPunct="1">
                        <a:defRPr sz="2261" kern="1200">
                          <a:solidFill>
                            <a:schemeClr val="tx1"/>
                          </a:solidFill>
                          <a:latin typeface="Arial"/>
                        </a:defRPr>
                      </a:lvl7pPr>
                      <a:lvl8pPr marL="4021257" algn="l" defTabSz="1148930" rtl="0" eaLnBrk="1" latinLnBrk="0" hangingPunct="1">
                        <a:defRPr sz="2261" kern="1200">
                          <a:solidFill>
                            <a:schemeClr val="tx1"/>
                          </a:solidFill>
                          <a:latin typeface="Arial"/>
                        </a:defRPr>
                      </a:lvl8pPr>
                      <a:lvl9pPr marL="4595721" algn="l" defTabSz="1148930" rtl="0" eaLnBrk="1" latinLnBrk="0" hangingPunct="1">
                        <a:defRPr sz="2261" kern="1200">
                          <a:solidFill>
                            <a:schemeClr val="tx1"/>
                          </a:solidFill>
                          <a:latin typeface="Arial"/>
                        </a:defRPr>
                      </a:lvl9pPr>
                    </a:lstStyle>
                    <a:p>
                      <a:pPr marL="0" marR="0" lvl="0" indent="0" algn="l" defTabSz="914400" rtl="0" eaLnBrk="1" fontAlgn="base" latinLnBrk="0" hangingPunct="1">
                        <a:lnSpc>
                          <a:spcPct val="100000"/>
                        </a:lnSpc>
                        <a:spcBef>
                          <a:spcPct val="30000"/>
                        </a:spcBef>
                        <a:spcAft>
                          <a:spcPts val="200"/>
                        </a:spcAft>
                        <a:buClr>
                          <a:srgbClr val="FFD200"/>
                        </a:buClr>
                        <a:buSzPct val="75000"/>
                        <a:buFontTx/>
                        <a:buNone/>
                        <a:tabLst/>
                      </a:pPr>
                      <a:r>
                        <a:rPr kumimoji="0" lang="en-US" sz="1000" b="1" i="0" u="none" strike="noStrike" cap="none" normalizeH="0" baseline="0" dirty="0">
                          <a:ln>
                            <a:noFill/>
                          </a:ln>
                          <a:solidFill>
                            <a:srgbClr val="333333"/>
                          </a:solidFill>
                          <a:effectLst/>
                          <a:latin typeface="EYInterstate Light" panose="02000506000000020004" pitchFamily="2" charset="0"/>
                          <a:cs typeface="Arial" pitchFamily="34" charset="0"/>
                        </a:rPr>
                        <a:t>Our services include:</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ata governance current state assessment, target state vision and initiatives roadmap</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Build policies, processes and procedures for sustainability</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ata governance organization model, KPIs &amp; dashboards</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ata accessibility, availability, integrity and consistency</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ata quality control</a:t>
                      </a:r>
                    </a:p>
                  </a:txBody>
                  <a:tcPr marL="99060" marR="9906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1148930" rtl="0" eaLnBrk="1" latinLnBrk="0" hangingPunct="1">
                        <a:defRPr sz="2261" kern="1200">
                          <a:solidFill>
                            <a:schemeClr val="tx1"/>
                          </a:solidFill>
                          <a:latin typeface="Arial"/>
                        </a:defRPr>
                      </a:lvl1pPr>
                      <a:lvl2pPr marL="574464" algn="l" defTabSz="1148930" rtl="0" eaLnBrk="1" latinLnBrk="0" hangingPunct="1">
                        <a:defRPr sz="2261" kern="1200">
                          <a:solidFill>
                            <a:schemeClr val="tx1"/>
                          </a:solidFill>
                          <a:latin typeface="Arial"/>
                        </a:defRPr>
                      </a:lvl2pPr>
                      <a:lvl3pPr marL="1148930" algn="l" defTabSz="1148930" rtl="0" eaLnBrk="1" latinLnBrk="0" hangingPunct="1">
                        <a:defRPr sz="2261" kern="1200">
                          <a:solidFill>
                            <a:schemeClr val="tx1"/>
                          </a:solidFill>
                          <a:latin typeface="Arial"/>
                        </a:defRPr>
                      </a:lvl3pPr>
                      <a:lvl4pPr marL="1723396" algn="l" defTabSz="1148930" rtl="0" eaLnBrk="1" latinLnBrk="0" hangingPunct="1">
                        <a:defRPr sz="2261" kern="1200">
                          <a:solidFill>
                            <a:schemeClr val="tx1"/>
                          </a:solidFill>
                          <a:latin typeface="Arial"/>
                        </a:defRPr>
                      </a:lvl4pPr>
                      <a:lvl5pPr marL="2297863" algn="l" defTabSz="1148930" rtl="0" eaLnBrk="1" latinLnBrk="0" hangingPunct="1">
                        <a:defRPr sz="2261" kern="1200">
                          <a:solidFill>
                            <a:schemeClr val="tx1"/>
                          </a:solidFill>
                          <a:latin typeface="Arial"/>
                        </a:defRPr>
                      </a:lvl5pPr>
                      <a:lvl6pPr marL="2872327" algn="l" defTabSz="1148930" rtl="0" eaLnBrk="1" latinLnBrk="0" hangingPunct="1">
                        <a:defRPr sz="2261" kern="1200">
                          <a:solidFill>
                            <a:schemeClr val="tx1"/>
                          </a:solidFill>
                          <a:latin typeface="Arial"/>
                        </a:defRPr>
                      </a:lvl6pPr>
                      <a:lvl7pPr marL="3446790" algn="l" defTabSz="1148930" rtl="0" eaLnBrk="1" latinLnBrk="0" hangingPunct="1">
                        <a:defRPr sz="2261" kern="1200">
                          <a:solidFill>
                            <a:schemeClr val="tx1"/>
                          </a:solidFill>
                          <a:latin typeface="Arial"/>
                        </a:defRPr>
                      </a:lvl7pPr>
                      <a:lvl8pPr marL="4021257" algn="l" defTabSz="1148930" rtl="0" eaLnBrk="1" latinLnBrk="0" hangingPunct="1">
                        <a:defRPr sz="2261" kern="1200">
                          <a:solidFill>
                            <a:schemeClr val="tx1"/>
                          </a:solidFill>
                          <a:latin typeface="Arial"/>
                        </a:defRPr>
                      </a:lvl8pPr>
                      <a:lvl9pPr marL="4595721" algn="l" defTabSz="1148930" rtl="0" eaLnBrk="1" latinLnBrk="0" hangingPunct="1">
                        <a:defRPr sz="2261" kern="1200">
                          <a:solidFill>
                            <a:schemeClr val="tx1"/>
                          </a:solidFill>
                          <a:latin typeface="Arial"/>
                        </a:defRPr>
                      </a:lvl9pPr>
                    </a:lstStyle>
                    <a:p>
                      <a:pPr marL="0" marR="0" lvl="0" indent="0" algn="l" defTabSz="914400" rtl="0" eaLnBrk="1" fontAlgn="base" latinLnBrk="0" hangingPunct="1">
                        <a:lnSpc>
                          <a:spcPct val="100000"/>
                        </a:lnSpc>
                        <a:spcBef>
                          <a:spcPct val="30000"/>
                        </a:spcBef>
                        <a:spcAft>
                          <a:spcPts val="200"/>
                        </a:spcAft>
                        <a:buClr>
                          <a:srgbClr val="FFD200"/>
                        </a:buClr>
                        <a:buSzPct val="75000"/>
                        <a:buFontTx/>
                        <a:buNone/>
                        <a:tabLst/>
                        <a:defRPr/>
                      </a:pPr>
                      <a:r>
                        <a:rPr kumimoji="0" lang="en-US" sz="1000" b="1" i="0" u="none" strike="noStrike" cap="none" normalizeH="0" baseline="0" dirty="0">
                          <a:ln>
                            <a:noFill/>
                          </a:ln>
                          <a:solidFill>
                            <a:srgbClr val="333333"/>
                          </a:solidFill>
                          <a:effectLst/>
                          <a:latin typeface="EYInterstate Light" panose="02000506000000020004" pitchFamily="2" charset="0"/>
                          <a:cs typeface="Arial" pitchFamily="34" charset="0"/>
                        </a:rPr>
                        <a:t>Our services include:</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BI/Analytics blueprint </a:t>
                      </a:r>
                      <a:endPar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Arial" pitchFamily="34" charset="0"/>
                      </a:endParaRP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Arial" pitchFamily="34" charset="0"/>
                        </a:rPr>
                        <a:t>Visualization &amp; reporting using BI tools </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Arial" pitchFamily="34" charset="0"/>
                        </a:rPr>
                        <a:t>Mobile management dashboards using agile methodology</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Arial" pitchFamily="34" charset="0"/>
                        </a:rPr>
                        <a:t>Banking analytics across marketing, collections, operations, fraud, AML upgrade or migration</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Arial" pitchFamily="34" charset="0"/>
                        </a:rPr>
                        <a:t> Out of box insurance analytics like persistency, early claims, fraud claim, price optimization and underwriting</a:t>
                      </a:r>
                    </a:p>
                  </a:txBody>
                  <a:tcPr marL="99060" marR="9906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1148930" rtl="0" eaLnBrk="1" latinLnBrk="0" hangingPunct="1">
                        <a:defRPr sz="2261" kern="1200">
                          <a:solidFill>
                            <a:schemeClr val="tx1"/>
                          </a:solidFill>
                          <a:latin typeface="Arial"/>
                        </a:defRPr>
                      </a:lvl1pPr>
                      <a:lvl2pPr marL="574464" algn="l" defTabSz="1148930" rtl="0" eaLnBrk="1" latinLnBrk="0" hangingPunct="1">
                        <a:defRPr sz="2261" kern="1200">
                          <a:solidFill>
                            <a:schemeClr val="tx1"/>
                          </a:solidFill>
                          <a:latin typeface="Arial"/>
                        </a:defRPr>
                      </a:lvl2pPr>
                      <a:lvl3pPr marL="1148930" algn="l" defTabSz="1148930" rtl="0" eaLnBrk="1" latinLnBrk="0" hangingPunct="1">
                        <a:defRPr sz="2261" kern="1200">
                          <a:solidFill>
                            <a:schemeClr val="tx1"/>
                          </a:solidFill>
                          <a:latin typeface="Arial"/>
                        </a:defRPr>
                      </a:lvl3pPr>
                      <a:lvl4pPr marL="1723396" algn="l" defTabSz="1148930" rtl="0" eaLnBrk="1" latinLnBrk="0" hangingPunct="1">
                        <a:defRPr sz="2261" kern="1200">
                          <a:solidFill>
                            <a:schemeClr val="tx1"/>
                          </a:solidFill>
                          <a:latin typeface="Arial"/>
                        </a:defRPr>
                      </a:lvl4pPr>
                      <a:lvl5pPr marL="2297863" algn="l" defTabSz="1148930" rtl="0" eaLnBrk="1" latinLnBrk="0" hangingPunct="1">
                        <a:defRPr sz="2261" kern="1200">
                          <a:solidFill>
                            <a:schemeClr val="tx1"/>
                          </a:solidFill>
                          <a:latin typeface="Arial"/>
                        </a:defRPr>
                      </a:lvl5pPr>
                      <a:lvl6pPr marL="2872327" algn="l" defTabSz="1148930" rtl="0" eaLnBrk="1" latinLnBrk="0" hangingPunct="1">
                        <a:defRPr sz="2261" kern="1200">
                          <a:solidFill>
                            <a:schemeClr val="tx1"/>
                          </a:solidFill>
                          <a:latin typeface="Arial"/>
                        </a:defRPr>
                      </a:lvl6pPr>
                      <a:lvl7pPr marL="3446790" algn="l" defTabSz="1148930" rtl="0" eaLnBrk="1" latinLnBrk="0" hangingPunct="1">
                        <a:defRPr sz="2261" kern="1200">
                          <a:solidFill>
                            <a:schemeClr val="tx1"/>
                          </a:solidFill>
                          <a:latin typeface="Arial"/>
                        </a:defRPr>
                      </a:lvl7pPr>
                      <a:lvl8pPr marL="4021257" algn="l" defTabSz="1148930" rtl="0" eaLnBrk="1" latinLnBrk="0" hangingPunct="1">
                        <a:defRPr sz="2261" kern="1200">
                          <a:solidFill>
                            <a:schemeClr val="tx1"/>
                          </a:solidFill>
                          <a:latin typeface="Arial"/>
                        </a:defRPr>
                      </a:lvl8pPr>
                      <a:lvl9pPr marL="4595721" algn="l" defTabSz="1148930" rtl="0" eaLnBrk="1" latinLnBrk="0" hangingPunct="1">
                        <a:defRPr sz="2261"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200"/>
                        </a:spcAft>
                        <a:buClr>
                          <a:srgbClr val="FFD200"/>
                        </a:buClr>
                        <a:buSzPct val="75000"/>
                        <a:buFontTx/>
                        <a:buNone/>
                        <a:tabLst/>
                      </a:pPr>
                      <a:r>
                        <a:rPr kumimoji="0" lang="en-US" sz="1000" b="1" i="0" u="none" strike="noStrike" cap="none" normalizeH="0" baseline="0" dirty="0">
                          <a:ln>
                            <a:noFill/>
                          </a:ln>
                          <a:solidFill>
                            <a:srgbClr val="333333"/>
                          </a:solidFill>
                          <a:effectLst/>
                          <a:latin typeface="EYInterstate Light" panose="02000506000000020004" pitchFamily="2" charset="0"/>
                          <a:cs typeface="Arial" pitchFamily="34" charset="0"/>
                        </a:rPr>
                        <a:t>Our services include:</a:t>
                      </a:r>
                    </a:p>
                    <a:p>
                      <a:pPr marL="112713" marR="0" lvl="0" indent="-112713" algn="l" defTabSz="914400" rtl="0" eaLnBrk="0" fontAlgn="base" latinLnBrk="0" hangingPunct="0">
                        <a:lnSpc>
                          <a:spcPts val="1400"/>
                        </a:lnSpc>
                        <a:spcBef>
                          <a:spcPts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ata strategy, architecture and roadmap</a:t>
                      </a:r>
                    </a:p>
                    <a:p>
                      <a:pPr marL="112713" marR="0" lvl="0" indent="-112713" algn="l" defTabSz="914400" rtl="0" eaLnBrk="0" fontAlgn="base" latinLnBrk="0" hangingPunct="0">
                        <a:lnSpc>
                          <a:spcPts val="1400"/>
                        </a:lnSpc>
                        <a:spcBef>
                          <a:spcPts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ata warehouse implementation</a:t>
                      </a:r>
                    </a:p>
                    <a:p>
                      <a:pPr marL="112713" marR="0" lvl="0" indent="-112713" algn="l" defTabSz="914400" rtl="0" eaLnBrk="0" fontAlgn="base" latinLnBrk="0" hangingPunct="0">
                        <a:lnSpc>
                          <a:spcPts val="1400"/>
                        </a:lnSpc>
                        <a:spcBef>
                          <a:spcPts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ata warehouse remediation</a:t>
                      </a:r>
                    </a:p>
                    <a:p>
                      <a:pPr marL="112713" marR="0" lvl="0" indent="-112713" algn="l" defTabSz="914400" rtl="0" eaLnBrk="0" fontAlgn="base" latinLnBrk="0" hangingPunct="0">
                        <a:lnSpc>
                          <a:spcPts val="1400"/>
                        </a:lnSpc>
                        <a:spcBef>
                          <a:spcPts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Big data use case development &amp; implementation</a:t>
                      </a:r>
                    </a:p>
                    <a:p>
                      <a:pPr marL="112713" marR="0" lvl="0" indent="-112713" algn="l" defTabSz="914400" rtl="0" eaLnBrk="0" fontAlgn="base" latinLnBrk="0" hangingPunct="0">
                        <a:lnSpc>
                          <a:spcPts val="1400"/>
                        </a:lnSpc>
                        <a:spcBef>
                          <a:spcPts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ata Migration for BCM &amp; WAM </a:t>
                      </a:r>
                    </a:p>
                    <a:p>
                      <a:pPr marL="112713" marR="0" lvl="0" indent="-112713" algn="l" defTabSz="914400" rtl="0" eaLnBrk="0" fontAlgn="base" latinLnBrk="0" hangingPunct="0">
                        <a:lnSpc>
                          <a:spcPts val="1400"/>
                        </a:lnSpc>
                        <a:spcBef>
                          <a:spcPts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Metadata management</a:t>
                      </a:r>
                    </a:p>
                    <a:p>
                      <a:pPr marL="112713" marR="0" lvl="0" indent="-112713" algn="l" defTabSz="914400" rtl="0" eaLnBrk="0" fontAlgn="base" latinLnBrk="0" hangingPunct="0">
                        <a:lnSpc>
                          <a:spcPts val="1400"/>
                        </a:lnSpc>
                        <a:spcBef>
                          <a:spcPts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Master data management</a:t>
                      </a:r>
                    </a:p>
                    <a:p>
                      <a:pPr marL="112713" marR="0" lvl="0" indent="-112713" algn="l" defTabSz="914400" rtl="0" eaLnBrk="0" fontAlgn="base" latinLnBrk="0" hangingPunct="0">
                        <a:lnSpc>
                          <a:spcPts val="1400"/>
                        </a:lnSpc>
                        <a:spcBef>
                          <a:spcPts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ata Integration including ETL, ELT service</a:t>
                      </a:r>
                    </a:p>
                  </a:txBody>
                  <a:tcPr marL="99060" marR="9906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1148930" rtl="0" eaLnBrk="1" latinLnBrk="0" hangingPunct="1">
                        <a:defRPr sz="2261" kern="1200">
                          <a:solidFill>
                            <a:schemeClr val="tx1"/>
                          </a:solidFill>
                          <a:latin typeface="Arial"/>
                        </a:defRPr>
                      </a:lvl1pPr>
                      <a:lvl2pPr marL="574464" algn="l" defTabSz="1148930" rtl="0" eaLnBrk="1" latinLnBrk="0" hangingPunct="1">
                        <a:defRPr sz="2261" kern="1200">
                          <a:solidFill>
                            <a:schemeClr val="tx1"/>
                          </a:solidFill>
                          <a:latin typeface="Arial"/>
                        </a:defRPr>
                      </a:lvl2pPr>
                      <a:lvl3pPr marL="1148930" algn="l" defTabSz="1148930" rtl="0" eaLnBrk="1" latinLnBrk="0" hangingPunct="1">
                        <a:defRPr sz="2261" kern="1200">
                          <a:solidFill>
                            <a:schemeClr val="tx1"/>
                          </a:solidFill>
                          <a:latin typeface="Arial"/>
                        </a:defRPr>
                      </a:lvl3pPr>
                      <a:lvl4pPr marL="1723396" algn="l" defTabSz="1148930" rtl="0" eaLnBrk="1" latinLnBrk="0" hangingPunct="1">
                        <a:defRPr sz="2261" kern="1200">
                          <a:solidFill>
                            <a:schemeClr val="tx1"/>
                          </a:solidFill>
                          <a:latin typeface="Arial"/>
                        </a:defRPr>
                      </a:lvl4pPr>
                      <a:lvl5pPr marL="2297863" algn="l" defTabSz="1148930" rtl="0" eaLnBrk="1" latinLnBrk="0" hangingPunct="1">
                        <a:defRPr sz="2261" kern="1200">
                          <a:solidFill>
                            <a:schemeClr val="tx1"/>
                          </a:solidFill>
                          <a:latin typeface="Arial"/>
                        </a:defRPr>
                      </a:lvl5pPr>
                      <a:lvl6pPr marL="2872327" algn="l" defTabSz="1148930" rtl="0" eaLnBrk="1" latinLnBrk="0" hangingPunct="1">
                        <a:defRPr sz="2261" kern="1200">
                          <a:solidFill>
                            <a:schemeClr val="tx1"/>
                          </a:solidFill>
                          <a:latin typeface="Arial"/>
                        </a:defRPr>
                      </a:lvl6pPr>
                      <a:lvl7pPr marL="3446790" algn="l" defTabSz="1148930" rtl="0" eaLnBrk="1" latinLnBrk="0" hangingPunct="1">
                        <a:defRPr sz="2261" kern="1200">
                          <a:solidFill>
                            <a:schemeClr val="tx1"/>
                          </a:solidFill>
                          <a:latin typeface="Arial"/>
                        </a:defRPr>
                      </a:lvl7pPr>
                      <a:lvl8pPr marL="4021257" algn="l" defTabSz="1148930" rtl="0" eaLnBrk="1" latinLnBrk="0" hangingPunct="1">
                        <a:defRPr sz="2261" kern="1200">
                          <a:solidFill>
                            <a:schemeClr val="tx1"/>
                          </a:solidFill>
                          <a:latin typeface="Arial"/>
                        </a:defRPr>
                      </a:lvl8pPr>
                      <a:lvl9pPr marL="4595721" algn="l" defTabSz="1148930" rtl="0" eaLnBrk="1" latinLnBrk="0" hangingPunct="1">
                        <a:defRPr sz="2261" kern="1200">
                          <a:solidFill>
                            <a:schemeClr val="tx1"/>
                          </a:solidFill>
                          <a:latin typeface="Arial"/>
                        </a:defRPr>
                      </a:lvl9pPr>
                    </a:lstStyle>
                    <a:p>
                      <a:pPr marL="0" marR="0" lvl="0" indent="0" algn="l" defTabSz="914400" rtl="0" eaLnBrk="1" fontAlgn="base" latinLnBrk="0" hangingPunct="1">
                        <a:lnSpc>
                          <a:spcPct val="100000"/>
                        </a:lnSpc>
                        <a:spcBef>
                          <a:spcPct val="30000"/>
                        </a:spcBef>
                        <a:spcAft>
                          <a:spcPts val="200"/>
                        </a:spcAft>
                        <a:buClr>
                          <a:srgbClr val="FFD200"/>
                        </a:buClr>
                        <a:buSzPct val="75000"/>
                        <a:buFontTx/>
                        <a:buNone/>
                        <a:tabLst/>
                        <a:defRPr/>
                      </a:pPr>
                      <a:r>
                        <a:rPr kumimoji="0" lang="en-US" sz="1000" b="1" i="0" u="none" strike="noStrike" cap="none" normalizeH="0" baseline="0" dirty="0">
                          <a:ln>
                            <a:noFill/>
                          </a:ln>
                          <a:solidFill>
                            <a:srgbClr val="333333"/>
                          </a:solidFill>
                          <a:effectLst/>
                          <a:latin typeface="EYInterstate Light" panose="02000506000000020004" pitchFamily="2" charset="0"/>
                          <a:cs typeface="Arial" pitchFamily="34" charset="0"/>
                        </a:rPr>
                        <a:t>Our services include:</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Marketing Analytics &amp; Campaign Management	</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Predictive Modelling</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Hyper-personalized Real-time Targeting</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Customer Engagement &amp; Revenue Optimization</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Intelligent Automation</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Document Digitization</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Compliance Monitoring</a:t>
                      </a:r>
                    </a:p>
                    <a:p>
                      <a:pPr marL="112713" marR="0" lvl="0" indent="-112713" algn="l" defTabSz="914400" rtl="0" eaLnBrk="0" fontAlgn="base" latinLnBrk="0" hangingPunct="0">
                        <a:lnSpc>
                          <a:spcPts val="1400"/>
                        </a:lnSpc>
                        <a:spcBef>
                          <a:spcPct val="0"/>
                        </a:spcBef>
                        <a:spcAft>
                          <a:spcPts val="200"/>
                        </a:spcAft>
                        <a:buClr>
                          <a:schemeClr val="accent2"/>
                        </a:buClr>
                        <a:buSzPct val="75000"/>
                        <a:buFont typeface="Arial" charset="0"/>
                        <a:buChar char="►"/>
                        <a:tabLst/>
                        <a:defRPr/>
                      </a:pPr>
                      <a:r>
                        <a:rPr kumimoji="0" lang="en-US" sz="1000" b="0" i="0" u="none" strike="noStrike" kern="1200" cap="none" spc="0" normalizeH="0" baseline="0" noProof="0" dirty="0">
                          <a:ln>
                            <a:noFill/>
                          </a:ln>
                          <a:solidFill>
                            <a:srgbClr val="333333"/>
                          </a:solidFill>
                          <a:effectLst/>
                          <a:uLnTx/>
                          <a:uFillTx/>
                          <a:latin typeface="EYInterstate Light" panose="02000506000000020004" pitchFamily="2" charset="0"/>
                          <a:ea typeface="+mn-ea"/>
                          <a:cs typeface="+mn-cs"/>
                        </a:rPr>
                        <a:t>Natural Language Understanding Systems</a:t>
                      </a:r>
                    </a:p>
                  </a:txBody>
                  <a:tcPr marL="99060" marR="99060" marB="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rgbClr val="FFFFFF">
                        <a:lumMod val="95000"/>
                      </a:srgbClr>
                    </a:solidFill>
                  </a:tcPr>
                </a:tc>
                <a:extLst>
                  <a:ext uri="{0D108BD9-81ED-4DB2-BD59-A6C34878D82A}">
                    <a16:rowId xmlns:a16="http://schemas.microsoft.com/office/drawing/2014/main" val="843847920"/>
                  </a:ext>
                </a:extLst>
              </a:tr>
            </a:tbl>
          </a:graphicData>
        </a:graphic>
      </p:graphicFrame>
      <p:graphicFrame>
        <p:nvGraphicFramePr>
          <p:cNvPr id="6" name="Table 5">
            <a:extLst>
              <a:ext uri="{FF2B5EF4-FFF2-40B4-BE49-F238E27FC236}">
                <a16:creationId xmlns:a16="http://schemas.microsoft.com/office/drawing/2014/main" id="{B10AC024-F4A0-4035-B7F3-F4594CAB8E02}"/>
              </a:ext>
            </a:extLst>
          </p:cNvPr>
          <p:cNvGraphicFramePr>
            <a:graphicFrameLocks noGrp="1"/>
          </p:cNvGraphicFramePr>
          <p:nvPr>
            <p:extLst>
              <p:ext uri="{D42A27DB-BD31-4B8C-83A1-F6EECF244321}">
                <p14:modId xmlns:p14="http://schemas.microsoft.com/office/powerpoint/2010/main" val="1977177105"/>
              </p:ext>
            </p:extLst>
          </p:nvPr>
        </p:nvGraphicFramePr>
        <p:xfrm>
          <a:off x="861537" y="6168659"/>
          <a:ext cx="10968633" cy="457200"/>
        </p:xfrm>
        <a:graphic>
          <a:graphicData uri="http://schemas.openxmlformats.org/drawingml/2006/table">
            <a:tbl>
              <a:tblPr firstRow="1" bandRow="1"/>
              <a:tblGrid>
                <a:gridCol w="1218737">
                  <a:extLst>
                    <a:ext uri="{9D8B030D-6E8A-4147-A177-3AD203B41FA5}">
                      <a16:colId xmlns:a16="http://schemas.microsoft.com/office/drawing/2014/main" val="20000"/>
                    </a:ext>
                  </a:extLst>
                </a:gridCol>
                <a:gridCol w="1218737">
                  <a:extLst>
                    <a:ext uri="{9D8B030D-6E8A-4147-A177-3AD203B41FA5}">
                      <a16:colId xmlns:a16="http://schemas.microsoft.com/office/drawing/2014/main" val="20001"/>
                    </a:ext>
                  </a:extLst>
                </a:gridCol>
                <a:gridCol w="1218737">
                  <a:extLst>
                    <a:ext uri="{9D8B030D-6E8A-4147-A177-3AD203B41FA5}">
                      <a16:colId xmlns:a16="http://schemas.microsoft.com/office/drawing/2014/main" val="20002"/>
                    </a:ext>
                  </a:extLst>
                </a:gridCol>
                <a:gridCol w="1218737">
                  <a:extLst>
                    <a:ext uri="{9D8B030D-6E8A-4147-A177-3AD203B41FA5}">
                      <a16:colId xmlns:a16="http://schemas.microsoft.com/office/drawing/2014/main" val="20003"/>
                    </a:ext>
                  </a:extLst>
                </a:gridCol>
                <a:gridCol w="1218737">
                  <a:extLst>
                    <a:ext uri="{9D8B030D-6E8A-4147-A177-3AD203B41FA5}">
                      <a16:colId xmlns:a16="http://schemas.microsoft.com/office/drawing/2014/main" val="20004"/>
                    </a:ext>
                  </a:extLst>
                </a:gridCol>
                <a:gridCol w="1218737">
                  <a:extLst>
                    <a:ext uri="{9D8B030D-6E8A-4147-A177-3AD203B41FA5}">
                      <a16:colId xmlns:a16="http://schemas.microsoft.com/office/drawing/2014/main" val="20005"/>
                    </a:ext>
                  </a:extLst>
                </a:gridCol>
                <a:gridCol w="1218737">
                  <a:extLst>
                    <a:ext uri="{9D8B030D-6E8A-4147-A177-3AD203B41FA5}">
                      <a16:colId xmlns:a16="http://schemas.microsoft.com/office/drawing/2014/main" val="3506044592"/>
                    </a:ext>
                  </a:extLst>
                </a:gridCol>
                <a:gridCol w="1218737">
                  <a:extLst>
                    <a:ext uri="{9D8B030D-6E8A-4147-A177-3AD203B41FA5}">
                      <a16:colId xmlns:a16="http://schemas.microsoft.com/office/drawing/2014/main" val="3753577786"/>
                    </a:ext>
                  </a:extLst>
                </a:gridCol>
                <a:gridCol w="1218737">
                  <a:extLst>
                    <a:ext uri="{9D8B030D-6E8A-4147-A177-3AD203B41FA5}">
                      <a16:colId xmlns:a16="http://schemas.microsoft.com/office/drawing/2014/main" val="20006"/>
                    </a:ext>
                  </a:extLst>
                </a:gridCol>
              </a:tblGrid>
              <a:tr h="457200">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dirty="0">
                          <a:solidFill>
                            <a:srgbClr val="333333"/>
                          </a:solidFill>
                          <a:latin typeface="EYInterstate" panose="02000503020000020004" pitchFamily="2" charset="0"/>
                        </a:rPr>
                        <a:t>Marketing</a:t>
                      </a:r>
                    </a:p>
                  </a:txBody>
                  <a:tcPr marL="0" marR="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D1D6"/>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dirty="0">
                          <a:solidFill>
                            <a:srgbClr val="333333"/>
                          </a:solidFill>
                          <a:latin typeface="EYInterstate" panose="02000503020000020004" pitchFamily="2" charset="0"/>
                        </a:rPr>
                        <a:t>Distribution</a:t>
                      </a:r>
                    </a:p>
                  </a:txBody>
                  <a:tcPr marL="0" marR="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D1D6"/>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dirty="0">
                          <a:solidFill>
                            <a:srgbClr val="333333"/>
                          </a:solidFill>
                          <a:latin typeface="EYInterstate" panose="02000503020000020004" pitchFamily="2" charset="0"/>
                        </a:rPr>
                        <a:t>Operations</a:t>
                      </a:r>
                    </a:p>
                  </a:txBody>
                  <a:tcPr marL="0" marR="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D1D6"/>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dirty="0">
                          <a:solidFill>
                            <a:srgbClr val="333333"/>
                          </a:solidFill>
                          <a:latin typeface="EYInterstate" panose="02000503020000020004" pitchFamily="2" charset="0"/>
                        </a:rPr>
                        <a:t>Finance</a:t>
                      </a:r>
                    </a:p>
                  </a:txBody>
                  <a:tcPr marL="0" marR="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D1D6"/>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dirty="0">
                          <a:solidFill>
                            <a:srgbClr val="333333"/>
                          </a:solidFill>
                          <a:latin typeface="EYInterstate" panose="02000503020000020004" pitchFamily="2" charset="0"/>
                        </a:rPr>
                        <a:t>Asset Management</a:t>
                      </a:r>
                    </a:p>
                  </a:txBody>
                  <a:tcPr marL="0" marR="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D1D6"/>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dirty="0">
                          <a:solidFill>
                            <a:srgbClr val="333333"/>
                          </a:solidFill>
                          <a:latin typeface="EYInterstate" panose="02000503020000020004" pitchFamily="2" charset="0"/>
                        </a:rPr>
                        <a:t>Risk</a:t>
                      </a:r>
                    </a:p>
                  </a:txBody>
                  <a:tcPr marL="0" marR="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D1D6"/>
                    </a:solidFill>
                  </a:tcPr>
                </a:tc>
                <a:tc>
                  <a:txBody>
                    <a:bodyPr/>
                    <a:lstStyle>
                      <a:lvl1pPr marL="0" algn="l" defTabSz="1148930" rtl="0" eaLnBrk="1" latinLnBrk="0" hangingPunct="1">
                        <a:defRPr sz="2261" kern="1200">
                          <a:solidFill>
                            <a:schemeClr val="tx1"/>
                          </a:solidFill>
                          <a:latin typeface="Arial"/>
                        </a:defRPr>
                      </a:lvl1pPr>
                      <a:lvl2pPr marL="574464" algn="l" defTabSz="1148930" rtl="0" eaLnBrk="1" latinLnBrk="0" hangingPunct="1">
                        <a:defRPr sz="2261" kern="1200">
                          <a:solidFill>
                            <a:schemeClr val="tx1"/>
                          </a:solidFill>
                          <a:latin typeface="Arial"/>
                        </a:defRPr>
                      </a:lvl2pPr>
                      <a:lvl3pPr marL="1148930" algn="l" defTabSz="1148930" rtl="0" eaLnBrk="1" latinLnBrk="0" hangingPunct="1">
                        <a:defRPr sz="2261" kern="1200">
                          <a:solidFill>
                            <a:schemeClr val="tx1"/>
                          </a:solidFill>
                          <a:latin typeface="Arial"/>
                        </a:defRPr>
                      </a:lvl3pPr>
                      <a:lvl4pPr marL="1723396" algn="l" defTabSz="1148930" rtl="0" eaLnBrk="1" latinLnBrk="0" hangingPunct="1">
                        <a:defRPr sz="2261" kern="1200">
                          <a:solidFill>
                            <a:schemeClr val="tx1"/>
                          </a:solidFill>
                          <a:latin typeface="Arial"/>
                        </a:defRPr>
                      </a:lvl4pPr>
                      <a:lvl5pPr marL="2297863" algn="l" defTabSz="1148930" rtl="0" eaLnBrk="1" latinLnBrk="0" hangingPunct="1">
                        <a:defRPr sz="2261" kern="1200">
                          <a:solidFill>
                            <a:schemeClr val="tx1"/>
                          </a:solidFill>
                          <a:latin typeface="Arial"/>
                        </a:defRPr>
                      </a:lvl5pPr>
                      <a:lvl6pPr marL="2872327" algn="l" defTabSz="1148930" rtl="0" eaLnBrk="1" latinLnBrk="0" hangingPunct="1">
                        <a:defRPr sz="2261" kern="1200">
                          <a:solidFill>
                            <a:schemeClr val="tx1"/>
                          </a:solidFill>
                          <a:latin typeface="Arial"/>
                        </a:defRPr>
                      </a:lvl6pPr>
                      <a:lvl7pPr marL="3446790" algn="l" defTabSz="1148930" rtl="0" eaLnBrk="1" latinLnBrk="0" hangingPunct="1">
                        <a:defRPr sz="2261" kern="1200">
                          <a:solidFill>
                            <a:schemeClr val="tx1"/>
                          </a:solidFill>
                          <a:latin typeface="Arial"/>
                        </a:defRPr>
                      </a:lvl7pPr>
                      <a:lvl8pPr marL="4021257" algn="l" defTabSz="1148930" rtl="0" eaLnBrk="1" latinLnBrk="0" hangingPunct="1">
                        <a:defRPr sz="2261" kern="1200">
                          <a:solidFill>
                            <a:schemeClr val="tx1"/>
                          </a:solidFill>
                          <a:latin typeface="Arial"/>
                        </a:defRPr>
                      </a:lvl8pPr>
                      <a:lvl9pPr marL="4595721" algn="l" defTabSz="1148930" rtl="0" eaLnBrk="1" latinLnBrk="0" hangingPunct="1">
                        <a:defRPr sz="2261" kern="1200">
                          <a:solidFill>
                            <a:schemeClr val="tx1"/>
                          </a:solidFill>
                          <a:latin typeface="Arial"/>
                        </a:defRPr>
                      </a:lvl9pPr>
                    </a:lstStyle>
                    <a:p>
                      <a:pPr algn="ctr"/>
                      <a:r>
                        <a:rPr lang="en-US" sz="1200" b="1" dirty="0">
                          <a:solidFill>
                            <a:srgbClr val="333333"/>
                          </a:solidFill>
                          <a:latin typeface="EYInterstate" panose="02000503020000020004" pitchFamily="2" charset="0"/>
                        </a:rPr>
                        <a:t>HR</a:t>
                      </a:r>
                    </a:p>
                  </a:txBody>
                  <a:tcPr marL="0" marR="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D1D6"/>
                    </a:solidFill>
                  </a:tcPr>
                </a:tc>
                <a:tc>
                  <a:txBody>
                    <a:bodyPr/>
                    <a:lstStyle>
                      <a:lvl1pPr marL="0" algn="l" defTabSz="1148930" rtl="0" eaLnBrk="1" latinLnBrk="0" hangingPunct="1">
                        <a:defRPr sz="2261" kern="1200">
                          <a:solidFill>
                            <a:schemeClr val="tx1"/>
                          </a:solidFill>
                          <a:latin typeface="Arial"/>
                        </a:defRPr>
                      </a:lvl1pPr>
                      <a:lvl2pPr marL="574464" algn="l" defTabSz="1148930" rtl="0" eaLnBrk="1" latinLnBrk="0" hangingPunct="1">
                        <a:defRPr sz="2261" kern="1200">
                          <a:solidFill>
                            <a:schemeClr val="tx1"/>
                          </a:solidFill>
                          <a:latin typeface="Arial"/>
                        </a:defRPr>
                      </a:lvl2pPr>
                      <a:lvl3pPr marL="1148930" algn="l" defTabSz="1148930" rtl="0" eaLnBrk="1" latinLnBrk="0" hangingPunct="1">
                        <a:defRPr sz="2261" kern="1200">
                          <a:solidFill>
                            <a:schemeClr val="tx1"/>
                          </a:solidFill>
                          <a:latin typeface="Arial"/>
                        </a:defRPr>
                      </a:lvl3pPr>
                      <a:lvl4pPr marL="1723396" algn="l" defTabSz="1148930" rtl="0" eaLnBrk="1" latinLnBrk="0" hangingPunct="1">
                        <a:defRPr sz="2261" kern="1200">
                          <a:solidFill>
                            <a:schemeClr val="tx1"/>
                          </a:solidFill>
                          <a:latin typeface="Arial"/>
                        </a:defRPr>
                      </a:lvl4pPr>
                      <a:lvl5pPr marL="2297863" algn="l" defTabSz="1148930" rtl="0" eaLnBrk="1" latinLnBrk="0" hangingPunct="1">
                        <a:defRPr sz="2261" kern="1200">
                          <a:solidFill>
                            <a:schemeClr val="tx1"/>
                          </a:solidFill>
                          <a:latin typeface="Arial"/>
                        </a:defRPr>
                      </a:lvl5pPr>
                      <a:lvl6pPr marL="2872327" algn="l" defTabSz="1148930" rtl="0" eaLnBrk="1" latinLnBrk="0" hangingPunct="1">
                        <a:defRPr sz="2261" kern="1200">
                          <a:solidFill>
                            <a:schemeClr val="tx1"/>
                          </a:solidFill>
                          <a:latin typeface="Arial"/>
                        </a:defRPr>
                      </a:lvl6pPr>
                      <a:lvl7pPr marL="3446790" algn="l" defTabSz="1148930" rtl="0" eaLnBrk="1" latinLnBrk="0" hangingPunct="1">
                        <a:defRPr sz="2261" kern="1200">
                          <a:solidFill>
                            <a:schemeClr val="tx1"/>
                          </a:solidFill>
                          <a:latin typeface="Arial"/>
                        </a:defRPr>
                      </a:lvl7pPr>
                      <a:lvl8pPr marL="4021257" algn="l" defTabSz="1148930" rtl="0" eaLnBrk="1" latinLnBrk="0" hangingPunct="1">
                        <a:defRPr sz="2261" kern="1200">
                          <a:solidFill>
                            <a:schemeClr val="tx1"/>
                          </a:solidFill>
                          <a:latin typeface="Arial"/>
                        </a:defRPr>
                      </a:lvl8pPr>
                      <a:lvl9pPr marL="4595721" algn="l" defTabSz="1148930" rtl="0" eaLnBrk="1" latinLnBrk="0" hangingPunct="1">
                        <a:defRPr sz="2261" kern="1200">
                          <a:solidFill>
                            <a:schemeClr val="tx1"/>
                          </a:solidFill>
                          <a:latin typeface="Arial"/>
                        </a:defRPr>
                      </a:lvl9pPr>
                    </a:lstStyle>
                    <a:p>
                      <a:pPr algn="ctr"/>
                      <a:r>
                        <a:rPr lang="en-US" sz="1200" b="1" dirty="0">
                          <a:solidFill>
                            <a:srgbClr val="333333"/>
                          </a:solidFill>
                          <a:latin typeface="EYInterstate" panose="02000503020000020004" pitchFamily="2" charset="0"/>
                        </a:rPr>
                        <a:t>Technology</a:t>
                      </a:r>
                    </a:p>
                  </a:txBody>
                  <a:tcPr marL="0" marR="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D1D6"/>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b="1" dirty="0">
                          <a:solidFill>
                            <a:srgbClr val="333333"/>
                          </a:solidFill>
                          <a:latin typeface="EYInterstate" panose="02000503020000020004" pitchFamily="2" charset="0"/>
                        </a:rPr>
                        <a:t>Other</a:t>
                      </a:r>
                    </a:p>
                  </a:txBody>
                  <a:tcPr marL="0" marR="0" marT="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FD1D6"/>
                    </a:solidFill>
                  </a:tcPr>
                </a:tc>
                <a:extLst>
                  <a:ext uri="{0D108BD9-81ED-4DB2-BD59-A6C34878D82A}">
                    <a16:rowId xmlns:a16="http://schemas.microsoft.com/office/drawing/2014/main" val="10000"/>
                  </a:ext>
                </a:extLst>
              </a:tr>
            </a:tbl>
          </a:graphicData>
        </a:graphic>
      </p:graphicFrame>
      <p:pic>
        <p:nvPicPr>
          <p:cNvPr id="7" name="Graphic 6">
            <a:extLst>
              <a:ext uri="{FF2B5EF4-FFF2-40B4-BE49-F238E27FC236}">
                <a16:creationId xmlns:a16="http://schemas.microsoft.com/office/drawing/2014/main" id="{C5CC560B-25B7-4F61-B428-7D45A33906C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22535" y="1365463"/>
            <a:ext cx="822960" cy="822960"/>
          </a:xfrm>
          <a:prstGeom prst="rect">
            <a:avLst/>
          </a:prstGeom>
        </p:spPr>
      </p:pic>
      <p:pic>
        <p:nvPicPr>
          <p:cNvPr id="8" name="Graphic 7">
            <a:extLst>
              <a:ext uri="{FF2B5EF4-FFF2-40B4-BE49-F238E27FC236}">
                <a16:creationId xmlns:a16="http://schemas.microsoft.com/office/drawing/2014/main" id="{92BFDC35-CCF3-47ED-8C0B-754F304A45F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17356" y="1365463"/>
            <a:ext cx="822960" cy="822960"/>
          </a:xfrm>
          <a:prstGeom prst="rect">
            <a:avLst/>
          </a:prstGeom>
        </p:spPr>
      </p:pic>
      <p:pic>
        <p:nvPicPr>
          <p:cNvPr id="9" name="Graphic 8">
            <a:extLst>
              <a:ext uri="{FF2B5EF4-FFF2-40B4-BE49-F238E27FC236}">
                <a16:creationId xmlns:a16="http://schemas.microsoft.com/office/drawing/2014/main" id="{98E0C16D-E511-4D06-AB59-E6CA47A591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39457" y="1365463"/>
            <a:ext cx="822960" cy="822960"/>
          </a:xfrm>
          <a:prstGeom prst="rect">
            <a:avLst/>
          </a:prstGeom>
        </p:spPr>
      </p:pic>
      <p:pic>
        <p:nvPicPr>
          <p:cNvPr id="10" name="Graphic 9">
            <a:extLst>
              <a:ext uri="{FF2B5EF4-FFF2-40B4-BE49-F238E27FC236}">
                <a16:creationId xmlns:a16="http://schemas.microsoft.com/office/drawing/2014/main" id="{99B5F140-22C8-4A99-809D-FBAC1579FD9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40617" y="1365463"/>
            <a:ext cx="822960" cy="822960"/>
          </a:xfrm>
          <a:prstGeom prst="rect">
            <a:avLst/>
          </a:prstGeom>
        </p:spPr>
      </p:pic>
    </p:spTree>
    <p:extLst>
      <p:ext uri="{BB962C8B-B14F-4D97-AF65-F5344CB8AC3E}">
        <p14:creationId xmlns:p14="http://schemas.microsoft.com/office/powerpoint/2010/main" val="28016191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3DC9A-D377-4BC1-A21A-80E64A5D6F6D}"/>
              </a:ext>
            </a:extLst>
          </p:cNvPr>
          <p:cNvSpPr>
            <a:spLocks noGrp="1"/>
          </p:cNvSpPr>
          <p:nvPr>
            <p:ph type="title"/>
          </p:nvPr>
        </p:nvSpPr>
        <p:spPr/>
        <p:txBody>
          <a:bodyPr/>
          <a:lstStyle/>
          <a:p>
            <a:r>
              <a:rPr lang="en-US" dirty="0"/>
              <a:t>Our Data &amp; Analytics team has a large presence in APAC market and we can work as one co-located team to support AIA Thailand</a:t>
            </a:r>
          </a:p>
        </p:txBody>
      </p:sp>
      <p:cxnSp>
        <p:nvCxnSpPr>
          <p:cNvPr id="3" name="Straight Connector 2">
            <a:extLst>
              <a:ext uri="{FF2B5EF4-FFF2-40B4-BE49-F238E27FC236}">
                <a16:creationId xmlns:a16="http://schemas.microsoft.com/office/drawing/2014/main" id="{F33699B5-06BE-4A29-BF58-B6733C470B51}"/>
              </a:ext>
            </a:extLst>
          </p:cNvPr>
          <p:cNvCxnSpPr>
            <a:cxnSpLocks/>
          </p:cNvCxnSpPr>
          <p:nvPr/>
        </p:nvCxnSpPr>
        <p:spPr>
          <a:xfrm flipH="1" flipV="1">
            <a:off x="7627678" y="3621993"/>
            <a:ext cx="1219161" cy="94448"/>
          </a:xfrm>
          <a:prstGeom prst="line">
            <a:avLst/>
          </a:prstGeom>
          <a:noFill/>
          <a:ln w="9525" cap="flat" cmpd="sng" algn="ctr">
            <a:solidFill>
              <a:srgbClr val="808080"/>
            </a:solidFill>
            <a:prstDash val="solid"/>
            <a:tailEnd type="oval"/>
          </a:ln>
          <a:effectLst/>
        </p:spPr>
      </p:cxnSp>
      <p:grpSp>
        <p:nvGrpSpPr>
          <p:cNvPr id="4" name="Group 3">
            <a:extLst>
              <a:ext uri="{FF2B5EF4-FFF2-40B4-BE49-F238E27FC236}">
                <a16:creationId xmlns:a16="http://schemas.microsoft.com/office/drawing/2014/main" id="{1BCCD154-B758-4201-A0B4-867D639C2609}"/>
              </a:ext>
            </a:extLst>
          </p:cNvPr>
          <p:cNvGrpSpPr>
            <a:grpSpLocks noChangeAspect="1"/>
          </p:cNvGrpSpPr>
          <p:nvPr/>
        </p:nvGrpSpPr>
        <p:grpSpPr>
          <a:xfrm>
            <a:off x="4646598" y="1312181"/>
            <a:ext cx="5723181" cy="5326245"/>
            <a:chOff x="6137275" y="3489325"/>
            <a:chExt cx="2243138" cy="2087563"/>
          </a:xfrm>
          <a:solidFill>
            <a:srgbClr val="7FD1D6"/>
          </a:solidFill>
        </p:grpSpPr>
        <p:sp>
          <p:nvSpPr>
            <p:cNvPr id="5" name="Freeform 23">
              <a:extLst>
                <a:ext uri="{FF2B5EF4-FFF2-40B4-BE49-F238E27FC236}">
                  <a16:creationId xmlns:a16="http://schemas.microsoft.com/office/drawing/2014/main" id="{F465CD6B-59D0-49AD-8AB2-BA7CD456363F}"/>
                </a:ext>
              </a:extLst>
            </p:cNvPr>
            <p:cNvSpPr>
              <a:spLocks/>
            </p:cNvSpPr>
            <p:nvPr/>
          </p:nvSpPr>
          <p:spPr bwMode="auto">
            <a:xfrm>
              <a:off x="7902575" y="3582988"/>
              <a:ext cx="28575" cy="38100"/>
            </a:xfrm>
            <a:custGeom>
              <a:avLst/>
              <a:gdLst>
                <a:gd name="T0" fmla="*/ 8 w 20"/>
                <a:gd name="T1" fmla="*/ 23 h 26"/>
                <a:gd name="T2" fmla="*/ 2 w 20"/>
                <a:gd name="T3" fmla="*/ 19 h 26"/>
                <a:gd name="T4" fmla="*/ 0 w 20"/>
                <a:gd name="T5" fmla="*/ 12 h 26"/>
                <a:gd name="T6" fmla="*/ 2 w 20"/>
                <a:gd name="T7" fmla="*/ 4 h 26"/>
                <a:gd name="T8" fmla="*/ 8 w 20"/>
                <a:gd name="T9" fmla="*/ 0 h 26"/>
                <a:gd name="T10" fmla="*/ 14 w 20"/>
                <a:gd name="T11" fmla="*/ 4 h 26"/>
                <a:gd name="T12" fmla="*/ 17 w 20"/>
                <a:gd name="T13" fmla="*/ 12 h 26"/>
                <a:gd name="T14" fmla="*/ 14 w 20"/>
                <a:gd name="T15" fmla="*/ 19 h 26"/>
                <a:gd name="T16" fmla="*/ 8 w 20"/>
                <a:gd name="T17" fmla="*/ 23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6"/>
                <a:gd name="T29" fmla="*/ 20 w 20"/>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6">
                  <a:moveTo>
                    <a:pt x="9" y="25"/>
                  </a:moveTo>
                  <a:lnTo>
                    <a:pt x="2" y="21"/>
                  </a:lnTo>
                  <a:lnTo>
                    <a:pt x="0" y="13"/>
                  </a:lnTo>
                  <a:lnTo>
                    <a:pt x="2" y="4"/>
                  </a:lnTo>
                  <a:lnTo>
                    <a:pt x="9" y="0"/>
                  </a:lnTo>
                  <a:lnTo>
                    <a:pt x="16" y="4"/>
                  </a:lnTo>
                  <a:lnTo>
                    <a:pt x="19" y="13"/>
                  </a:lnTo>
                  <a:lnTo>
                    <a:pt x="16" y="21"/>
                  </a:lnTo>
                  <a:lnTo>
                    <a:pt x="9" y="25"/>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 name="Freeform 24">
              <a:extLst>
                <a:ext uri="{FF2B5EF4-FFF2-40B4-BE49-F238E27FC236}">
                  <a16:creationId xmlns:a16="http://schemas.microsoft.com/office/drawing/2014/main" id="{F4AD234E-1978-4172-A8A9-2E27720FA4AD}"/>
                </a:ext>
              </a:extLst>
            </p:cNvPr>
            <p:cNvSpPr>
              <a:spLocks/>
            </p:cNvSpPr>
            <p:nvPr/>
          </p:nvSpPr>
          <p:spPr bwMode="auto">
            <a:xfrm>
              <a:off x="7888288" y="3627438"/>
              <a:ext cx="26988" cy="28575"/>
            </a:xfrm>
            <a:custGeom>
              <a:avLst/>
              <a:gdLst>
                <a:gd name="T0" fmla="*/ 10 w 20"/>
                <a:gd name="T1" fmla="*/ 17 h 19"/>
                <a:gd name="T2" fmla="*/ 14 w 20"/>
                <a:gd name="T3" fmla="*/ 15 h 19"/>
                <a:gd name="T4" fmla="*/ 16 w 20"/>
                <a:gd name="T5" fmla="*/ 8 h 19"/>
                <a:gd name="T6" fmla="*/ 14 w 20"/>
                <a:gd name="T7" fmla="*/ 4 h 19"/>
                <a:gd name="T8" fmla="*/ 10 w 20"/>
                <a:gd name="T9" fmla="*/ 0 h 19"/>
                <a:gd name="T10" fmla="*/ 3 w 20"/>
                <a:gd name="T11" fmla="*/ 4 h 19"/>
                <a:gd name="T12" fmla="*/ 0 w 20"/>
                <a:gd name="T13" fmla="*/ 8 h 19"/>
                <a:gd name="T14" fmla="*/ 10 w 20"/>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9"/>
                <a:gd name="T26" fmla="*/ 20 w 20"/>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9">
                  <a:moveTo>
                    <a:pt x="12" y="18"/>
                  </a:moveTo>
                  <a:lnTo>
                    <a:pt x="16" y="16"/>
                  </a:lnTo>
                  <a:lnTo>
                    <a:pt x="19" y="8"/>
                  </a:lnTo>
                  <a:lnTo>
                    <a:pt x="16" y="4"/>
                  </a:lnTo>
                  <a:lnTo>
                    <a:pt x="12" y="0"/>
                  </a:lnTo>
                  <a:lnTo>
                    <a:pt x="4" y="4"/>
                  </a:lnTo>
                  <a:lnTo>
                    <a:pt x="0" y="8"/>
                  </a:lnTo>
                  <a:lnTo>
                    <a:pt x="12"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 name="Freeform 25">
              <a:extLst>
                <a:ext uri="{FF2B5EF4-FFF2-40B4-BE49-F238E27FC236}">
                  <a16:creationId xmlns:a16="http://schemas.microsoft.com/office/drawing/2014/main" id="{6F46AA2D-1278-4257-8415-F1C5D398E1F6}"/>
                </a:ext>
              </a:extLst>
            </p:cNvPr>
            <p:cNvSpPr>
              <a:spLocks/>
            </p:cNvSpPr>
            <p:nvPr/>
          </p:nvSpPr>
          <p:spPr bwMode="auto">
            <a:xfrm>
              <a:off x="7874000" y="3646488"/>
              <a:ext cx="28575" cy="28575"/>
            </a:xfrm>
            <a:custGeom>
              <a:avLst/>
              <a:gdLst>
                <a:gd name="T0" fmla="*/ 9 w 21"/>
                <a:gd name="T1" fmla="*/ 17 h 19"/>
                <a:gd name="T2" fmla="*/ 17 w 21"/>
                <a:gd name="T3" fmla="*/ 14 h 19"/>
                <a:gd name="T4" fmla="*/ 17 w 21"/>
                <a:gd name="T5" fmla="*/ 9 h 19"/>
                <a:gd name="T6" fmla="*/ 17 w 21"/>
                <a:gd name="T7" fmla="*/ 2 h 19"/>
                <a:gd name="T8" fmla="*/ 9 w 21"/>
                <a:gd name="T9" fmla="*/ 0 h 19"/>
                <a:gd name="T10" fmla="*/ 0 w 21"/>
                <a:gd name="T11" fmla="*/ 9 h 19"/>
                <a:gd name="T12" fmla="*/ 9 w 21"/>
                <a:gd name="T13" fmla="*/ 17 h 19"/>
                <a:gd name="T14" fmla="*/ 0 60000 65536"/>
                <a:gd name="T15" fmla="*/ 0 60000 65536"/>
                <a:gd name="T16" fmla="*/ 0 60000 65536"/>
                <a:gd name="T17" fmla="*/ 0 60000 65536"/>
                <a:gd name="T18" fmla="*/ 0 60000 65536"/>
                <a:gd name="T19" fmla="*/ 0 60000 65536"/>
                <a:gd name="T20" fmla="*/ 0 60000 65536"/>
                <a:gd name="T21" fmla="*/ 0 w 21"/>
                <a:gd name="T22" fmla="*/ 0 h 19"/>
                <a:gd name="T23" fmla="*/ 21 w 21"/>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9">
                  <a:moveTo>
                    <a:pt x="11" y="18"/>
                  </a:moveTo>
                  <a:lnTo>
                    <a:pt x="20" y="15"/>
                  </a:lnTo>
                  <a:lnTo>
                    <a:pt x="20" y="9"/>
                  </a:lnTo>
                  <a:lnTo>
                    <a:pt x="20" y="2"/>
                  </a:lnTo>
                  <a:lnTo>
                    <a:pt x="11" y="0"/>
                  </a:lnTo>
                  <a:lnTo>
                    <a:pt x="0" y="9"/>
                  </a:lnTo>
                  <a:lnTo>
                    <a:pt x="11"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 name="Freeform 26">
              <a:extLst>
                <a:ext uri="{FF2B5EF4-FFF2-40B4-BE49-F238E27FC236}">
                  <a16:creationId xmlns:a16="http://schemas.microsoft.com/office/drawing/2014/main" id="{CB57F0C6-BAE6-4C9B-9394-EB4D220A3AE0}"/>
                </a:ext>
              </a:extLst>
            </p:cNvPr>
            <p:cNvSpPr>
              <a:spLocks/>
            </p:cNvSpPr>
            <p:nvPr/>
          </p:nvSpPr>
          <p:spPr bwMode="auto">
            <a:xfrm>
              <a:off x="7859713" y="3659188"/>
              <a:ext cx="28575" cy="28575"/>
            </a:xfrm>
            <a:custGeom>
              <a:avLst/>
              <a:gdLst>
                <a:gd name="T0" fmla="*/ 9 w 21"/>
                <a:gd name="T1" fmla="*/ 17 h 19"/>
                <a:gd name="T2" fmla="*/ 15 w 21"/>
                <a:gd name="T3" fmla="*/ 15 h 19"/>
                <a:gd name="T4" fmla="*/ 17 w 21"/>
                <a:gd name="T5" fmla="*/ 9 h 19"/>
                <a:gd name="T6" fmla="*/ 15 w 21"/>
                <a:gd name="T7" fmla="*/ 3 h 19"/>
                <a:gd name="T8" fmla="*/ 9 w 21"/>
                <a:gd name="T9" fmla="*/ 0 h 19"/>
                <a:gd name="T10" fmla="*/ 0 w 21"/>
                <a:gd name="T11" fmla="*/ 9 h 19"/>
                <a:gd name="T12" fmla="*/ 9 w 21"/>
                <a:gd name="T13" fmla="*/ 17 h 19"/>
                <a:gd name="T14" fmla="*/ 0 60000 65536"/>
                <a:gd name="T15" fmla="*/ 0 60000 65536"/>
                <a:gd name="T16" fmla="*/ 0 60000 65536"/>
                <a:gd name="T17" fmla="*/ 0 60000 65536"/>
                <a:gd name="T18" fmla="*/ 0 60000 65536"/>
                <a:gd name="T19" fmla="*/ 0 60000 65536"/>
                <a:gd name="T20" fmla="*/ 0 60000 65536"/>
                <a:gd name="T21" fmla="*/ 0 w 21"/>
                <a:gd name="T22" fmla="*/ 0 h 19"/>
                <a:gd name="T23" fmla="*/ 21 w 21"/>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9">
                  <a:moveTo>
                    <a:pt x="11" y="18"/>
                  </a:moveTo>
                  <a:lnTo>
                    <a:pt x="17" y="16"/>
                  </a:lnTo>
                  <a:lnTo>
                    <a:pt x="20" y="9"/>
                  </a:lnTo>
                  <a:lnTo>
                    <a:pt x="17" y="3"/>
                  </a:lnTo>
                  <a:lnTo>
                    <a:pt x="11" y="0"/>
                  </a:lnTo>
                  <a:lnTo>
                    <a:pt x="0" y="9"/>
                  </a:lnTo>
                  <a:lnTo>
                    <a:pt x="11"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9" name="Freeform 27">
              <a:extLst>
                <a:ext uri="{FF2B5EF4-FFF2-40B4-BE49-F238E27FC236}">
                  <a16:creationId xmlns:a16="http://schemas.microsoft.com/office/drawing/2014/main" id="{FA044185-AD25-436A-B783-41258E022DBD}"/>
                </a:ext>
              </a:extLst>
            </p:cNvPr>
            <p:cNvSpPr>
              <a:spLocks/>
            </p:cNvSpPr>
            <p:nvPr/>
          </p:nvSpPr>
          <p:spPr bwMode="auto">
            <a:xfrm>
              <a:off x="7797800" y="3725863"/>
              <a:ext cx="26988" cy="28575"/>
            </a:xfrm>
            <a:custGeom>
              <a:avLst/>
              <a:gdLst>
                <a:gd name="T0" fmla="*/ 7 w 20"/>
                <a:gd name="T1" fmla="*/ 17 h 19"/>
                <a:gd name="T2" fmla="*/ 13 w 20"/>
                <a:gd name="T3" fmla="*/ 13 h 19"/>
                <a:gd name="T4" fmla="*/ 16 w 20"/>
                <a:gd name="T5" fmla="*/ 9 h 19"/>
                <a:gd name="T6" fmla="*/ 13 w 20"/>
                <a:gd name="T7" fmla="*/ 3 h 19"/>
                <a:gd name="T8" fmla="*/ 7 w 20"/>
                <a:gd name="T9" fmla="*/ 0 h 19"/>
                <a:gd name="T10" fmla="*/ 1 w 20"/>
                <a:gd name="T11" fmla="*/ 3 h 19"/>
                <a:gd name="T12" fmla="*/ 0 w 20"/>
                <a:gd name="T13" fmla="*/ 9 h 19"/>
                <a:gd name="T14" fmla="*/ 7 w 20"/>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9"/>
                <a:gd name="T26" fmla="*/ 20 w 20"/>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9">
                  <a:moveTo>
                    <a:pt x="8" y="18"/>
                  </a:moveTo>
                  <a:lnTo>
                    <a:pt x="15" y="14"/>
                  </a:lnTo>
                  <a:lnTo>
                    <a:pt x="19" y="9"/>
                  </a:lnTo>
                  <a:lnTo>
                    <a:pt x="15" y="3"/>
                  </a:lnTo>
                  <a:lnTo>
                    <a:pt x="8" y="0"/>
                  </a:lnTo>
                  <a:lnTo>
                    <a:pt x="1" y="3"/>
                  </a:lnTo>
                  <a:lnTo>
                    <a:pt x="0" y="9"/>
                  </a:lnTo>
                  <a:lnTo>
                    <a:pt x="8"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0" name="Freeform 28">
              <a:extLst>
                <a:ext uri="{FF2B5EF4-FFF2-40B4-BE49-F238E27FC236}">
                  <a16:creationId xmlns:a16="http://schemas.microsoft.com/office/drawing/2014/main" id="{87948AC0-470F-4361-B917-7A3F1249435F}"/>
                </a:ext>
              </a:extLst>
            </p:cNvPr>
            <p:cNvSpPr>
              <a:spLocks/>
            </p:cNvSpPr>
            <p:nvPr/>
          </p:nvSpPr>
          <p:spPr bwMode="auto">
            <a:xfrm>
              <a:off x="7761288" y="3746500"/>
              <a:ext cx="26988" cy="28575"/>
            </a:xfrm>
            <a:custGeom>
              <a:avLst/>
              <a:gdLst>
                <a:gd name="T0" fmla="*/ 8 w 20"/>
                <a:gd name="T1" fmla="*/ 17 h 19"/>
                <a:gd name="T2" fmla="*/ 16 w 20"/>
                <a:gd name="T3" fmla="*/ 9 h 19"/>
                <a:gd name="T4" fmla="*/ 13 w 20"/>
                <a:gd name="T5" fmla="*/ 2 h 19"/>
                <a:gd name="T6" fmla="*/ 8 w 20"/>
                <a:gd name="T7" fmla="*/ 0 h 19"/>
                <a:gd name="T8" fmla="*/ 3 w 20"/>
                <a:gd name="T9" fmla="*/ 2 h 19"/>
                <a:gd name="T10" fmla="*/ 0 w 20"/>
                <a:gd name="T11" fmla="*/ 9 h 19"/>
                <a:gd name="T12" fmla="*/ 8 w 20"/>
                <a:gd name="T13" fmla="*/ 17 h 19"/>
                <a:gd name="T14" fmla="*/ 0 60000 65536"/>
                <a:gd name="T15" fmla="*/ 0 60000 65536"/>
                <a:gd name="T16" fmla="*/ 0 60000 65536"/>
                <a:gd name="T17" fmla="*/ 0 60000 65536"/>
                <a:gd name="T18" fmla="*/ 0 60000 65536"/>
                <a:gd name="T19" fmla="*/ 0 60000 65536"/>
                <a:gd name="T20" fmla="*/ 0 60000 65536"/>
                <a:gd name="T21" fmla="*/ 0 w 20"/>
                <a:gd name="T22" fmla="*/ 0 h 19"/>
                <a:gd name="T23" fmla="*/ 20 w 2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9">
                  <a:moveTo>
                    <a:pt x="9" y="18"/>
                  </a:moveTo>
                  <a:lnTo>
                    <a:pt x="19" y="9"/>
                  </a:lnTo>
                  <a:lnTo>
                    <a:pt x="15" y="2"/>
                  </a:lnTo>
                  <a:lnTo>
                    <a:pt x="9" y="0"/>
                  </a:lnTo>
                  <a:lnTo>
                    <a:pt x="3" y="2"/>
                  </a:lnTo>
                  <a:lnTo>
                    <a:pt x="0" y="9"/>
                  </a:lnTo>
                  <a:lnTo>
                    <a:pt x="9"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1" name="Freeform 29">
              <a:extLst>
                <a:ext uri="{FF2B5EF4-FFF2-40B4-BE49-F238E27FC236}">
                  <a16:creationId xmlns:a16="http://schemas.microsoft.com/office/drawing/2014/main" id="{23439D83-7068-4B73-9D5D-94C626E1625D}"/>
                </a:ext>
              </a:extLst>
            </p:cNvPr>
            <p:cNvSpPr>
              <a:spLocks/>
            </p:cNvSpPr>
            <p:nvPr/>
          </p:nvSpPr>
          <p:spPr bwMode="auto">
            <a:xfrm>
              <a:off x="7645400" y="3489325"/>
              <a:ext cx="49213" cy="241300"/>
            </a:xfrm>
            <a:custGeom>
              <a:avLst/>
              <a:gdLst>
                <a:gd name="T0" fmla="*/ 24 w 36"/>
                <a:gd name="T1" fmla="*/ 6 h 164"/>
                <a:gd name="T2" fmla="*/ 22 w 36"/>
                <a:gd name="T3" fmla="*/ 2 h 164"/>
                <a:gd name="T4" fmla="*/ 18 w 36"/>
                <a:gd name="T5" fmla="*/ 0 h 164"/>
                <a:gd name="T6" fmla="*/ 14 w 36"/>
                <a:gd name="T7" fmla="*/ 2 h 164"/>
                <a:gd name="T8" fmla="*/ 8 w 36"/>
                <a:gd name="T9" fmla="*/ 19 h 164"/>
                <a:gd name="T10" fmla="*/ 2 w 36"/>
                <a:gd name="T11" fmla="*/ 37 h 164"/>
                <a:gd name="T12" fmla="*/ 6 w 36"/>
                <a:gd name="T13" fmla="*/ 54 h 164"/>
                <a:gd name="T14" fmla="*/ 8 w 36"/>
                <a:gd name="T15" fmla="*/ 90 h 164"/>
                <a:gd name="T16" fmla="*/ 6 w 36"/>
                <a:gd name="T17" fmla="*/ 127 h 164"/>
                <a:gd name="T18" fmla="*/ 0 w 36"/>
                <a:gd name="T19" fmla="*/ 146 h 164"/>
                <a:gd name="T20" fmla="*/ 8 w 36"/>
                <a:gd name="T21" fmla="*/ 151 h 164"/>
                <a:gd name="T22" fmla="*/ 11 w 36"/>
                <a:gd name="T23" fmla="*/ 138 h 164"/>
                <a:gd name="T24" fmla="*/ 21 w 36"/>
                <a:gd name="T25" fmla="*/ 148 h 164"/>
                <a:gd name="T26" fmla="*/ 21 w 36"/>
                <a:gd name="T27" fmla="*/ 141 h 164"/>
                <a:gd name="T28" fmla="*/ 18 w 36"/>
                <a:gd name="T29" fmla="*/ 129 h 164"/>
                <a:gd name="T30" fmla="*/ 15 w 36"/>
                <a:gd name="T31" fmla="*/ 113 h 164"/>
                <a:gd name="T32" fmla="*/ 16 w 36"/>
                <a:gd name="T33" fmla="*/ 105 h 164"/>
                <a:gd name="T34" fmla="*/ 22 w 36"/>
                <a:gd name="T35" fmla="*/ 96 h 164"/>
                <a:gd name="T36" fmla="*/ 28 w 36"/>
                <a:gd name="T37" fmla="*/ 90 h 164"/>
                <a:gd name="T38" fmla="*/ 30 w 36"/>
                <a:gd name="T39" fmla="*/ 84 h 164"/>
                <a:gd name="T40" fmla="*/ 28 w 36"/>
                <a:gd name="T41" fmla="*/ 73 h 164"/>
                <a:gd name="T42" fmla="*/ 22 w 36"/>
                <a:gd name="T43" fmla="*/ 32 h 164"/>
                <a:gd name="T44" fmla="*/ 21 w 36"/>
                <a:gd name="T45" fmla="*/ 21 h 164"/>
                <a:gd name="T46" fmla="*/ 22 w 36"/>
                <a:gd name="T47" fmla="*/ 13 h 164"/>
                <a:gd name="T48" fmla="*/ 24 w 36"/>
                <a:gd name="T49" fmla="*/ 6 h 1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6"/>
                <a:gd name="T76" fmla="*/ 0 h 164"/>
                <a:gd name="T77" fmla="*/ 36 w 36"/>
                <a:gd name="T78" fmla="*/ 164 h 1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6" h="164">
                  <a:moveTo>
                    <a:pt x="28" y="6"/>
                  </a:moveTo>
                  <a:lnTo>
                    <a:pt x="25" y="2"/>
                  </a:lnTo>
                  <a:lnTo>
                    <a:pt x="21" y="0"/>
                  </a:lnTo>
                  <a:lnTo>
                    <a:pt x="16" y="2"/>
                  </a:lnTo>
                  <a:lnTo>
                    <a:pt x="9" y="21"/>
                  </a:lnTo>
                  <a:lnTo>
                    <a:pt x="2" y="40"/>
                  </a:lnTo>
                  <a:lnTo>
                    <a:pt x="7" y="58"/>
                  </a:lnTo>
                  <a:lnTo>
                    <a:pt x="9" y="97"/>
                  </a:lnTo>
                  <a:lnTo>
                    <a:pt x="7" y="137"/>
                  </a:lnTo>
                  <a:lnTo>
                    <a:pt x="0" y="158"/>
                  </a:lnTo>
                  <a:lnTo>
                    <a:pt x="9" y="163"/>
                  </a:lnTo>
                  <a:lnTo>
                    <a:pt x="13" y="149"/>
                  </a:lnTo>
                  <a:lnTo>
                    <a:pt x="24" y="160"/>
                  </a:lnTo>
                  <a:lnTo>
                    <a:pt x="24" y="152"/>
                  </a:lnTo>
                  <a:lnTo>
                    <a:pt x="21" y="139"/>
                  </a:lnTo>
                  <a:lnTo>
                    <a:pt x="17" y="122"/>
                  </a:lnTo>
                  <a:lnTo>
                    <a:pt x="19" y="113"/>
                  </a:lnTo>
                  <a:lnTo>
                    <a:pt x="26" y="104"/>
                  </a:lnTo>
                  <a:lnTo>
                    <a:pt x="33" y="97"/>
                  </a:lnTo>
                  <a:lnTo>
                    <a:pt x="35" y="91"/>
                  </a:lnTo>
                  <a:lnTo>
                    <a:pt x="33" y="79"/>
                  </a:lnTo>
                  <a:lnTo>
                    <a:pt x="26" y="35"/>
                  </a:lnTo>
                  <a:lnTo>
                    <a:pt x="24" y="23"/>
                  </a:lnTo>
                  <a:lnTo>
                    <a:pt x="25" y="14"/>
                  </a:lnTo>
                  <a:lnTo>
                    <a:pt x="28" y="6"/>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2" name="Freeform 31">
              <a:extLst>
                <a:ext uri="{FF2B5EF4-FFF2-40B4-BE49-F238E27FC236}">
                  <a16:creationId xmlns:a16="http://schemas.microsoft.com/office/drawing/2014/main" id="{CA1780A9-925A-40C8-A1CB-8E49FF495198}"/>
                </a:ext>
              </a:extLst>
            </p:cNvPr>
            <p:cNvSpPr>
              <a:spLocks/>
            </p:cNvSpPr>
            <p:nvPr/>
          </p:nvSpPr>
          <p:spPr bwMode="auto">
            <a:xfrm>
              <a:off x="6865938" y="4279900"/>
              <a:ext cx="127000" cy="168275"/>
            </a:xfrm>
            <a:custGeom>
              <a:avLst/>
              <a:gdLst>
                <a:gd name="T0" fmla="*/ 0 w 94"/>
                <a:gd name="T1" fmla="*/ 24 h 114"/>
                <a:gd name="T2" fmla="*/ 7 w 94"/>
                <a:gd name="T3" fmla="*/ 24 h 114"/>
                <a:gd name="T4" fmla="*/ 10 w 94"/>
                <a:gd name="T5" fmla="*/ 33 h 114"/>
                <a:gd name="T6" fmla="*/ 20 w 94"/>
                <a:gd name="T7" fmla="*/ 33 h 114"/>
                <a:gd name="T8" fmla="*/ 20 w 94"/>
                <a:gd name="T9" fmla="*/ 38 h 114"/>
                <a:gd name="T10" fmla="*/ 20 w 94"/>
                <a:gd name="T11" fmla="*/ 46 h 114"/>
                <a:gd name="T12" fmla="*/ 16 w 94"/>
                <a:gd name="T13" fmla="*/ 56 h 114"/>
                <a:gd name="T14" fmla="*/ 20 w 94"/>
                <a:gd name="T15" fmla="*/ 56 h 114"/>
                <a:gd name="T16" fmla="*/ 26 w 94"/>
                <a:gd name="T17" fmla="*/ 53 h 114"/>
                <a:gd name="T18" fmla="*/ 31 w 94"/>
                <a:gd name="T19" fmla="*/ 50 h 114"/>
                <a:gd name="T20" fmla="*/ 34 w 94"/>
                <a:gd name="T21" fmla="*/ 51 h 114"/>
                <a:gd name="T22" fmla="*/ 39 w 94"/>
                <a:gd name="T23" fmla="*/ 54 h 114"/>
                <a:gd name="T24" fmla="*/ 47 w 94"/>
                <a:gd name="T25" fmla="*/ 63 h 114"/>
                <a:gd name="T26" fmla="*/ 52 w 94"/>
                <a:gd name="T27" fmla="*/ 72 h 114"/>
                <a:gd name="T28" fmla="*/ 55 w 94"/>
                <a:gd name="T29" fmla="*/ 80 h 114"/>
                <a:gd name="T30" fmla="*/ 57 w 94"/>
                <a:gd name="T31" fmla="*/ 88 h 114"/>
                <a:gd name="T32" fmla="*/ 57 w 94"/>
                <a:gd name="T33" fmla="*/ 93 h 114"/>
                <a:gd name="T34" fmla="*/ 55 w 94"/>
                <a:gd name="T35" fmla="*/ 100 h 114"/>
                <a:gd name="T36" fmla="*/ 62 w 94"/>
                <a:gd name="T37" fmla="*/ 105 h 114"/>
                <a:gd name="T38" fmla="*/ 68 w 94"/>
                <a:gd name="T39" fmla="*/ 105 h 114"/>
                <a:gd name="T40" fmla="*/ 73 w 94"/>
                <a:gd name="T41" fmla="*/ 103 h 114"/>
                <a:gd name="T42" fmla="*/ 79 w 94"/>
                <a:gd name="T43" fmla="*/ 105 h 114"/>
                <a:gd name="T44" fmla="*/ 79 w 94"/>
                <a:gd name="T45" fmla="*/ 91 h 114"/>
                <a:gd name="T46" fmla="*/ 77 w 94"/>
                <a:gd name="T47" fmla="*/ 81 h 114"/>
                <a:gd name="T48" fmla="*/ 72 w 94"/>
                <a:gd name="T49" fmla="*/ 72 h 114"/>
                <a:gd name="T50" fmla="*/ 55 w 94"/>
                <a:gd name="T51" fmla="*/ 54 h 114"/>
                <a:gd name="T52" fmla="*/ 47 w 94"/>
                <a:gd name="T53" fmla="*/ 46 h 114"/>
                <a:gd name="T54" fmla="*/ 43 w 94"/>
                <a:gd name="T55" fmla="*/ 39 h 114"/>
                <a:gd name="T56" fmla="*/ 45 w 94"/>
                <a:gd name="T57" fmla="*/ 35 h 114"/>
                <a:gd name="T58" fmla="*/ 49 w 94"/>
                <a:gd name="T59" fmla="*/ 29 h 114"/>
                <a:gd name="T60" fmla="*/ 49 w 94"/>
                <a:gd name="T61" fmla="*/ 23 h 114"/>
                <a:gd name="T62" fmla="*/ 45 w 94"/>
                <a:gd name="T63" fmla="*/ 19 h 114"/>
                <a:gd name="T64" fmla="*/ 37 w 94"/>
                <a:gd name="T65" fmla="*/ 14 h 114"/>
                <a:gd name="T66" fmla="*/ 34 w 94"/>
                <a:gd name="T67" fmla="*/ 4 h 114"/>
                <a:gd name="T68" fmla="*/ 31 w 94"/>
                <a:gd name="T69" fmla="*/ 0 h 114"/>
                <a:gd name="T70" fmla="*/ 26 w 94"/>
                <a:gd name="T71" fmla="*/ 0 h 114"/>
                <a:gd name="T72" fmla="*/ 22 w 94"/>
                <a:gd name="T73" fmla="*/ 2 h 114"/>
                <a:gd name="T74" fmla="*/ 22 w 94"/>
                <a:gd name="T75" fmla="*/ 11 h 114"/>
                <a:gd name="T76" fmla="*/ 22 w 94"/>
                <a:gd name="T77" fmla="*/ 18 h 114"/>
                <a:gd name="T78" fmla="*/ 20 w 94"/>
                <a:gd name="T79" fmla="*/ 19 h 114"/>
                <a:gd name="T80" fmla="*/ 14 w 94"/>
                <a:gd name="T81" fmla="*/ 20 h 114"/>
                <a:gd name="T82" fmla="*/ 11 w 94"/>
                <a:gd name="T83" fmla="*/ 20 h 114"/>
                <a:gd name="T84" fmla="*/ 0 w 94"/>
                <a:gd name="T85" fmla="*/ 24 h 1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4"/>
                <a:gd name="T130" fmla="*/ 0 h 114"/>
                <a:gd name="T131" fmla="*/ 94 w 94"/>
                <a:gd name="T132" fmla="*/ 114 h 1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4" h="114">
                  <a:moveTo>
                    <a:pt x="0" y="26"/>
                  </a:moveTo>
                  <a:lnTo>
                    <a:pt x="8" y="26"/>
                  </a:lnTo>
                  <a:lnTo>
                    <a:pt x="12" y="35"/>
                  </a:lnTo>
                  <a:lnTo>
                    <a:pt x="23" y="35"/>
                  </a:lnTo>
                  <a:lnTo>
                    <a:pt x="24" y="41"/>
                  </a:lnTo>
                  <a:lnTo>
                    <a:pt x="23" y="50"/>
                  </a:lnTo>
                  <a:lnTo>
                    <a:pt x="19" y="60"/>
                  </a:lnTo>
                  <a:lnTo>
                    <a:pt x="24" y="60"/>
                  </a:lnTo>
                  <a:lnTo>
                    <a:pt x="31" y="57"/>
                  </a:lnTo>
                  <a:lnTo>
                    <a:pt x="36" y="54"/>
                  </a:lnTo>
                  <a:lnTo>
                    <a:pt x="40" y="55"/>
                  </a:lnTo>
                  <a:lnTo>
                    <a:pt x="46" y="58"/>
                  </a:lnTo>
                  <a:lnTo>
                    <a:pt x="55" y="68"/>
                  </a:lnTo>
                  <a:lnTo>
                    <a:pt x="61" y="77"/>
                  </a:lnTo>
                  <a:lnTo>
                    <a:pt x="65" y="86"/>
                  </a:lnTo>
                  <a:lnTo>
                    <a:pt x="67" y="95"/>
                  </a:lnTo>
                  <a:lnTo>
                    <a:pt x="67" y="100"/>
                  </a:lnTo>
                  <a:lnTo>
                    <a:pt x="65" y="108"/>
                  </a:lnTo>
                  <a:lnTo>
                    <a:pt x="73" y="113"/>
                  </a:lnTo>
                  <a:lnTo>
                    <a:pt x="80" y="113"/>
                  </a:lnTo>
                  <a:lnTo>
                    <a:pt x="86" y="111"/>
                  </a:lnTo>
                  <a:lnTo>
                    <a:pt x="93" y="113"/>
                  </a:lnTo>
                  <a:lnTo>
                    <a:pt x="93" y="98"/>
                  </a:lnTo>
                  <a:lnTo>
                    <a:pt x="90" y="87"/>
                  </a:lnTo>
                  <a:lnTo>
                    <a:pt x="85" y="77"/>
                  </a:lnTo>
                  <a:lnTo>
                    <a:pt x="65" y="58"/>
                  </a:lnTo>
                  <a:lnTo>
                    <a:pt x="55" y="49"/>
                  </a:lnTo>
                  <a:lnTo>
                    <a:pt x="50" y="42"/>
                  </a:lnTo>
                  <a:lnTo>
                    <a:pt x="53" y="38"/>
                  </a:lnTo>
                  <a:lnTo>
                    <a:pt x="57" y="31"/>
                  </a:lnTo>
                  <a:lnTo>
                    <a:pt x="57" y="25"/>
                  </a:lnTo>
                  <a:lnTo>
                    <a:pt x="53" y="20"/>
                  </a:lnTo>
                  <a:lnTo>
                    <a:pt x="43" y="15"/>
                  </a:lnTo>
                  <a:lnTo>
                    <a:pt x="40" y="4"/>
                  </a:lnTo>
                  <a:lnTo>
                    <a:pt x="36" y="0"/>
                  </a:lnTo>
                  <a:lnTo>
                    <a:pt x="31" y="0"/>
                  </a:lnTo>
                  <a:lnTo>
                    <a:pt x="26" y="2"/>
                  </a:lnTo>
                  <a:lnTo>
                    <a:pt x="26" y="12"/>
                  </a:lnTo>
                  <a:lnTo>
                    <a:pt x="26" y="19"/>
                  </a:lnTo>
                  <a:lnTo>
                    <a:pt x="24" y="20"/>
                  </a:lnTo>
                  <a:lnTo>
                    <a:pt x="16" y="21"/>
                  </a:lnTo>
                  <a:lnTo>
                    <a:pt x="13" y="22"/>
                  </a:lnTo>
                  <a:lnTo>
                    <a:pt x="0" y="26"/>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3" name="Freeform 32">
              <a:extLst>
                <a:ext uri="{FF2B5EF4-FFF2-40B4-BE49-F238E27FC236}">
                  <a16:creationId xmlns:a16="http://schemas.microsoft.com/office/drawing/2014/main" id="{B65BD2F2-933E-43C6-B52E-73437D9FB463}"/>
                </a:ext>
              </a:extLst>
            </p:cNvPr>
            <p:cNvSpPr>
              <a:spLocks/>
            </p:cNvSpPr>
            <p:nvPr/>
          </p:nvSpPr>
          <p:spPr bwMode="auto">
            <a:xfrm>
              <a:off x="6154738" y="4000500"/>
              <a:ext cx="295275" cy="255588"/>
            </a:xfrm>
            <a:custGeom>
              <a:avLst/>
              <a:gdLst>
                <a:gd name="T0" fmla="*/ 136 w 218"/>
                <a:gd name="T1" fmla="*/ 4 h 173"/>
                <a:gd name="T2" fmla="*/ 114 w 218"/>
                <a:gd name="T3" fmla="*/ 16 h 173"/>
                <a:gd name="T4" fmla="*/ 106 w 218"/>
                <a:gd name="T5" fmla="*/ 27 h 173"/>
                <a:gd name="T6" fmla="*/ 100 w 218"/>
                <a:gd name="T7" fmla="*/ 41 h 173"/>
                <a:gd name="T8" fmla="*/ 73 w 218"/>
                <a:gd name="T9" fmla="*/ 60 h 173"/>
                <a:gd name="T10" fmla="*/ 57 w 218"/>
                <a:gd name="T11" fmla="*/ 66 h 173"/>
                <a:gd name="T12" fmla="*/ 39 w 218"/>
                <a:gd name="T13" fmla="*/ 85 h 173"/>
                <a:gd name="T14" fmla="*/ 19 w 218"/>
                <a:gd name="T15" fmla="*/ 89 h 173"/>
                <a:gd name="T16" fmla="*/ 0 w 218"/>
                <a:gd name="T17" fmla="*/ 87 h 173"/>
                <a:gd name="T18" fmla="*/ 14 w 218"/>
                <a:gd name="T19" fmla="*/ 110 h 173"/>
                <a:gd name="T20" fmla="*/ 9 w 218"/>
                <a:gd name="T21" fmla="*/ 122 h 173"/>
                <a:gd name="T22" fmla="*/ 7 w 218"/>
                <a:gd name="T23" fmla="*/ 148 h 173"/>
                <a:gd name="T24" fmla="*/ 41 w 218"/>
                <a:gd name="T25" fmla="*/ 146 h 173"/>
                <a:gd name="T26" fmla="*/ 56 w 218"/>
                <a:gd name="T27" fmla="*/ 148 h 173"/>
                <a:gd name="T28" fmla="*/ 69 w 218"/>
                <a:gd name="T29" fmla="*/ 160 h 173"/>
                <a:gd name="T30" fmla="*/ 87 w 218"/>
                <a:gd name="T31" fmla="*/ 141 h 173"/>
                <a:gd name="T32" fmla="*/ 105 w 218"/>
                <a:gd name="T33" fmla="*/ 141 h 173"/>
                <a:gd name="T34" fmla="*/ 113 w 218"/>
                <a:gd name="T35" fmla="*/ 123 h 173"/>
                <a:gd name="T36" fmla="*/ 105 w 218"/>
                <a:gd name="T37" fmla="*/ 114 h 173"/>
                <a:gd name="T38" fmla="*/ 116 w 218"/>
                <a:gd name="T39" fmla="*/ 88 h 173"/>
                <a:gd name="T40" fmla="*/ 140 w 218"/>
                <a:gd name="T41" fmla="*/ 74 h 173"/>
                <a:gd name="T42" fmla="*/ 149 w 218"/>
                <a:gd name="T43" fmla="*/ 61 h 173"/>
                <a:gd name="T44" fmla="*/ 157 w 218"/>
                <a:gd name="T45" fmla="*/ 56 h 173"/>
                <a:gd name="T46" fmla="*/ 158 w 218"/>
                <a:gd name="T47" fmla="*/ 46 h 173"/>
                <a:gd name="T48" fmla="*/ 169 w 218"/>
                <a:gd name="T49" fmla="*/ 40 h 173"/>
                <a:gd name="T50" fmla="*/ 185 w 218"/>
                <a:gd name="T51" fmla="*/ 40 h 173"/>
                <a:gd name="T52" fmla="*/ 183 w 218"/>
                <a:gd name="T53" fmla="*/ 36 h 173"/>
                <a:gd name="T54" fmla="*/ 171 w 218"/>
                <a:gd name="T55" fmla="*/ 33 h 173"/>
                <a:gd name="T56" fmla="*/ 166 w 218"/>
                <a:gd name="T57" fmla="*/ 28 h 173"/>
                <a:gd name="T58" fmla="*/ 155 w 218"/>
                <a:gd name="T59" fmla="*/ 22 h 173"/>
                <a:gd name="T60" fmla="*/ 145 w 218"/>
                <a:gd name="T61" fmla="*/ 20 h 173"/>
                <a:gd name="T62" fmla="*/ 158 w 218"/>
                <a:gd name="T63" fmla="*/ 0 h 17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8"/>
                <a:gd name="T97" fmla="*/ 0 h 173"/>
                <a:gd name="T98" fmla="*/ 218 w 218"/>
                <a:gd name="T99" fmla="*/ 173 h 17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8" h="173">
                  <a:moveTo>
                    <a:pt x="166" y="0"/>
                  </a:moveTo>
                  <a:lnTo>
                    <a:pt x="159" y="4"/>
                  </a:lnTo>
                  <a:lnTo>
                    <a:pt x="153" y="13"/>
                  </a:lnTo>
                  <a:lnTo>
                    <a:pt x="134" y="17"/>
                  </a:lnTo>
                  <a:lnTo>
                    <a:pt x="132" y="28"/>
                  </a:lnTo>
                  <a:lnTo>
                    <a:pt x="124" y="29"/>
                  </a:lnTo>
                  <a:lnTo>
                    <a:pt x="120" y="33"/>
                  </a:lnTo>
                  <a:lnTo>
                    <a:pt x="117" y="44"/>
                  </a:lnTo>
                  <a:lnTo>
                    <a:pt x="99" y="65"/>
                  </a:lnTo>
                  <a:lnTo>
                    <a:pt x="86" y="65"/>
                  </a:lnTo>
                  <a:lnTo>
                    <a:pt x="76" y="67"/>
                  </a:lnTo>
                  <a:lnTo>
                    <a:pt x="67" y="71"/>
                  </a:lnTo>
                  <a:lnTo>
                    <a:pt x="54" y="85"/>
                  </a:lnTo>
                  <a:lnTo>
                    <a:pt x="46" y="91"/>
                  </a:lnTo>
                  <a:lnTo>
                    <a:pt x="34" y="95"/>
                  </a:lnTo>
                  <a:lnTo>
                    <a:pt x="22" y="96"/>
                  </a:lnTo>
                  <a:lnTo>
                    <a:pt x="9" y="96"/>
                  </a:lnTo>
                  <a:lnTo>
                    <a:pt x="0" y="94"/>
                  </a:lnTo>
                  <a:lnTo>
                    <a:pt x="13" y="114"/>
                  </a:lnTo>
                  <a:lnTo>
                    <a:pt x="16" y="118"/>
                  </a:lnTo>
                  <a:lnTo>
                    <a:pt x="16" y="128"/>
                  </a:lnTo>
                  <a:lnTo>
                    <a:pt x="11" y="131"/>
                  </a:lnTo>
                  <a:lnTo>
                    <a:pt x="4" y="141"/>
                  </a:lnTo>
                  <a:lnTo>
                    <a:pt x="8" y="159"/>
                  </a:lnTo>
                  <a:lnTo>
                    <a:pt x="27" y="155"/>
                  </a:lnTo>
                  <a:lnTo>
                    <a:pt x="48" y="157"/>
                  </a:lnTo>
                  <a:lnTo>
                    <a:pt x="57" y="157"/>
                  </a:lnTo>
                  <a:lnTo>
                    <a:pt x="66" y="159"/>
                  </a:lnTo>
                  <a:lnTo>
                    <a:pt x="72" y="164"/>
                  </a:lnTo>
                  <a:lnTo>
                    <a:pt x="81" y="172"/>
                  </a:lnTo>
                  <a:lnTo>
                    <a:pt x="100" y="155"/>
                  </a:lnTo>
                  <a:lnTo>
                    <a:pt x="102" y="152"/>
                  </a:lnTo>
                  <a:lnTo>
                    <a:pt x="106" y="151"/>
                  </a:lnTo>
                  <a:lnTo>
                    <a:pt x="123" y="151"/>
                  </a:lnTo>
                  <a:lnTo>
                    <a:pt x="129" y="152"/>
                  </a:lnTo>
                  <a:lnTo>
                    <a:pt x="132" y="132"/>
                  </a:lnTo>
                  <a:lnTo>
                    <a:pt x="124" y="128"/>
                  </a:lnTo>
                  <a:lnTo>
                    <a:pt x="123" y="123"/>
                  </a:lnTo>
                  <a:lnTo>
                    <a:pt x="124" y="112"/>
                  </a:lnTo>
                  <a:lnTo>
                    <a:pt x="136" y="95"/>
                  </a:lnTo>
                  <a:lnTo>
                    <a:pt x="146" y="87"/>
                  </a:lnTo>
                  <a:lnTo>
                    <a:pt x="164" y="80"/>
                  </a:lnTo>
                  <a:lnTo>
                    <a:pt x="170" y="73"/>
                  </a:lnTo>
                  <a:lnTo>
                    <a:pt x="175" y="66"/>
                  </a:lnTo>
                  <a:lnTo>
                    <a:pt x="178" y="61"/>
                  </a:lnTo>
                  <a:lnTo>
                    <a:pt x="184" y="60"/>
                  </a:lnTo>
                  <a:lnTo>
                    <a:pt x="184" y="53"/>
                  </a:lnTo>
                  <a:lnTo>
                    <a:pt x="185" y="49"/>
                  </a:lnTo>
                  <a:lnTo>
                    <a:pt x="191" y="44"/>
                  </a:lnTo>
                  <a:lnTo>
                    <a:pt x="198" y="43"/>
                  </a:lnTo>
                  <a:lnTo>
                    <a:pt x="211" y="43"/>
                  </a:lnTo>
                  <a:lnTo>
                    <a:pt x="217" y="43"/>
                  </a:lnTo>
                  <a:lnTo>
                    <a:pt x="217" y="42"/>
                  </a:lnTo>
                  <a:lnTo>
                    <a:pt x="214" y="39"/>
                  </a:lnTo>
                  <a:lnTo>
                    <a:pt x="208" y="35"/>
                  </a:lnTo>
                  <a:lnTo>
                    <a:pt x="201" y="35"/>
                  </a:lnTo>
                  <a:lnTo>
                    <a:pt x="197" y="33"/>
                  </a:lnTo>
                  <a:lnTo>
                    <a:pt x="195" y="30"/>
                  </a:lnTo>
                  <a:lnTo>
                    <a:pt x="190" y="26"/>
                  </a:lnTo>
                  <a:lnTo>
                    <a:pt x="182" y="24"/>
                  </a:lnTo>
                  <a:lnTo>
                    <a:pt x="174" y="28"/>
                  </a:lnTo>
                  <a:lnTo>
                    <a:pt x="170" y="22"/>
                  </a:lnTo>
                  <a:lnTo>
                    <a:pt x="169" y="12"/>
                  </a:lnTo>
                  <a:lnTo>
                    <a:pt x="185" y="0"/>
                  </a:lnTo>
                  <a:lnTo>
                    <a:pt x="166"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4" name="Freeform 33">
              <a:extLst>
                <a:ext uri="{FF2B5EF4-FFF2-40B4-BE49-F238E27FC236}">
                  <a16:creationId xmlns:a16="http://schemas.microsoft.com/office/drawing/2014/main" id="{328D1895-3720-4024-9618-E0B8083130D8}"/>
                </a:ext>
              </a:extLst>
            </p:cNvPr>
            <p:cNvSpPr>
              <a:spLocks/>
            </p:cNvSpPr>
            <p:nvPr/>
          </p:nvSpPr>
          <p:spPr bwMode="auto">
            <a:xfrm>
              <a:off x="6854825" y="4600575"/>
              <a:ext cx="101600" cy="98425"/>
            </a:xfrm>
            <a:custGeom>
              <a:avLst/>
              <a:gdLst>
                <a:gd name="T0" fmla="*/ 0 w 75"/>
                <a:gd name="T1" fmla="*/ 0 h 66"/>
                <a:gd name="T2" fmla="*/ 13 w 75"/>
                <a:gd name="T3" fmla="*/ 23 h 66"/>
                <a:gd name="T4" fmla="*/ 61 w 75"/>
                <a:gd name="T5" fmla="*/ 61 h 66"/>
                <a:gd name="T6" fmla="*/ 63 w 75"/>
                <a:gd name="T7" fmla="*/ 61 h 66"/>
                <a:gd name="T8" fmla="*/ 63 w 75"/>
                <a:gd name="T9" fmla="*/ 57 h 66"/>
                <a:gd name="T10" fmla="*/ 61 w 75"/>
                <a:gd name="T11" fmla="*/ 50 h 66"/>
                <a:gd name="T12" fmla="*/ 53 w 75"/>
                <a:gd name="T13" fmla="*/ 39 h 66"/>
                <a:gd name="T14" fmla="*/ 52 w 75"/>
                <a:gd name="T15" fmla="*/ 31 h 66"/>
                <a:gd name="T16" fmla="*/ 50 w 75"/>
                <a:gd name="T17" fmla="*/ 22 h 66"/>
                <a:gd name="T18" fmla="*/ 42 w 75"/>
                <a:gd name="T19" fmla="*/ 11 h 66"/>
                <a:gd name="T20" fmla="*/ 35 w 75"/>
                <a:gd name="T21" fmla="*/ 12 h 66"/>
                <a:gd name="T22" fmla="*/ 27 w 75"/>
                <a:gd name="T23" fmla="*/ 4 h 66"/>
                <a:gd name="T24" fmla="*/ 11 w 75"/>
                <a:gd name="T25" fmla="*/ 6 h 66"/>
                <a:gd name="T26" fmla="*/ 0 w 75"/>
                <a:gd name="T27" fmla="*/ 0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66"/>
                <a:gd name="T44" fmla="*/ 75 w 75"/>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66">
                  <a:moveTo>
                    <a:pt x="0" y="0"/>
                  </a:moveTo>
                  <a:lnTo>
                    <a:pt x="15" y="25"/>
                  </a:lnTo>
                  <a:lnTo>
                    <a:pt x="71" y="65"/>
                  </a:lnTo>
                  <a:lnTo>
                    <a:pt x="74" y="65"/>
                  </a:lnTo>
                  <a:lnTo>
                    <a:pt x="74" y="61"/>
                  </a:lnTo>
                  <a:lnTo>
                    <a:pt x="71" y="53"/>
                  </a:lnTo>
                  <a:lnTo>
                    <a:pt x="62" y="41"/>
                  </a:lnTo>
                  <a:lnTo>
                    <a:pt x="61" y="33"/>
                  </a:lnTo>
                  <a:lnTo>
                    <a:pt x="59" y="23"/>
                  </a:lnTo>
                  <a:lnTo>
                    <a:pt x="49" y="12"/>
                  </a:lnTo>
                  <a:lnTo>
                    <a:pt x="41" y="13"/>
                  </a:lnTo>
                  <a:lnTo>
                    <a:pt x="32" y="4"/>
                  </a:lnTo>
                  <a:lnTo>
                    <a:pt x="13" y="6"/>
                  </a:lnTo>
                  <a:lnTo>
                    <a:pt x="0"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5" name="Freeform 34">
              <a:extLst>
                <a:ext uri="{FF2B5EF4-FFF2-40B4-BE49-F238E27FC236}">
                  <a16:creationId xmlns:a16="http://schemas.microsoft.com/office/drawing/2014/main" id="{0367CFE5-8FFF-43D1-A7E7-737273338F61}"/>
                </a:ext>
              </a:extLst>
            </p:cNvPr>
            <p:cNvSpPr>
              <a:spLocks/>
            </p:cNvSpPr>
            <p:nvPr/>
          </p:nvSpPr>
          <p:spPr bwMode="auto">
            <a:xfrm>
              <a:off x="6654800" y="4229100"/>
              <a:ext cx="76200" cy="82550"/>
            </a:xfrm>
            <a:custGeom>
              <a:avLst/>
              <a:gdLst>
                <a:gd name="T0" fmla="*/ 47 w 57"/>
                <a:gd name="T1" fmla="*/ 51 h 56"/>
                <a:gd name="T2" fmla="*/ 44 w 57"/>
                <a:gd name="T3" fmla="*/ 41 h 56"/>
                <a:gd name="T4" fmla="*/ 43 w 57"/>
                <a:gd name="T5" fmla="*/ 38 h 56"/>
                <a:gd name="T6" fmla="*/ 36 w 57"/>
                <a:gd name="T7" fmla="*/ 35 h 56"/>
                <a:gd name="T8" fmla="*/ 28 w 57"/>
                <a:gd name="T9" fmla="*/ 34 h 56"/>
                <a:gd name="T10" fmla="*/ 24 w 57"/>
                <a:gd name="T11" fmla="*/ 34 h 56"/>
                <a:gd name="T12" fmla="*/ 17 w 57"/>
                <a:gd name="T13" fmla="*/ 37 h 56"/>
                <a:gd name="T14" fmla="*/ 14 w 57"/>
                <a:gd name="T15" fmla="*/ 39 h 56"/>
                <a:gd name="T16" fmla="*/ 5 w 57"/>
                <a:gd name="T17" fmla="*/ 43 h 56"/>
                <a:gd name="T18" fmla="*/ 4 w 57"/>
                <a:gd name="T19" fmla="*/ 30 h 56"/>
                <a:gd name="T20" fmla="*/ 4 w 57"/>
                <a:gd name="T21" fmla="*/ 27 h 56"/>
                <a:gd name="T22" fmla="*/ 2 w 57"/>
                <a:gd name="T23" fmla="*/ 23 h 56"/>
                <a:gd name="T24" fmla="*/ 0 w 57"/>
                <a:gd name="T25" fmla="*/ 19 h 56"/>
                <a:gd name="T26" fmla="*/ 1 w 57"/>
                <a:gd name="T27" fmla="*/ 11 h 56"/>
                <a:gd name="T28" fmla="*/ 3 w 57"/>
                <a:gd name="T29" fmla="*/ 4 h 56"/>
                <a:gd name="T30" fmla="*/ 4 w 57"/>
                <a:gd name="T31" fmla="*/ 2 h 56"/>
                <a:gd name="T32" fmla="*/ 9 w 57"/>
                <a:gd name="T33" fmla="*/ 0 h 56"/>
                <a:gd name="T34" fmla="*/ 22 w 57"/>
                <a:gd name="T35" fmla="*/ 0 h 56"/>
                <a:gd name="T36" fmla="*/ 24 w 57"/>
                <a:gd name="T37" fmla="*/ 0 h 56"/>
                <a:gd name="T38" fmla="*/ 26 w 57"/>
                <a:gd name="T39" fmla="*/ 5 h 56"/>
                <a:gd name="T40" fmla="*/ 26 w 57"/>
                <a:gd name="T41" fmla="*/ 13 h 56"/>
                <a:gd name="T42" fmla="*/ 29 w 57"/>
                <a:gd name="T43" fmla="*/ 24 h 56"/>
                <a:gd name="T44" fmla="*/ 33 w 57"/>
                <a:gd name="T45" fmla="*/ 23 h 56"/>
                <a:gd name="T46" fmla="*/ 35 w 57"/>
                <a:gd name="T47" fmla="*/ 19 h 56"/>
                <a:gd name="T48" fmla="*/ 38 w 57"/>
                <a:gd name="T49" fmla="*/ 11 h 56"/>
                <a:gd name="T50" fmla="*/ 41 w 57"/>
                <a:gd name="T51" fmla="*/ 11 h 56"/>
                <a:gd name="T52" fmla="*/ 44 w 57"/>
                <a:gd name="T53" fmla="*/ 18 h 56"/>
                <a:gd name="T54" fmla="*/ 47 w 57"/>
                <a:gd name="T55" fmla="*/ 36 h 56"/>
                <a:gd name="T56" fmla="*/ 47 w 57"/>
                <a:gd name="T57" fmla="*/ 51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7"/>
                <a:gd name="T88" fmla="*/ 0 h 56"/>
                <a:gd name="T89" fmla="*/ 57 w 57"/>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7" h="56">
                  <a:moveTo>
                    <a:pt x="56" y="55"/>
                  </a:moveTo>
                  <a:lnTo>
                    <a:pt x="52" y="44"/>
                  </a:lnTo>
                  <a:lnTo>
                    <a:pt x="51" y="41"/>
                  </a:lnTo>
                  <a:lnTo>
                    <a:pt x="43" y="38"/>
                  </a:lnTo>
                  <a:lnTo>
                    <a:pt x="33" y="37"/>
                  </a:lnTo>
                  <a:lnTo>
                    <a:pt x="28" y="37"/>
                  </a:lnTo>
                  <a:lnTo>
                    <a:pt x="20" y="40"/>
                  </a:lnTo>
                  <a:lnTo>
                    <a:pt x="17" y="42"/>
                  </a:lnTo>
                  <a:lnTo>
                    <a:pt x="6" y="46"/>
                  </a:lnTo>
                  <a:lnTo>
                    <a:pt x="5" y="32"/>
                  </a:lnTo>
                  <a:lnTo>
                    <a:pt x="5" y="29"/>
                  </a:lnTo>
                  <a:lnTo>
                    <a:pt x="2" y="25"/>
                  </a:lnTo>
                  <a:lnTo>
                    <a:pt x="0" y="20"/>
                  </a:lnTo>
                  <a:lnTo>
                    <a:pt x="1" y="12"/>
                  </a:lnTo>
                  <a:lnTo>
                    <a:pt x="3" y="4"/>
                  </a:lnTo>
                  <a:lnTo>
                    <a:pt x="5" y="2"/>
                  </a:lnTo>
                  <a:lnTo>
                    <a:pt x="11" y="0"/>
                  </a:lnTo>
                  <a:lnTo>
                    <a:pt x="26" y="0"/>
                  </a:lnTo>
                  <a:lnTo>
                    <a:pt x="29" y="0"/>
                  </a:lnTo>
                  <a:lnTo>
                    <a:pt x="31" y="5"/>
                  </a:lnTo>
                  <a:lnTo>
                    <a:pt x="31" y="14"/>
                  </a:lnTo>
                  <a:lnTo>
                    <a:pt x="35" y="26"/>
                  </a:lnTo>
                  <a:lnTo>
                    <a:pt x="39" y="25"/>
                  </a:lnTo>
                  <a:lnTo>
                    <a:pt x="42" y="20"/>
                  </a:lnTo>
                  <a:lnTo>
                    <a:pt x="45" y="12"/>
                  </a:lnTo>
                  <a:lnTo>
                    <a:pt x="49" y="12"/>
                  </a:lnTo>
                  <a:lnTo>
                    <a:pt x="52" y="19"/>
                  </a:lnTo>
                  <a:lnTo>
                    <a:pt x="56" y="39"/>
                  </a:lnTo>
                  <a:lnTo>
                    <a:pt x="56" y="55"/>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6" name="Freeform 35">
              <a:extLst>
                <a:ext uri="{FF2B5EF4-FFF2-40B4-BE49-F238E27FC236}">
                  <a16:creationId xmlns:a16="http://schemas.microsoft.com/office/drawing/2014/main" id="{9578B648-9268-41F6-9A61-339067D23AC0}"/>
                </a:ext>
              </a:extLst>
            </p:cNvPr>
            <p:cNvSpPr>
              <a:spLocks/>
            </p:cNvSpPr>
            <p:nvPr/>
          </p:nvSpPr>
          <p:spPr bwMode="auto">
            <a:xfrm>
              <a:off x="6724650" y="4173538"/>
              <a:ext cx="146050" cy="400050"/>
            </a:xfrm>
            <a:custGeom>
              <a:avLst/>
              <a:gdLst>
                <a:gd name="T0" fmla="*/ 57 w 107"/>
                <a:gd name="T1" fmla="*/ 143 h 272"/>
                <a:gd name="T2" fmla="*/ 35 w 107"/>
                <a:gd name="T3" fmla="*/ 157 h 272"/>
                <a:gd name="T4" fmla="*/ 23 w 107"/>
                <a:gd name="T5" fmla="*/ 155 h 272"/>
                <a:gd name="T6" fmla="*/ 23 w 107"/>
                <a:gd name="T7" fmla="*/ 144 h 272"/>
                <a:gd name="T8" fmla="*/ 22 w 107"/>
                <a:gd name="T9" fmla="*/ 127 h 272"/>
                <a:gd name="T10" fmla="*/ 7 w 107"/>
                <a:gd name="T11" fmla="*/ 99 h 272"/>
                <a:gd name="T12" fmla="*/ 3 w 107"/>
                <a:gd name="T13" fmla="*/ 95 h 272"/>
                <a:gd name="T14" fmla="*/ 1 w 107"/>
                <a:gd name="T15" fmla="*/ 86 h 272"/>
                <a:gd name="T16" fmla="*/ 2 w 107"/>
                <a:gd name="T17" fmla="*/ 82 h 272"/>
                <a:gd name="T18" fmla="*/ 3 w 107"/>
                <a:gd name="T19" fmla="*/ 77 h 272"/>
                <a:gd name="T20" fmla="*/ 1 w 107"/>
                <a:gd name="T21" fmla="*/ 71 h 272"/>
                <a:gd name="T22" fmla="*/ 0 w 107"/>
                <a:gd name="T23" fmla="*/ 68 h 272"/>
                <a:gd name="T24" fmla="*/ 1 w 107"/>
                <a:gd name="T25" fmla="*/ 65 h 272"/>
                <a:gd name="T26" fmla="*/ 3 w 107"/>
                <a:gd name="T27" fmla="*/ 66 h 272"/>
                <a:gd name="T28" fmla="*/ 5 w 107"/>
                <a:gd name="T29" fmla="*/ 68 h 272"/>
                <a:gd name="T30" fmla="*/ 9 w 107"/>
                <a:gd name="T31" fmla="*/ 68 h 272"/>
                <a:gd name="T32" fmla="*/ 9 w 107"/>
                <a:gd name="T33" fmla="*/ 64 h 272"/>
                <a:gd name="T34" fmla="*/ 5 w 107"/>
                <a:gd name="T35" fmla="*/ 53 h 272"/>
                <a:gd name="T36" fmla="*/ 5 w 107"/>
                <a:gd name="T37" fmla="*/ 52 h 272"/>
                <a:gd name="T38" fmla="*/ 7 w 107"/>
                <a:gd name="T39" fmla="*/ 52 h 272"/>
                <a:gd name="T40" fmla="*/ 14 w 107"/>
                <a:gd name="T41" fmla="*/ 56 h 272"/>
                <a:gd name="T42" fmla="*/ 19 w 107"/>
                <a:gd name="T43" fmla="*/ 53 h 272"/>
                <a:gd name="T44" fmla="*/ 20 w 107"/>
                <a:gd name="T45" fmla="*/ 52 h 272"/>
                <a:gd name="T46" fmla="*/ 23 w 107"/>
                <a:gd name="T47" fmla="*/ 49 h 272"/>
                <a:gd name="T48" fmla="*/ 25 w 107"/>
                <a:gd name="T49" fmla="*/ 46 h 272"/>
                <a:gd name="T50" fmla="*/ 32 w 107"/>
                <a:gd name="T51" fmla="*/ 31 h 272"/>
                <a:gd name="T52" fmla="*/ 34 w 107"/>
                <a:gd name="T53" fmla="*/ 29 h 272"/>
                <a:gd name="T54" fmla="*/ 36 w 107"/>
                <a:gd name="T55" fmla="*/ 24 h 272"/>
                <a:gd name="T56" fmla="*/ 48 w 107"/>
                <a:gd name="T57" fmla="*/ 22 h 272"/>
                <a:gd name="T58" fmla="*/ 59 w 107"/>
                <a:gd name="T59" fmla="*/ 0 h 272"/>
                <a:gd name="T60" fmla="*/ 68 w 107"/>
                <a:gd name="T61" fmla="*/ 7 h 272"/>
                <a:gd name="T62" fmla="*/ 72 w 107"/>
                <a:gd name="T63" fmla="*/ 19 h 272"/>
                <a:gd name="T64" fmla="*/ 78 w 107"/>
                <a:gd name="T65" fmla="*/ 31 h 272"/>
                <a:gd name="T66" fmla="*/ 77 w 107"/>
                <a:gd name="T67" fmla="*/ 31 h 272"/>
                <a:gd name="T68" fmla="*/ 72 w 107"/>
                <a:gd name="T69" fmla="*/ 35 h 272"/>
                <a:gd name="T70" fmla="*/ 70 w 107"/>
                <a:gd name="T71" fmla="*/ 44 h 272"/>
                <a:gd name="T72" fmla="*/ 65 w 107"/>
                <a:gd name="T73" fmla="*/ 65 h 272"/>
                <a:gd name="T74" fmla="*/ 70 w 107"/>
                <a:gd name="T75" fmla="*/ 71 h 272"/>
                <a:gd name="T76" fmla="*/ 76 w 107"/>
                <a:gd name="T77" fmla="*/ 74 h 272"/>
                <a:gd name="T78" fmla="*/ 82 w 107"/>
                <a:gd name="T79" fmla="*/ 72 h 272"/>
                <a:gd name="T80" fmla="*/ 91 w 107"/>
                <a:gd name="T81" fmla="*/ 78 h 272"/>
                <a:gd name="T82" fmla="*/ 89 w 107"/>
                <a:gd name="T83" fmla="*/ 91 h 272"/>
                <a:gd name="T84" fmla="*/ 85 w 107"/>
                <a:gd name="T85" fmla="*/ 93 h 272"/>
                <a:gd name="T86" fmla="*/ 78 w 107"/>
                <a:gd name="T87" fmla="*/ 96 h 272"/>
                <a:gd name="T88" fmla="*/ 73 w 107"/>
                <a:gd name="T89" fmla="*/ 107 h 272"/>
                <a:gd name="T90" fmla="*/ 77 w 107"/>
                <a:gd name="T91" fmla="*/ 127 h 272"/>
                <a:gd name="T92" fmla="*/ 72 w 107"/>
                <a:gd name="T93" fmla="*/ 130 h 272"/>
                <a:gd name="T94" fmla="*/ 73 w 107"/>
                <a:gd name="T95" fmla="*/ 145 h 272"/>
                <a:gd name="T96" fmla="*/ 73 w 107"/>
                <a:gd name="T97" fmla="*/ 155 h 272"/>
                <a:gd name="T98" fmla="*/ 77 w 107"/>
                <a:gd name="T99" fmla="*/ 164 h 272"/>
                <a:gd name="T100" fmla="*/ 80 w 107"/>
                <a:gd name="T101" fmla="*/ 172 h 272"/>
                <a:gd name="T102" fmla="*/ 78 w 107"/>
                <a:gd name="T103" fmla="*/ 195 h 272"/>
                <a:gd name="T104" fmla="*/ 77 w 107"/>
                <a:gd name="T105" fmla="*/ 201 h 272"/>
                <a:gd name="T106" fmla="*/ 78 w 107"/>
                <a:gd name="T107" fmla="*/ 207 h 272"/>
                <a:gd name="T108" fmla="*/ 77 w 107"/>
                <a:gd name="T109" fmla="*/ 226 h 272"/>
                <a:gd name="T110" fmla="*/ 70 w 107"/>
                <a:gd name="T111" fmla="*/ 251 h 272"/>
                <a:gd name="T112" fmla="*/ 65 w 107"/>
                <a:gd name="T113" fmla="*/ 243 h 272"/>
                <a:gd name="T114" fmla="*/ 64 w 107"/>
                <a:gd name="T115" fmla="*/ 229 h 272"/>
                <a:gd name="T116" fmla="*/ 68 w 107"/>
                <a:gd name="T117" fmla="*/ 208 h 272"/>
                <a:gd name="T118" fmla="*/ 69 w 107"/>
                <a:gd name="T119" fmla="*/ 182 h 272"/>
                <a:gd name="T120" fmla="*/ 65 w 107"/>
                <a:gd name="T121" fmla="*/ 160 h 272"/>
                <a:gd name="T122" fmla="*/ 62 w 107"/>
                <a:gd name="T123" fmla="*/ 149 h 272"/>
                <a:gd name="T124" fmla="*/ 57 w 107"/>
                <a:gd name="T125" fmla="*/ 143 h 2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7"/>
                <a:gd name="T190" fmla="*/ 0 h 272"/>
                <a:gd name="T191" fmla="*/ 107 w 107"/>
                <a:gd name="T192" fmla="*/ 272 h 27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7" h="272">
                  <a:moveTo>
                    <a:pt x="66" y="154"/>
                  </a:moveTo>
                  <a:lnTo>
                    <a:pt x="41" y="169"/>
                  </a:lnTo>
                  <a:lnTo>
                    <a:pt x="27" y="167"/>
                  </a:lnTo>
                  <a:lnTo>
                    <a:pt x="27" y="155"/>
                  </a:lnTo>
                  <a:lnTo>
                    <a:pt x="26" y="137"/>
                  </a:lnTo>
                  <a:lnTo>
                    <a:pt x="8" y="107"/>
                  </a:lnTo>
                  <a:lnTo>
                    <a:pt x="4" y="103"/>
                  </a:lnTo>
                  <a:lnTo>
                    <a:pt x="1" y="93"/>
                  </a:lnTo>
                  <a:lnTo>
                    <a:pt x="2" y="88"/>
                  </a:lnTo>
                  <a:lnTo>
                    <a:pt x="3" y="83"/>
                  </a:lnTo>
                  <a:lnTo>
                    <a:pt x="1" y="77"/>
                  </a:lnTo>
                  <a:lnTo>
                    <a:pt x="0" y="73"/>
                  </a:lnTo>
                  <a:lnTo>
                    <a:pt x="1" y="70"/>
                  </a:lnTo>
                  <a:lnTo>
                    <a:pt x="4" y="71"/>
                  </a:lnTo>
                  <a:lnTo>
                    <a:pt x="6" y="73"/>
                  </a:lnTo>
                  <a:lnTo>
                    <a:pt x="10" y="73"/>
                  </a:lnTo>
                  <a:lnTo>
                    <a:pt x="10" y="69"/>
                  </a:lnTo>
                  <a:lnTo>
                    <a:pt x="6" y="57"/>
                  </a:lnTo>
                  <a:lnTo>
                    <a:pt x="6" y="56"/>
                  </a:lnTo>
                  <a:lnTo>
                    <a:pt x="8" y="56"/>
                  </a:lnTo>
                  <a:lnTo>
                    <a:pt x="16" y="60"/>
                  </a:lnTo>
                  <a:lnTo>
                    <a:pt x="22" y="57"/>
                  </a:lnTo>
                  <a:lnTo>
                    <a:pt x="23" y="56"/>
                  </a:lnTo>
                  <a:lnTo>
                    <a:pt x="27" y="53"/>
                  </a:lnTo>
                  <a:lnTo>
                    <a:pt x="29" y="50"/>
                  </a:lnTo>
                  <a:lnTo>
                    <a:pt x="37" y="33"/>
                  </a:lnTo>
                  <a:lnTo>
                    <a:pt x="39" y="31"/>
                  </a:lnTo>
                  <a:lnTo>
                    <a:pt x="42" y="26"/>
                  </a:lnTo>
                  <a:lnTo>
                    <a:pt x="56" y="24"/>
                  </a:lnTo>
                  <a:lnTo>
                    <a:pt x="69" y="0"/>
                  </a:lnTo>
                  <a:lnTo>
                    <a:pt x="79" y="8"/>
                  </a:lnTo>
                  <a:lnTo>
                    <a:pt x="84" y="20"/>
                  </a:lnTo>
                  <a:lnTo>
                    <a:pt x="91" y="33"/>
                  </a:lnTo>
                  <a:lnTo>
                    <a:pt x="89" y="33"/>
                  </a:lnTo>
                  <a:lnTo>
                    <a:pt x="84" y="38"/>
                  </a:lnTo>
                  <a:lnTo>
                    <a:pt x="81" y="48"/>
                  </a:lnTo>
                  <a:lnTo>
                    <a:pt x="76" y="70"/>
                  </a:lnTo>
                  <a:lnTo>
                    <a:pt x="81" y="77"/>
                  </a:lnTo>
                  <a:lnTo>
                    <a:pt x="88" y="80"/>
                  </a:lnTo>
                  <a:lnTo>
                    <a:pt x="95" y="78"/>
                  </a:lnTo>
                  <a:lnTo>
                    <a:pt x="106" y="84"/>
                  </a:lnTo>
                  <a:lnTo>
                    <a:pt x="103" y="98"/>
                  </a:lnTo>
                  <a:lnTo>
                    <a:pt x="99" y="100"/>
                  </a:lnTo>
                  <a:lnTo>
                    <a:pt x="91" y="104"/>
                  </a:lnTo>
                  <a:lnTo>
                    <a:pt x="85" y="115"/>
                  </a:lnTo>
                  <a:lnTo>
                    <a:pt x="89" y="137"/>
                  </a:lnTo>
                  <a:lnTo>
                    <a:pt x="84" y="140"/>
                  </a:lnTo>
                  <a:lnTo>
                    <a:pt x="85" y="156"/>
                  </a:lnTo>
                  <a:lnTo>
                    <a:pt x="85" y="167"/>
                  </a:lnTo>
                  <a:lnTo>
                    <a:pt x="89" y="177"/>
                  </a:lnTo>
                  <a:lnTo>
                    <a:pt x="93" y="186"/>
                  </a:lnTo>
                  <a:lnTo>
                    <a:pt x="91" y="210"/>
                  </a:lnTo>
                  <a:lnTo>
                    <a:pt x="90" y="217"/>
                  </a:lnTo>
                  <a:lnTo>
                    <a:pt x="91" y="223"/>
                  </a:lnTo>
                  <a:lnTo>
                    <a:pt x="89" y="244"/>
                  </a:lnTo>
                  <a:lnTo>
                    <a:pt x="81" y="271"/>
                  </a:lnTo>
                  <a:lnTo>
                    <a:pt x="76" y="262"/>
                  </a:lnTo>
                  <a:lnTo>
                    <a:pt x="75" y="247"/>
                  </a:lnTo>
                  <a:lnTo>
                    <a:pt x="79" y="224"/>
                  </a:lnTo>
                  <a:lnTo>
                    <a:pt x="80" y="196"/>
                  </a:lnTo>
                  <a:lnTo>
                    <a:pt x="76" y="173"/>
                  </a:lnTo>
                  <a:lnTo>
                    <a:pt x="72" y="161"/>
                  </a:lnTo>
                  <a:lnTo>
                    <a:pt x="66" y="154"/>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7" name="Freeform 36">
              <a:extLst>
                <a:ext uri="{FF2B5EF4-FFF2-40B4-BE49-F238E27FC236}">
                  <a16:creationId xmlns:a16="http://schemas.microsoft.com/office/drawing/2014/main" id="{3C23961B-859D-4A6E-83C4-5BB4453B3918}"/>
                </a:ext>
              </a:extLst>
            </p:cNvPr>
            <p:cNvSpPr>
              <a:spLocks/>
            </p:cNvSpPr>
            <p:nvPr/>
          </p:nvSpPr>
          <p:spPr bwMode="auto">
            <a:xfrm>
              <a:off x="6908800" y="4267200"/>
              <a:ext cx="133350" cy="244475"/>
            </a:xfrm>
            <a:custGeom>
              <a:avLst/>
              <a:gdLst>
                <a:gd name="T0" fmla="*/ 52 w 98"/>
                <a:gd name="T1" fmla="*/ 113 h 166"/>
                <a:gd name="T2" fmla="*/ 55 w 98"/>
                <a:gd name="T3" fmla="*/ 113 h 166"/>
                <a:gd name="T4" fmla="*/ 59 w 98"/>
                <a:gd name="T5" fmla="*/ 120 h 166"/>
                <a:gd name="T6" fmla="*/ 59 w 98"/>
                <a:gd name="T7" fmla="*/ 121 h 166"/>
                <a:gd name="T8" fmla="*/ 55 w 98"/>
                <a:gd name="T9" fmla="*/ 136 h 166"/>
                <a:gd name="T10" fmla="*/ 45 w 98"/>
                <a:gd name="T11" fmla="*/ 140 h 166"/>
                <a:gd name="T12" fmla="*/ 43 w 98"/>
                <a:gd name="T13" fmla="*/ 145 h 166"/>
                <a:gd name="T14" fmla="*/ 39 w 98"/>
                <a:gd name="T15" fmla="*/ 145 h 166"/>
                <a:gd name="T16" fmla="*/ 35 w 98"/>
                <a:gd name="T17" fmla="*/ 151 h 166"/>
                <a:gd name="T18" fmla="*/ 42 w 98"/>
                <a:gd name="T19" fmla="*/ 150 h 166"/>
                <a:gd name="T20" fmla="*/ 56 w 98"/>
                <a:gd name="T21" fmla="*/ 153 h 166"/>
                <a:gd name="T22" fmla="*/ 69 w 98"/>
                <a:gd name="T23" fmla="*/ 140 h 166"/>
                <a:gd name="T24" fmla="*/ 78 w 98"/>
                <a:gd name="T25" fmla="*/ 130 h 166"/>
                <a:gd name="T26" fmla="*/ 83 w 98"/>
                <a:gd name="T27" fmla="*/ 122 h 166"/>
                <a:gd name="T28" fmla="*/ 83 w 98"/>
                <a:gd name="T29" fmla="*/ 112 h 166"/>
                <a:gd name="T30" fmla="*/ 78 w 98"/>
                <a:gd name="T31" fmla="*/ 91 h 166"/>
                <a:gd name="T32" fmla="*/ 77 w 98"/>
                <a:gd name="T33" fmla="*/ 83 h 166"/>
                <a:gd name="T34" fmla="*/ 74 w 98"/>
                <a:gd name="T35" fmla="*/ 75 h 166"/>
                <a:gd name="T36" fmla="*/ 64 w 98"/>
                <a:gd name="T37" fmla="*/ 71 h 166"/>
                <a:gd name="T38" fmla="*/ 54 w 98"/>
                <a:gd name="T39" fmla="*/ 66 h 166"/>
                <a:gd name="T40" fmla="*/ 43 w 98"/>
                <a:gd name="T41" fmla="*/ 47 h 166"/>
                <a:gd name="T42" fmla="*/ 43 w 98"/>
                <a:gd name="T43" fmla="*/ 40 h 166"/>
                <a:gd name="T44" fmla="*/ 45 w 98"/>
                <a:gd name="T45" fmla="*/ 34 h 166"/>
                <a:gd name="T46" fmla="*/ 49 w 98"/>
                <a:gd name="T47" fmla="*/ 31 h 166"/>
                <a:gd name="T48" fmla="*/ 55 w 98"/>
                <a:gd name="T49" fmla="*/ 28 h 166"/>
                <a:gd name="T50" fmla="*/ 65 w 98"/>
                <a:gd name="T51" fmla="*/ 22 h 166"/>
                <a:gd name="T52" fmla="*/ 64 w 98"/>
                <a:gd name="T53" fmla="*/ 16 h 166"/>
                <a:gd name="T54" fmla="*/ 60 w 98"/>
                <a:gd name="T55" fmla="*/ 10 h 166"/>
                <a:gd name="T56" fmla="*/ 56 w 98"/>
                <a:gd name="T57" fmla="*/ 5 h 166"/>
                <a:gd name="T58" fmla="*/ 53 w 98"/>
                <a:gd name="T59" fmla="*/ 2 h 166"/>
                <a:gd name="T60" fmla="*/ 46 w 98"/>
                <a:gd name="T61" fmla="*/ 0 h 166"/>
                <a:gd name="T62" fmla="*/ 43 w 98"/>
                <a:gd name="T63" fmla="*/ 1 h 166"/>
                <a:gd name="T64" fmla="*/ 32 w 98"/>
                <a:gd name="T65" fmla="*/ 1 h 166"/>
                <a:gd name="T66" fmla="*/ 21 w 98"/>
                <a:gd name="T67" fmla="*/ 0 h 166"/>
                <a:gd name="T68" fmla="*/ 14 w 98"/>
                <a:gd name="T69" fmla="*/ 0 h 166"/>
                <a:gd name="T70" fmla="*/ 4 w 98"/>
                <a:gd name="T71" fmla="*/ 1 h 166"/>
                <a:gd name="T72" fmla="*/ 1 w 98"/>
                <a:gd name="T73" fmla="*/ 3 h 166"/>
                <a:gd name="T74" fmla="*/ 0 w 98"/>
                <a:gd name="T75" fmla="*/ 6 h 166"/>
                <a:gd name="T76" fmla="*/ 3 w 98"/>
                <a:gd name="T77" fmla="*/ 7 h 166"/>
                <a:gd name="T78" fmla="*/ 7 w 98"/>
                <a:gd name="T79" fmla="*/ 11 h 166"/>
                <a:gd name="T80" fmla="*/ 9 w 98"/>
                <a:gd name="T81" fmla="*/ 22 h 166"/>
                <a:gd name="T82" fmla="*/ 18 w 98"/>
                <a:gd name="T83" fmla="*/ 26 h 166"/>
                <a:gd name="T84" fmla="*/ 21 w 98"/>
                <a:gd name="T85" fmla="*/ 31 h 166"/>
                <a:gd name="T86" fmla="*/ 21 w 98"/>
                <a:gd name="T87" fmla="*/ 37 h 166"/>
                <a:gd name="T88" fmla="*/ 18 w 98"/>
                <a:gd name="T89" fmla="*/ 43 h 166"/>
                <a:gd name="T90" fmla="*/ 15 w 98"/>
                <a:gd name="T91" fmla="*/ 47 h 166"/>
                <a:gd name="T92" fmla="*/ 20 w 98"/>
                <a:gd name="T93" fmla="*/ 54 h 166"/>
                <a:gd name="T94" fmla="*/ 28 w 98"/>
                <a:gd name="T95" fmla="*/ 61 h 166"/>
                <a:gd name="T96" fmla="*/ 45 w 98"/>
                <a:gd name="T97" fmla="*/ 80 h 166"/>
                <a:gd name="T98" fmla="*/ 49 w 98"/>
                <a:gd name="T99" fmla="*/ 87 h 166"/>
                <a:gd name="T100" fmla="*/ 51 w 98"/>
                <a:gd name="T101" fmla="*/ 96 h 166"/>
                <a:gd name="T102" fmla="*/ 52 w 98"/>
                <a:gd name="T103" fmla="*/ 107 h 166"/>
                <a:gd name="T104" fmla="*/ 52 w 98"/>
                <a:gd name="T105" fmla="*/ 113 h 1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8"/>
                <a:gd name="T160" fmla="*/ 0 h 166"/>
                <a:gd name="T161" fmla="*/ 98 w 98"/>
                <a:gd name="T162" fmla="*/ 166 h 1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8" h="166">
                  <a:moveTo>
                    <a:pt x="61" y="122"/>
                  </a:moveTo>
                  <a:lnTo>
                    <a:pt x="64" y="122"/>
                  </a:lnTo>
                  <a:lnTo>
                    <a:pt x="69" y="129"/>
                  </a:lnTo>
                  <a:lnTo>
                    <a:pt x="69" y="130"/>
                  </a:lnTo>
                  <a:lnTo>
                    <a:pt x="64" y="147"/>
                  </a:lnTo>
                  <a:lnTo>
                    <a:pt x="53" y="151"/>
                  </a:lnTo>
                  <a:lnTo>
                    <a:pt x="50" y="156"/>
                  </a:lnTo>
                  <a:lnTo>
                    <a:pt x="45" y="156"/>
                  </a:lnTo>
                  <a:lnTo>
                    <a:pt x="41" y="163"/>
                  </a:lnTo>
                  <a:lnTo>
                    <a:pt x="49" y="162"/>
                  </a:lnTo>
                  <a:lnTo>
                    <a:pt x="65" y="165"/>
                  </a:lnTo>
                  <a:lnTo>
                    <a:pt x="81" y="151"/>
                  </a:lnTo>
                  <a:lnTo>
                    <a:pt x="91" y="140"/>
                  </a:lnTo>
                  <a:lnTo>
                    <a:pt x="97" y="132"/>
                  </a:lnTo>
                  <a:lnTo>
                    <a:pt x="97" y="121"/>
                  </a:lnTo>
                  <a:lnTo>
                    <a:pt x="91" y="98"/>
                  </a:lnTo>
                  <a:lnTo>
                    <a:pt x="90" y="89"/>
                  </a:lnTo>
                  <a:lnTo>
                    <a:pt x="86" y="81"/>
                  </a:lnTo>
                  <a:lnTo>
                    <a:pt x="75" y="76"/>
                  </a:lnTo>
                  <a:lnTo>
                    <a:pt x="63" y="71"/>
                  </a:lnTo>
                  <a:lnTo>
                    <a:pt x="50" y="51"/>
                  </a:lnTo>
                  <a:lnTo>
                    <a:pt x="50" y="43"/>
                  </a:lnTo>
                  <a:lnTo>
                    <a:pt x="53" y="37"/>
                  </a:lnTo>
                  <a:lnTo>
                    <a:pt x="57" y="33"/>
                  </a:lnTo>
                  <a:lnTo>
                    <a:pt x="64" y="30"/>
                  </a:lnTo>
                  <a:lnTo>
                    <a:pt x="76" y="24"/>
                  </a:lnTo>
                  <a:lnTo>
                    <a:pt x="75" y="17"/>
                  </a:lnTo>
                  <a:lnTo>
                    <a:pt x="70" y="11"/>
                  </a:lnTo>
                  <a:lnTo>
                    <a:pt x="65" y="5"/>
                  </a:lnTo>
                  <a:lnTo>
                    <a:pt x="62" y="2"/>
                  </a:lnTo>
                  <a:lnTo>
                    <a:pt x="54" y="0"/>
                  </a:lnTo>
                  <a:lnTo>
                    <a:pt x="50" y="1"/>
                  </a:lnTo>
                  <a:lnTo>
                    <a:pt x="37" y="1"/>
                  </a:lnTo>
                  <a:lnTo>
                    <a:pt x="24" y="0"/>
                  </a:lnTo>
                  <a:lnTo>
                    <a:pt x="16" y="0"/>
                  </a:lnTo>
                  <a:lnTo>
                    <a:pt x="5" y="1"/>
                  </a:lnTo>
                  <a:lnTo>
                    <a:pt x="1" y="3"/>
                  </a:lnTo>
                  <a:lnTo>
                    <a:pt x="0" y="7"/>
                  </a:lnTo>
                  <a:lnTo>
                    <a:pt x="3" y="8"/>
                  </a:lnTo>
                  <a:lnTo>
                    <a:pt x="8" y="12"/>
                  </a:lnTo>
                  <a:lnTo>
                    <a:pt x="11" y="24"/>
                  </a:lnTo>
                  <a:lnTo>
                    <a:pt x="21" y="28"/>
                  </a:lnTo>
                  <a:lnTo>
                    <a:pt x="25" y="33"/>
                  </a:lnTo>
                  <a:lnTo>
                    <a:pt x="25" y="40"/>
                  </a:lnTo>
                  <a:lnTo>
                    <a:pt x="21" y="46"/>
                  </a:lnTo>
                  <a:lnTo>
                    <a:pt x="17" y="51"/>
                  </a:lnTo>
                  <a:lnTo>
                    <a:pt x="23" y="58"/>
                  </a:lnTo>
                  <a:lnTo>
                    <a:pt x="33" y="66"/>
                  </a:lnTo>
                  <a:lnTo>
                    <a:pt x="53" y="86"/>
                  </a:lnTo>
                  <a:lnTo>
                    <a:pt x="57" y="94"/>
                  </a:lnTo>
                  <a:lnTo>
                    <a:pt x="60" y="104"/>
                  </a:lnTo>
                  <a:lnTo>
                    <a:pt x="61" y="115"/>
                  </a:lnTo>
                  <a:lnTo>
                    <a:pt x="61" y="122"/>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8" name="Freeform 37">
              <a:extLst>
                <a:ext uri="{FF2B5EF4-FFF2-40B4-BE49-F238E27FC236}">
                  <a16:creationId xmlns:a16="http://schemas.microsoft.com/office/drawing/2014/main" id="{DF1E0301-F682-49A4-88C3-24FC47ACFCB0}"/>
                </a:ext>
              </a:extLst>
            </p:cNvPr>
            <p:cNvSpPr>
              <a:spLocks/>
            </p:cNvSpPr>
            <p:nvPr/>
          </p:nvSpPr>
          <p:spPr bwMode="auto">
            <a:xfrm>
              <a:off x="6837363" y="4319588"/>
              <a:ext cx="122238" cy="304800"/>
            </a:xfrm>
            <a:custGeom>
              <a:avLst/>
              <a:gdLst>
                <a:gd name="T0" fmla="*/ 18 w 90"/>
                <a:gd name="T1" fmla="*/ 0 h 208"/>
                <a:gd name="T2" fmla="*/ 15 w 90"/>
                <a:gd name="T3" fmla="*/ 1 h 208"/>
                <a:gd name="T4" fmla="*/ 8 w 90"/>
                <a:gd name="T5" fmla="*/ 6 h 208"/>
                <a:gd name="T6" fmla="*/ 3 w 90"/>
                <a:gd name="T7" fmla="*/ 17 h 208"/>
                <a:gd name="T8" fmla="*/ 6 w 90"/>
                <a:gd name="T9" fmla="*/ 35 h 208"/>
                <a:gd name="T10" fmla="*/ 3 w 90"/>
                <a:gd name="T11" fmla="*/ 39 h 208"/>
                <a:gd name="T12" fmla="*/ 3 w 90"/>
                <a:gd name="T13" fmla="*/ 54 h 208"/>
                <a:gd name="T14" fmla="*/ 3 w 90"/>
                <a:gd name="T15" fmla="*/ 63 h 208"/>
                <a:gd name="T16" fmla="*/ 4 w 90"/>
                <a:gd name="T17" fmla="*/ 72 h 208"/>
                <a:gd name="T18" fmla="*/ 9 w 90"/>
                <a:gd name="T19" fmla="*/ 81 h 208"/>
                <a:gd name="T20" fmla="*/ 7 w 90"/>
                <a:gd name="T21" fmla="*/ 102 h 208"/>
                <a:gd name="T22" fmla="*/ 7 w 90"/>
                <a:gd name="T23" fmla="*/ 110 h 208"/>
                <a:gd name="T24" fmla="*/ 7 w 90"/>
                <a:gd name="T25" fmla="*/ 116 h 208"/>
                <a:gd name="T26" fmla="*/ 4 w 90"/>
                <a:gd name="T27" fmla="*/ 134 h 208"/>
                <a:gd name="T28" fmla="*/ 0 w 90"/>
                <a:gd name="T29" fmla="*/ 159 h 208"/>
                <a:gd name="T30" fmla="*/ 0 w 90"/>
                <a:gd name="T31" fmla="*/ 160 h 208"/>
                <a:gd name="T32" fmla="*/ 0 w 90"/>
                <a:gd name="T33" fmla="*/ 162 h 208"/>
                <a:gd name="T34" fmla="*/ 10 w 90"/>
                <a:gd name="T35" fmla="*/ 176 h 208"/>
                <a:gd name="T36" fmla="*/ 21 w 90"/>
                <a:gd name="T37" fmla="*/ 185 h 208"/>
                <a:gd name="T38" fmla="*/ 37 w 90"/>
                <a:gd name="T39" fmla="*/ 183 h 208"/>
                <a:gd name="T40" fmla="*/ 46 w 90"/>
                <a:gd name="T41" fmla="*/ 191 h 208"/>
                <a:gd name="T42" fmla="*/ 53 w 90"/>
                <a:gd name="T43" fmla="*/ 188 h 208"/>
                <a:gd name="T44" fmla="*/ 43 w 90"/>
                <a:gd name="T45" fmla="*/ 176 h 208"/>
                <a:gd name="T46" fmla="*/ 20 w 90"/>
                <a:gd name="T47" fmla="*/ 153 h 208"/>
                <a:gd name="T48" fmla="*/ 15 w 90"/>
                <a:gd name="T49" fmla="*/ 145 h 208"/>
                <a:gd name="T50" fmla="*/ 13 w 90"/>
                <a:gd name="T51" fmla="*/ 135 h 208"/>
                <a:gd name="T52" fmla="*/ 14 w 90"/>
                <a:gd name="T53" fmla="*/ 120 h 208"/>
                <a:gd name="T54" fmla="*/ 19 w 90"/>
                <a:gd name="T55" fmla="*/ 103 h 208"/>
                <a:gd name="T56" fmla="*/ 21 w 90"/>
                <a:gd name="T57" fmla="*/ 81 h 208"/>
                <a:gd name="T58" fmla="*/ 23 w 90"/>
                <a:gd name="T59" fmla="*/ 78 h 208"/>
                <a:gd name="T60" fmla="*/ 24 w 90"/>
                <a:gd name="T61" fmla="*/ 76 h 208"/>
                <a:gd name="T62" fmla="*/ 28 w 90"/>
                <a:gd name="T63" fmla="*/ 76 h 208"/>
                <a:gd name="T64" fmla="*/ 30 w 90"/>
                <a:gd name="T65" fmla="*/ 78 h 208"/>
                <a:gd name="T66" fmla="*/ 30 w 90"/>
                <a:gd name="T67" fmla="*/ 85 h 208"/>
                <a:gd name="T68" fmla="*/ 38 w 90"/>
                <a:gd name="T69" fmla="*/ 100 h 208"/>
                <a:gd name="T70" fmla="*/ 44 w 90"/>
                <a:gd name="T71" fmla="*/ 105 h 208"/>
                <a:gd name="T72" fmla="*/ 43 w 90"/>
                <a:gd name="T73" fmla="*/ 93 h 208"/>
                <a:gd name="T74" fmla="*/ 44 w 90"/>
                <a:gd name="T75" fmla="*/ 83 h 208"/>
                <a:gd name="T76" fmla="*/ 46 w 90"/>
                <a:gd name="T77" fmla="*/ 78 h 208"/>
                <a:gd name="T78" fmla="*/ 51 w 90"/>
                <a:gd name="T79" fmla="*/ 77 h 208"/>
                <a:gd name="T80" fmla="*/ 56 w 90"/>
                <a:gd name="T81" fmla="*/ 73 h 208"/>
                <a:gd name="T82" fmla="*/ 68 w 90"/>
                <a:gd name="T83" fmla="*/ 73 h 208"/>
                <a:gd name="T84" fmla="*/ 74 w 90"/>
                <a:gd name="T85" fmla="*/ 77 h 208"/>
                <a:gd name="T86" fmla="*/ 76 w 90"/>
                <a:gd name="T87" fmla="*/ 69 h 208"/>
                <a:gd name="T88" fmla="*/ 76 w 90"/>
                <a:gd name="T89" fmla="*/ 63 h 208"/>
                <a:gd name="T90" fmla="*/ 74 w 90"/>
                <a:gd name="T91" fmla="*/ 55 h 208"/>
                <a:gd name="T92" fmla="*/ 70 w 90"/>
                <a:gd name="T93" fmla="*/ 47 h 208"/>
                <a:gd name="T94" fmla="*/ 65 w 90"/>
                <a:gd name="T95" fmla="*/ 39 h 208"/>
                <a:gd name="T96" fmla="*/ 57 w 90"/>
                <a:gd name="T97" fmla="*/ 30 h 208"/>
                <a:gd name="T98" fmla="*/ 53 w 90"/>
                <a:gd name="T99" fmla="*/ 28 h 208"/>
                <a:gd name="T100" fmla="*/ 48 w 90"/>
                <a:gd name="T101" fmla="*/ 27 h 208"/>
                <a:gd name="T102" fmla="*/ 44 w 90"/>
                <a:gd name="T103" fmla="*/ 29 h 208"/>
                <a:gd name="T104" fmla="*/ 38 w 90"/>
                <a:gd name="T105" fmla="*/ 31 h 208"/>
                <a:gd name="T106" fmla="*/ 34 w 90"/>
                <a:gd name="T107" fmla="*/ 31 h 208"/>
                <a:gd name="T108" fmla="*/ 37 w 90"/>
                <a:gd name="T109" fmla="*/ 22 h 208"/>
                <a:gd name="T110" fmla="*/ 38 w 90"/>
                <a:gd name="T111" fmla="*/ 14 h 208"/>
                <a:gd name="T112" fmla="*/ 36 w 90"/>
                <a:gd name="T113" fmla="*/ 8 h 208"/>
                <a:gd name="T114" fmla="*/ 27 w 90"/>
                <a:gd name="T115" fmla="*/ 8 h 208"/>
                <a:gd name="T116" fmla="*/ 24 w 90"/>
                <a:gd name="T117" fmla="*/ 1 h 208"/>
                <a:gd name="T118" fmla="*/ 18 w 90"/>
                <a:gd name="T119" fmla="*/ 0 h 2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0"/>
                <a:gd name="T181" fmla="*/ 0 h 208"/>
                <a:gd name="T182" fmla="*/ 90 w 90"/>
                <a:gd name="T183" fmla="*/ 208 h 2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0" h="208">
                  <a:moveTo>
                    <a:pt x="21" y="0"/>
                  </a:moveTo>
                  <a:lnTo>
                    <a:pt x="17" y="1"/>
                  </a:lnTo>
                  <a:lnTo>
                    <a:pt x="9" y="6"/>
                  </a:lnTo>
                  <a:lnTo>
                    <a:pt x="4" y="18"/>
                  </a:lnTo>
                  <a:lnTo>
                    <a:pt x="7" y="38"/>
                  </a:lnTo>
                  <a:lnTo>
                    <a:pt x="3" y="42"/>
                  </a:lnTo>
                  <a:lnTo>
                    <a:pt x="4" y="58"/>
                  </a:lnTo>
                  <a:lnTo>
                    <a:pt x="4" y="68"/>
                  </a:lnTo>
                  <a:lnTo>
                    <a:pt x="5" y="78"/>
                  </a:lnTo>
                  <a:lnTo>
                    <a:pt x="11" y="88"/>
                  </a:lnTo>
                  <a:lnTo>
                    <a:pt x="8" y="111"/>
                  </a:lnTo>
                  <a:lnTo>
                    <a:pt x="8" y="119"/>
                  </a:lnTo>
                  <a:lnTo>
                    <a:pt x="8" y="126"/>
                  </a:lnTo>
                  <a:lnTo>
                    <a:pt x="5" y="145"/>
                  </a:lnTo>
                  <a:lnTo>
                    <a:pt x="0" y="172"/>
                  </a:lnTo>
                  <a:lnTo>
                    <a:pt x="0" y="173"/>
                  </a:lnTo>
                  <a:lnTo>
                    <a:pt x="0" y="175"/>
                  </a:lnTo>
                  <a:lnTo>
                    <a:pt x="12" y="191"/>
                  </a:lnTo>
                  <a:lnTo>
                    <a:pt x="25" y="200"/>
                  </a:lnTo>
                  <a:lnTo>
                    <a:pt x="43" y="198"/>
                  </a:lnTo>
                  <a:lnTo>
                    <a:pt x="54" y="207"/>
                  </a:lnTo>
                  <a:lnTo>
                    <a:pt x="62" y="204"/>
                  </a:lnTo>
                  <a:lnTo>
                    <a:pt x="50" y="191"/>
                  </a:lnTo>
                  <a:lnTo>
                    <a:pt x="23" y="166"/>
                  </a:lnTo>
                  <a:lnTo>
                    <a:pt x="17" y="157"/>
                  </a:lnTo>
                  <a:lnTo>
                    <a:pt x="15" y="146"/>
                  </a:lnTo>
                  <a:lnTo>
                    <a:pt x="16" y="130"/>
                  </a:lnTo>
                  <a:lnTo>
                    <a:pt x="22" y="112"/>
                  </a:lnTo>
                  <a:lnTo>
                    <a:pt x="25" y="88"/>
                  </a:lnTo>
                  <a:lnTo>
                    <a:pt x="27" y="84"/>
                  </a:lnTo>
                  <a:lnTo>
                    <a:pt x="28" y="82"/>
                  </a:lnTo>
                  <a:lnTo>
                    <a:pt x="33" y="82"/>
                  </a:lnTo>
                  <a:lnTo>
                    <a:pt x="35" y="85"/>
                  </a:lnTo>
                  <a:lnTo>
                    <a:pt x="35" y="92"/>
                  </a:lnTo>
                  <a:lnTo>
                    <a:pt x="44" y="108"/>
                  </a:lnTo>
                  <a:lnTo>
                    <a:pt x="52" y="114"/>
                  </a:lnTo>
                  <a:lnTo>
                    <a:pt x="50" y="101"/>
                  </a:lnTo>
                  <a:lnTo>
                    <a:pt x="52" y="90"/>
                  </a:lnTo>
                  <a:lnTo>
                    <a:pt x="54" y="85"/>
                  </a:lnTo>
                  <a:lnTo>
                    <a:pt x="60" y="83"/>
                  </a:lnTo>
                  <a:lnTo>
                    <a:pt x="65" y="79"/>
                  </a:lnTo>
                  <a:lnTo>
                    <a:pt x="79" y="79"/>
                  </a:lnTo>
                  <a:lnTo>
                    <a:pt x="86" y="83"/>
                  </a:lnTo>
                  <a:lnTo>
                    <a:pt x="89" y="75"/>
                  </a:lnTo>
                  <a:lnTo>
                    <a:pt x="89" y="68"/>
                  </a:lnTo>
                  <a:lnTo>
                    <a:pt x="86" y="60"/>
                  </a:lnTo>
                  <a:lnTo>
                    <a:pt x="82" y="51"/>
                  </a:lnTo>
                  <a:lnTo>
                    <a:pt x="76" y="42"/>
                  </a:lnTo>
                  <a:lnTo>
                    <a:pt x="67" y="32"/>
                  </a:lnTo>
                  <a:lnTo>
                    <a:pt x="62" y="30"/>
                  </a:lnTo>
                  <a:lnTo>
                    <a:pt x="56" y="29"/>
                  </a:lnTo>
                  <a:lnTo>
                    <a:pt x="52" y="31"/>
                  </a:lnTo>
                  <a:lnTo>
                    <a:pt x="44" y="34"/>
                  </a:lnTo>
                  <a:lnTo>
                    <a:pt x="40" y="34"/>
                  </a:lnTo>
                  <a:lnTo>
                    <a:pt x="43" y="24"/>
                  </a:lnTo>
                  <a:lnTo>
                    <a:pt x="44" y="15"/>
                  </a:lnTo>
                  <a:lnTo>
                    <a:pt x="42" y="9"/>
                  </a:lnTo>
                  <a:lnTo>
                    <a:pt x="31" y="9"/>
                  </a:lnTo>
                  <a:lnTo>
                    <a:pt x="28" y="1"/>
                  </a:lnTo>
                  <a:lnTo>
                    <a:pt x="21"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19" name="Freeform 38">
              <a:extLst>
                <a:ext uri="{FF2B5EF4-FFF2-40B4-BE49-F238E27FC236}">
                  <a16:creationId xmlns:a16="http://schemas.microsoft.com/office/drawing/2014/main" id="{36197619-E7A7-4629-A69D-9B151B395970}"/>
                </a:ext>
              </a:extLst>
            </p:cNvPr>
            <p:cNvSpPr>
              <a:spLocks/>
            </p:cNvSpPr>
            <p:nvPr/>
          </p:nvSpPr>
          <p:spPr bwMode="auto">
            <a:xfrm>
              <a:off x="6646863" y="4159250"/>
              <a:ext cx="103188" cy="55563"/>
            </a:xfrm>
            <a:custGeom>
              <a:avLst/>
              <a:gdLst>
                <a:gd name="T0" fmla="*/ 51 w 77"/>
                <a:gd name="T1" fmla="*/ 34 h 38"/>
                <a:gd name="T2" fmla="*/ 30 w 77"/>
                <a:gd name="T3" fmla="*/ 31 h 38"/>
                <a:gd name="T4" fmla="*/ 9 w 77"/>
                <a:gd name="T5" fmla="*/ 34 h 38"/>
                <a:gd name="T6" fmla="*/ 3 w 77"/>
                <a:gd name="T7" fmla="*/ 34 h 38"/>
                <a:gd name="T8" fmla="*/ 0 w 77"/>
                <a:gd name="T9" fmla="*/ 31 h 38"/>
                <a:gd name="T10" fmla="*/ 0 w 77"/>
                <a:gd name="T11" fmla="*/ 28 h 38"/>
                <a:gd name="T12" fmla="*/ 3 w 77"/>
                <a:gd name="T13" fmla="*/ 14 h 38"/>
                <a:gd name="T14" fmla="*/ 11 w 77"/>
                <a:gd name="T15" fmla="*/ 6 h 38"/>
                <a:gd name="T16" fmla="*/ 20 w 77"/>
                <a:gd name="T17" fmla="*/ 2 h 38"/>
                <a:gd name="T18" fmla="*/ 30 w 77"/>
                <a:gd name="T19" fmla="*/ 0 h 38"/>
                <a:gd name="T20" fmla="*/ 52 w 77"/>
                <a:gd name="T21" fmla="*/ 2 h 38"/>
                <a:gd name="T22" fmla="*/ 59 w 77"/>
                <a:gd name="T23" fmla="*/ 5 h 38"/>
                <a:gd name="T24" fmla="*/ 64 w 77"/>
                <a:gd name="T25" fmla="*/ 10 h 38"/>
                <a:gd name="T26" fmla="*/ 51 w 77"/>
                <a:gd name="T27" fmla="*/ 34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8"/>
                <a:gd name="T44" fmla="*/ 77 w 77"/>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8">
                  <a:moveTo>
                    <a:pt x="61" y="37"/>
                  </a:moveTo>
                  <a:lnTo>
                    <a:pt x="36" y="34"/>
                  </a:lnTo>
                  <a:lnTo>
                    <a:pt x="11" y="37"/>
                  </a:lnTo>
                  <a:lnTo>
                    <a:pt x="3" y="37"/>
                  </a:lnTo>
                  <a:lnTo>
                    <a:pt x="0" y="34"/>
                  </a:lnTo>
                  <a:lnTo>
                    <a:pt x="0" y="30"/>
                  </a:lnTo>
                  <a:lnTo>
                    <a:pt x="3" y="15"/>
                  </a:lnTo>
                  <a:lnTo>
                    <a:pt x="13" y="6"/>
                  </a:lnTo>
                  <a:lnTo>
                    <a:pt x="24" y="2"/>
                  </a:lnTo>
                  <a:lnTo>
                    <a:pt x="35" y="0"/>
                  </a:lnTo>
                  <a:lnTo>
                    <a:pt x="62" y="2"/>
                  </a:lnTo>
                  <a:lnTo>
                    <a:pt x="70" y="5"/>
                  </a:lnTo>
                  <a:lnTo>
                    <a:pt x="76" y="11"/>
                  </a:lnTo>
                  <a:lnTo>
                    <a:pt x="61" y="37"/>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0" name="Freeform 39">
              <a:extLst>
                <a:ext uri="{FF2B5EF4-FFF2-40B4-BE49-F238E27FC236}">
                  <a16:creationId xmlns:a16="http://schemas.microsoft.com/office/drawing/2014/main" id="{032E921E-95F7-462D-94B9-764610DA853E}"/>
                </a:ext>
              </a:extLst>
            </p:cNvPr>
            <p:cNvSpPr>
              <a:spLocks/>
            </p:cNvSpPr>
            <p:nvPr/>
          </p:nvSpPr>
          <p:spPr bwMode="auto">
            <a:xfrm>
              <a:off x="6499225" y="4124325"/>
              <a:ext cx="144463" cy="79375"/>
            </a:xfrm>
            <a:custGeom>
              <a:avLst/>
              <a:gdLst>
                <a:gd name="T0" fmla="*/ 7 w 107"/>
                <a:gd name="T1" fmla="*/ 0 h 54"/>
                <a:gd name="T2" fmla="*/ 1 w 107"/>
                <a:gd name="T3" fmla="*/ 5 h 54"/>
                <a:gd name="T4" fmla="*/ 0 w 107"/>
                <a:gd name="T5" fmla="*/ 11 h 54"/>
                <a:gd name="T6" fmla="*/ 7 w 107"/>
                <a:gd name="T7" fmla="*/ 19 h 54"/>
                <a:gd name="T8" fmla="*/ 12 w 107"/>
                <a:gd name="T9" fmla="*/ 23 h 54"/>
                <a:gd name="T10" fmla="*/ 18 w 107"/>
                <a:gd name="T11" fmla="*/ 29 h 54"/>
                <a:gd name="T12" fmla="*/ 31 w 107"/>
                <a:gd name="T13" fmla="*/ 35 h 54"/>
                <a:gd name="T14" fmla="*/ 87 w 107"/>
                <a:gd name="T15" fmla="*/ 49 h 54"/>
                <a:gd name="T16" fmla="*/ 90 w 107"/>
                <a:gd name="T17" fmla="*/ 31 h 54"/>
                <a:gd name="T18" fmla="*/ 75 w 107"/>
                <a:gd name="T19" fmla="*/ 29 h 54"/>
                <a:gd name="T20" fmla="*/ 31 w 107"/>
                <a:gd name="T21" fmla="*/ 19 h 54"/>
                <a:gd name="T22" fmla="*/ 22 w 107"/>
                <a:gd name="T23" fmla="*/ 11 h 54"/>
                <a:gd name="T24" fmla="*/ 7 w 107"/>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
                <a:gd name="T40" fmla="*/ 0 h 54"/>
                <a:gd name="T41" fmla="*/ 107 w 107"/>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 h="54">
                  <a:moveTo>
                    <a:pt x="8" y="0"/>
                  </a:moveTo>
                  <a:lnTo>
                    <a:pt x="1" y="5"/>
                  </a:lnTo>
                  <a:lnTo>
                    <a:pt x="0" y="12"/>
                  </a:lnTo>
                  <a:lnTo>
                    <a:pt x="8" y="20"/>
                  </a:lnTo>
                  <a:lnTo>
                    <a:pt x="14" y="25"/>
                  </a:lnTo>
                  <a:lnTo>
                    <a:pt x="21" y="31"/>
                  </a:lnTo>
                  <a:lnTo>
                    <a:pt x="36" y="38"/>
                  </a:lnTo>
                  <a:lnTo>
                    <a:pt x="102" y="53"/>
                  </a:lnTo>
                  <a:lnTo>
                    <a:pt x="106" y="33"/>
                  </a:lnTo>
                  <a:lnTo>
                    <a:pt x="88" y="31"/>
                  </a:lnTo>
                  <a:lnTo>
                    <a:pt x="37" y="21"/>
                  </a:lnTo>
                  <a:lnTo>
                    <a:pt x="26" y="12"/>
                  </a:lnTo>
                  <a:lnTo>
                    <a:pt x="8"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1" name="Freeform 40">
              <a:extLst>
                <a:ext uri="{FF2B5EF4-FFF2-40B4-BE49-F238E27FC236}">
                  <a16:creationId xmlns:a16="http://schemas.microsoft.com/office/drawing/2014/main" id="{509F1E37-6F63-4C99-941B-1BFE954C7008}"/>
                </a:ext>
              </a:extLst>
            </p:cNvPr>
            <p:cNvSpPr>
              <a:spLocks/>
            </p:cNvSpPr>
            <p:nvPr/>
          </p:nvSpPr>
          <p:spPr bwMode="auto">
            <a:xfrm>
              <a:off x="6265863" y="4008438"/>
              <a:ext cx="555625" cy="550863"/>
            </a:xfrm>
            <a:custGeom>
              <a:avLst/>
              <a:gdLst>
                <a:gd name="T0" fmla="*/ 240 w 409"/>
                <a:gd name="T1" fmla="*/ 122 h 374"/>
                <a:gd name="T2" fmla="*/ 242 w 409"/>
                <a:gd name="T3" fmla="*/ 102 h 374"/>
                <a:gd name="T4" fmla="*/ 234 w 409"/>
                <a:gd name="T5" fmla="*/ 116 h 374"/>
                <a:gd name="T6" fmla="*/ 177 w 409"/>
                <a:gd name="T7" fmla="*/ 108 h 374"/>
                <a:gd name="T8" fmla="*/ 154 w 409"/>
                <a:gd name="T9" fmla="*/ 92 h 374"/>
                <a:gd name="T10" fmla="*/ 154 w 409"/>
                <a:gd name="T11" fmla="*/ 71 h 374"/>
                <a:gd name="T12" fmla="*/ 156 w 409"/>
                <a:gd name="T13" fmla="*/ 39 h 374"/>
                <a:gd name="T14" fmla="*/ 160 w 409"/>
                <a:gd name="T15" fmla="*/ 20 h 374"/>
                <a:gd name="T16" fmla="*/ 151 w 409"/>
                <a:gd name="T17" fmla="*/ 1 h 374"/>
                <a:gd name="T18" fmla="*/ 132 w 409"/>
                <a:gd name="T19" fmla="*/ 3 h 374"/>
                <a:gd name="T20" fmla="*/ 116 w 409"/>
                <a:gd name="T21" fmla="*/ 13 h 374"/>
                <a:gd name="T22" fmla="*/ 98 w 409"/>
                <a:gd name="T23" fmla="*/ 21 h 374"/>
                <a:gd name="T24" fmla="*/ 113 w 409"/>
                <a:gd name="T25" fmla="*/ 30 h 374"/>
                <a:gd name="T26" fmla="*/ 112 w 409"/>
                <a:gd name="T27" fmla="*/ 34 h 374"/>
                <a:gd name="T28" fmla="*/ 90 w 409"/>
                <a:gd name="T29" fmla="*/ 39 h 374"/>
                <a:gd name="T30" fmla="*/ 82 w 409"/>
                <a:gd name="T31" fmla="*/ 51 h 374"/>
                <a:gd name="T32" fmla="*/ 70 w 409"/>
                <a:gd name="T33" fmla="*/ 68 h 374"/>
                <a:gd name="T34" fmla="*/ 37 w 409"/>
                <a:gd name="T35" fmla="*/ 96 h 374"/>
                <a:gd name="T36" fmla="*/ 44 w 409"/>
                <a:gd name="T37" fmla="*/ 117 h 374"/>
                <a:gd name="T38" fmla="*/ 22 w 409"/>
                <a:gd name="T39" fmla="*/ 135 h 374"/>
                <a:gd name="T40" fmla="*/ 0 w 409"/>
                <a:gd name="T41" fmla="*/ 153 h 374"/>
                <a:gd name="T42" fmla="*/ 22 w 409"/>
                <a:gd name="T43" fmla="*/ 155 h 374"/>
                <a:gd name="T44" fmla="*/ 34 w 409"/>
                <a:gd name="T45" fmla="*/ 154 h 374"/>
                <a:gd name="T46" fmla="*/ 14 w 409"/>
                <a:gd name="T47" fmla="*/ 175 h 374"/>
                <a:gd name="T48" fmla="*/ 36 w 409"/>
                <a:gd name="T49" fmla="*/ 199 h 374"/>
                <a:gd name="T50" fmla="*/ 47 w 409"/>
                <a:gd name="T51" fmla="*/ 186 h 374"/>
                <a:gd name="T52" fmla="*/ 53 w 409"/>
                <a:gd name="T53" fmla="*/ 183 h 374"/>
                <a:gd name="T54" fmla="*/ 52 w 409"/>
                <a:gd name="T55" fmla="*/ 212 h 374"/>
                <a:gd name="T56" fmla="*/ 86 w 409"/>
                <a:gd name="T57" fmla="*/ 311 h 374"/>
                <a:gd name="T58" fmla="*/ 98 w 409"/>
                <a:gd name="T59" fmla="*/ 331 h 374"/>
                <a:gd name="T60" fmla="*/ 116 w 409"/>
                <a:gd name="T61" fmla="*/ 346 h 374"/>
                <a:gd name="T62" fmla="*/ 124 w 409"/>
                <a:gd name="T63" fmla="*/ 335 h 374"/>
                <a:gd name="T64" fmla="*/ 135 w 409"/>
                <a:gd name="T65" fmla="*/ 323 h 374"/>
                <a:gd name="T66" fmla="*/ 146 w 409"/>
                <a:gd name="T67" fmla="*/ 306 h 374"/>
                <a:gd name="T68" fmla="*/ 144 w 409"/>
                <a:gd name="T69" fmla="*/ 268 h 374"/>
                <a:gd name="T70" fmla="*/ 160 w 409"/>
                <a:gd name="T71" fmla="*/ 253 h 374"/>
                <a:gd name="T72" fmla="*/ 205 w 409"/>
                <a:gd name="T73" fmla="*/ 215 h 374"/>
                <a:gd name="T74" fmla="*/ 228 w 409"/>
                <a:gd name="T75" fmla="*/ 187 h 374"/>
                <a:gd name="T76" fmla="*/ 241 w 409"/>
                <a:gd name="T77" fmla="*/ 180 h 374"/>
                <a:gd name="T78" fmla="*/ 248 w 409"/>
                <a:gd name="T79" fmla="*/ 166 h 374"/>
                <a:gd name="T80" fmla="*/ 245 w 409"/>
                <a:gd name="T81" fmla="*/ 150 h 374"/>
                <a:gd name="T82" fmla="*/ 252 w 409"/>
                <a:gd name="T83" fmla="*/ 138 h 374"/>
                <a:gd name="T84" fmla="*/ 270 w 409"/>
                <a:gd name="T85" fmla="*/ 144 h 374"/>
                <a:gd name="T86" fmla="*/ 277 w 409"/>
                <a:gd name="T87" fmla="*/ 162 h 374"/>
                <a:gd name="T88" fmla="*/ 285 w 409"/>
                <a:gd name="T89" fmla="*/ 150 h 374"/>
                <a:gd name="T90" fmla="*/ 292 w 409"/>
                <a:gd name="T91" fmla="*/ 169 h 374"/>
                <a:gd name="T92" fmla="*/ 296 w 409"/>
                <a:gd name="T93" fmla="*/ 171 h 374"/>
                <a:gd name="T94" fmla="*/ 296 w 409"/>
                <a:gd name="T95" fmla="*/ 159 h 374"/>
                <a:gd name="T96" fmla="*/ 304 w 409"/>
                <a:gd name="T97" fmla="*/ 160 h 374"/>
                <a:gd name="T98" fmla="*/ 323 w 409"/>
                <a:gd name="T99" fmla="*/ 133 h 374"/>
                <a:gd name="T100" fmla="*/ 338 w 409"/>
                <a:gd name="T101" fmla="*/ 125 h 374"/>
                <a:gd name="T102" fmla="*/ 349 w 409"/>
                <a:gd name="T103" fmla="*/ 103 h 374"/>
                <a:gd name="T104" fmla="*/ 317 w 409"/>
                <a:gd name="T105" fmla="*/ 105 h 374"/>
                <a:gd name="T106" fmla="*/ 285 w 409"/>
                <a:gd name="T107" fmla="*/ 127 h 374"/>
                <a:gd name="T108" fmla="*/ 244 w 409"/>
                <a:gd name="T109" fmla="*/ 127 h 3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374"/>
                <a:gd name="T167" fmla="*/ 409 w 409"/>
                <a:gd name="T168" fmla="*/ 374 h 3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374">
                  <a:moveTo>
                    <a:pt x="285" y="137"/>
                  </a:moveTo>
                  <a:lnTo>
                    <a:pt x="280" y="135"/>
                  </a:lnTo>
                  <a:lnTo>
                    <a:pt x="280" y="131"/>
                  </a:lnTo>
                  <a:lnTo>
                    <a:pt x="282" y="127"/>
                  </a:lnTo>
                  <a:lnTo>
                    <a:pt x="285" y="113"/>
                  </a:lnTo>
                  <a:lnTo>
                    <a:pt x="283" y="110"/>
                  </a:lnTo>
                  <a:lnTo>
                    <a:pt x="280" y="110"/>
                  </a:lnTo>
                  <a:lnTo>
                    <a:pt x="276" y="112"/>
                  </a:lnTo>
                  <a:lnTo>
                    <a:pt x="274" y="125"/>
                  </a:lnTo>
                  <a:lnTo>
                    <a:pt x="273" y="130"/>
                  </a:lnTo>
                  <a:lnTo>
                    <a:pt x="243" y="127"/>
                  </a:lnTo>
                  <a:lnTo>
                    <a:pt x="207" y="116"/>
                  </a:lnTo>
                  <a:lnTo>
                    <a:pt x="195" y="112"/>
                  </a:lnTo>
                  <a:lnTo>
                    <a:pt x="187" y="107"/>
                  </a:lnTo>
                  <a:lnTo>
                    <a:pt x="180" y="99"/>
                  </a:lnTo>
                  <a:lnTo>
                    <a:pt x="172" y="92"/>
                  </a:lnTo>
                  <a:lnTo>
                    <a:pt x="172" y="84"/>
                  </a:lnTo>
                  <a:lnTo>
                    <a:pt x="180" y="77"/>
                  </a:lnTo>
                  <a:lnTo>
                    <a:pt x="173" y="65"/>
                  </a:lnTo>
                  <a:lnTo>
                    <a:pt x="174" y="52"/>
                  </a:lnTo>
                  <a:lnTo>
                    <a:pt x="182" y="42"/>
                  </a:lnTo>
                  <a:lnTo>
                    <a:pt x="186" y="40"/>
                  </a:lnTo>
                  <a:lnTo>
                    <a:pt x="181" y="28"/>
                  </a:lnTo>
                  <a:lnTo>
                    <a:pt x="187" y="22"/>
                  </a:lnTo>
                  <a:lnTo>
                    <a:pt x="183" y="13"/>
                  </a:lnTo>
                  <a:lnTo>
                    <a:pt x="182" y="5"/>
                  </a:lnTo>
                  <a:lnTo>
                    <a:pt x="177" y="1"/>
                  </a:lnTo>
                  <a:lnTo>
                    <a:pt x="168" y="0"/>
                  </a:lnTo>
                  <a:lnTo>
                    <a:pt x="157" y="2"/>
                  </a:lnTo>
                  <a:lnTo>
                    <a:pt x="154" y="3"/>
                  </a:lnTo>
                  <a:lnTo>
                    <a:pt x="151" y="7"/>
                  </a:lnTo>
                  <a:lnTo>
                    <a:pt x="149" y="13"/>
                  </a:lnTo>
                  <a:lnTo>
                    <a:pt x="135" y="14"/>
                  </a:lnTo>
                  <a:lnTo>
                    <a:pt x="124" y="15"/>
                  </a:lnTo>
                  <a:lnTo>
                    <a:pt x="120" y="19"/>
                  </a:lnTo>
                  <a:lnTo>
                    <a:pt x="114" y="23"/>
                  </a:lnTo>
                  <a:lnTo>
                    <a:pt x="120" y="28"/>
                  </a:lnTo>
                  <a:lnTo>
                    <a:pt x="127" y="29"/>
                  </a:lnTo>
                  <a:lnTo>
                    <a:pt x="132" y="32"/>
                  </a:lnTo>
                  <a:lnTo>
                    <a:pt x="134" y="36"/>
                  </a:lnTo>
                  <a:lnTo>
                    <a:pt x="134" y="37"/>
                  </a:lnTo>
                  <a:lnTo>
                    <a:pt x="131" y="37"/>
                  </a:lnTo>
                  <a:lnTo>
                    <a:pt x="117" y="37"/>
                  </a:lnTo>
                  <a:lnTo>
                    <a:pt x="110" y="38"/>
                  </a:lnTo>
                  <a:lnTo>
                    <a:pt x="105" y="42"/>
                  </a:lnTo>
                  <a:lnTo>
                    <a:pt x="103" y="48"/>
                  </a:lnTo>
                  <a:lnTo>
                    <a:pt x="104" y="54"/>
                  </a:lnTo>
                  <a:lnTo>
                    <a:pt x="96" y="55"/>
                  </a:lnTo>
                  <a:lnTo>
                    <a:pt x="94" y="59"/>
                  </a:lnTo>
                  <a:lnTo>
                    <a:pt x="90" y="66"/>
                  </a:lnTo>
                  <a:lnTo>
                    <a:pt x="82" y="73"/>
                  </a:lnTo>
                  <a:lnTo>
                    <a:pt x="66" y="82"/>
                  </a:lnTo>
                  <a:lnTo>
                    <a:pt x="54" y="89"/>
                  </a:lnTo>
                  <a:lnTo>
                    <a:pt x="43" y="104"/>
                  </a:lnTo>
                  <a:lnTo>
                    <a:pt x="42" y="116"/>
                  </a:lnTo>
                  <a:lnTo>
                    <a:pt x="42" y="121"/>
                  </a:lnTo>
                  <a:lnTo>
                    <a:pt x="52" y="126"/>
                  </a:lnTo>
                  <a:lnTo>
                    <a:pt x="48" y="145"/>
                  </a:lnTo>
                  <a:lnTo>
                    <a:pt x="42" y="145"/>
                  </a:lnTo>
                  <a:lnTo>
                    <a:pt x="26" y="145"/>
                  </a:lnTo>
                  <a:lnTo>
                    <a:pt x="22" y="146"/>
                  </a:lnTo>
                  <a:lnTo>
                    <a:pt x="18" y="148"/>
                  </a:lnTo>
                  <a:lnTo>
                    <a:pt x="0" y="165"/>
                  </a:lnTo>
                  <a:lnTo>
                    <a:pt x="2" y="167"/>
                  </a:lnTo>
                  <a:lnTo>
                    <a:pt x="9" y="170"/>
                  </a:lnTo>
                  <a:lnTo>
                    <a:pt x="26" y="167"/>
                  </a:lnTo>
                  <a:lnTo>
                    <a:pt x="35" y="165"/>
                  </a:lnTo>
                  <a:lnTo>
                    <a:pt x="40" y="165"/>
                  </a:lnTo>
                  <a:lnTo>
                    <a:pt x="40" y="166"/>
                  </a:lnTo>
                  <a:lnTo>
                    <a:pt x="32" y="178"/>
                  </a:lnTo>
                  <a:lnTo>
                    <a:pt x="25" y="185"/>
                  </a:lnTo>
                  <a:lnTo>
                    <a:pt x="16" y="189"/>
                  </a:lnTo>
                  <a:lnTo>
                    <a:pt x="21" y="198"/>
                  </a:lnTo>
                  <a:lnTo>
                    <a:pt x="27" y="206"/>
                  </a:lnTo>
                  <a:lnTo>
                    <a:pt x="42" y="215"/>
                  </a:lnTo>
                  <a:lnTo>
                    <a:pt x="45" y="214"/>
                  </a:lnTo>
                  <a:lnTo>
                    <a:pt x="53" y="206"/>
                  </a:lnTo>
                  <a:lnTo>
                    <a:pt x="55" y="200"/>
                  </a:lnTo>
                  <a:lnTo>
                    <a:pt x="57" y="194"/>
                  </a:lnTo>
                  <a:lnTo>
                    <a:pt x="63" y="192"/>
                  </a:lnTo>
                  <a:lnTo>
                    <a:pt x="62" y="197"/>
                  </a:lnTo>
                  <a:lnTo>
                    <a:pt x="63" y="206"/>
                  </a:lnTo>
                  <a:lnTo>
                    <a:pt x="61" y="219"/>
                  </a:lnTo>
                  <a:lnTo>
                    <a:pt x="61" y="228"/>
                  </a:lnTo>
                  <a:lnTo>
                    <a:pt x="65" y="258"/>
                  </a:lnTo>
                  <a:lnTo>
                    <a:pt x="81" y="308"/>
                  </a:lnTo>
                  <a:lnTo>
                    <a:pt x="101" y="335"/>
                  </a:lnTo>
                  <a:lnTo>
                    <a:pt x="104" y="339"/>
                  </a:lnTo>
                  <a:lnTo>
                    <a:pt x="110" y="352"/>
                  </a:lnTo>
                  <a:lnTo>
                    <a:pt x="115" y="357"/>
                  </a:lnTo>
                  <a:lnTo>
                    <a:pt x="120" y="363"/>
                  </a:lnTo>
                  <a:lnTo>
                    <a:pt x="122" y="369"/>
                  </a:lnTo>
                  <a:lnTo>
                    <a:pt x="135" y="373"/>
                  </a:lnTo>
                  <a:lnTo>
                    <a:pt x="142" y="370"/>
                  </a:lnTo>
                  <a:lnTo>
                    <a:pt x="142" y="368"/>
                  </a:lnTo>
                  <a:lnTo>
                    <a:pt x="145" y="361"/>
                  </a:lnTo>
                  <a:lnTo>
                    <a:pt x="150" y="356"/>
                  </a:lnTo>
                  <a:lnTo>
                    <a:pt x="155" y="354"/>
                  </a:lnTo>
                  <a:lnTo>
                    <a:pt x="158" y="348"/>
                  </a:lnTo>
                  <a:lnTo>
                    <a:pt x="162" y="343"/>
                  </a:lnTo>
                  <a:lnTo>
                    <a:pt x="166" y="342"/>
                  </a:lnTo>
                  <a:lnTo>
                    <a:pt x="171" y="330"/>
                  </a:lnTo>
                  <a:lnTo>
                    <a:pt x="172" y="318"/>
                  </a:lnTo>
                  <a:lnTo>
                    <a:pt x="171" y="308"/>
                  </a:lnTo>
                  <a:lnTo>
                    <a:pt x="168" y="289"/>
                  </a:lnTo>
                  <a:lnTo>
                    <a:pt x="172" y="281"/>
                  </a:lnTo>
                  <a:lnTo>
                    <a:pt x="177" y="277"/>
                  </a:lnTo>
                  <a:lnTo>
                    <a:pt x="187" y="273"/>
                  </a:lnTo>
                  <a:lnTo>
                    <a:pt x="199" y="265"/>
                  </a:lnTo>
                  <a:lnTo>
                    <a:pt x="217" y="247"/>
                  </a:lnTo>
                  <a:lnTo>
                    <a:pt x="240" y="232"/>
                  </a:lnTo>
                  <a:lnTo>
                    <a:pt x="254" y="223"/>
                  </a:lnTo>
                  <a:lnTo>
                    <a:pt x="263" y="212"/>
                  </a:lnTo>
                  <a:lnTo>
                    <a:pt x="266" y="202"/>
                  </a:lnTo>
                  <a:lnTo>
                    <a:pt x="271" y="198"/>
                  </a:lnTo>
                  <a:lnTo>
                    <a:pt x="275" y="196"/>
                  </a:lnTo>
                  <a:lnTo>
                    <a:pt x="282" y="194"/>
                  </a:lnTo>
                  <a:lnTo>
                    <a:pt x="291" y="196"/>
                  </a:lnTo>
                  <a:lnTo>
                    <a:pt x="291" y="182"/>
                  </a:lnTo>
                  <a:lnTo>
                    <a:pt x="290" y="179"/>
                  </a:lnTo>
                  <a:lnTo>
                    <a:pt x="287" y="175"/>
                  </a:lnTo>
                  <a:lnTo>
                    <a:pt x="285" y="170"/>
                  </a:lnTo>
                  <a:lnTo>
                    <a:pt x="286" y="162"/>
                  </a:lnTo>
                  <a:lnTo>
                    <a:pt x="289" y="154"/>
                  </a:lnTo>
                  <a:lnTo>
                    <a:pt x="291" y="152"/>
                  </a:lnTo>
                  <a:lnTo>
                    <a:pt x="295" y="149"/>
                  </a:lnTo>
                  <a:lnTo>
                    <a:pt x="311" y="149"/>
                  </a:lnTo>
                  <a:lnTo>
                    <a:pt x="313" y="149"/>
                  </a:lnTo>
                  <a:lnTo>
                    <a:pt x="316" y="155"/>
                  </a:lnTo>
                  <a:lnTo>
                    <a:pt x="316" y="164"/>
                  </a:lnTo>
                  <a:lnTo>
                    <a:pt x="321" y="176"/>
                  </a:lnTo>
                  <a:lnTo>
                    <a:pt x="324" y="175"/>
                  </a:lnTo>
                  <a:lnTo>
                    <a:pt x="327" y="170"/>
                  </a:lnTo>
                  <a:lnTo>
                    <a:pt x="331" y="162"/>
                  </a:lnTo>
                  <a:lnTo>
                    <a:pt x="333" y="162"/>
                  </a:lnTo>
                  <a:lnTo>
                    <a:pt x="337" y="169"/>
                  </a:lnTo>
                  <a:lnTo>
                    <a:pt x="340" y="183"/>
                  </a:lnTo>
                  <a:lnTo>
                    <a:pt x="341" y="182"/>
                  </a:lnTo>
                  <a:lnTo>
                    <a:pt x="342" y="181"/>
                  </a:lnTo>
                  <a:lnTo>
                    <a:pt x="343" y="182"/>
                  </a:lnTo>
                  <a:lnTo>
                    <a:pt x="346" y="184"/>
                  </a:lnTo>
                  <a:lnTo>
                    <a:pt x="348" y="183"/>
                  </a:lnTo>
                  <a:lnTo>
                    <a:pt x="349" y="181"/>
                  </a:lnTo>
                  <a:lnTo>
                    <a:pt x="346" y="171"/>
                  </a:lnTo>
                  <a:lnTo>
                    <a:pt x="346" y="167"/>
                  </a:lnTo>
                  <a:lnTo>
                    <a:pt x="348" y="167"/>
                  </a:lnTo>
                  <a:lnTo>
                    <a:pt x="355" y="172"/>
                  </a:lnTo>
                  <a:lnTo>
                    <a:pt x="366" y="165"/>
                  </a:lnTo>
                  <a:lnTo>
                    <a:pt x="372" y="152"/>
                  </a:lnTo>
                  <a:lnTo>
                    <a:pt x="377" y="143"/>
                  </a:lnTo>
                  <a:lnTo>
                    <a:pt x="381" y="139"/>
                  </a:lnTo>
                  <a:lnTo>
                    <a:pt x="384" y="138"/>
                  </a:lnTo>
                  <a:lnTo>
                    <a:pt x="395" y="135"/>
                  </a:lnTo>
                  <a:lnTo>
                    <a:pt x="396" y="129"/>
                  </a:lnTo>
                  <a:lnTo>
                    <a:pt x="404" y="118"/>
                  </a:lnTo>
                  <a:lnTo>
                    <a:pt x="408" y="111"/>
                  </a:lnTo>
                  <a:lnTo>
                    <a:pt x="408" y="109"/>
                  </a:lnTo>
                  <a:lnTo>
                    <a:pt x="405" y="108"/>
                  </a:lnTo>
                  <a:lnTo>
                    <a:pt x="370" y="113"/>
                  </a:lnTo>
                  <a:lnTo>
                    <a:pt x="355" y="111"/>
                  </a:lnTo>
                  <a:lnTo>
                    <a:pt x="343" y="136"/>
                  </a:lnTo>
                  <a:lnTo>
                    <a:pt x="333" y="137"/>
                  </a:lnTo>
                  <a:lnTo>
                    <a:pt x="320" y="137"/>
                  </a:lnTo>
                  <a:lnTo>
                    <a:pt x="301" y="136"/>
                  </a:lnTo>
                  <a:lnTo>
                    <a:pt x="285" y="137"/>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2" name="Freeform 41">
              <a:extLst>
                <a:ext uri="{FF2B5EF4-FFF2-40B4-BE49-F238E27FC236}">
                  <a16:creationId xmlns:a16="http://schemas.microsoft.com/office/drawing/2014/main" id="{FEEECBC3-F250-46B4-8FD8-6CC4D7D95544}"/>
                </a:ext>
              </a:extLst>
            </p:cNvPr>
            <p:cNvSpPr>
              <a:spLocks/>
            </p:cNvSpPr>
            <p:nvPr/>
          </p:nvSpPr>
          <p:spPr bwMode="auto">
            <a:xfrm>
              <a:off x="6137275" y="3946525"/>
              <a:ext cx="288925" cy="196850"/>
            </a:xfrm>
            <a:custGeom>
              <a:avLst/>
              <a:gdLst>
                <a:gd name="T0" fmla="*/ 181 w 213"/>
                <a:gd name="T1" fmla="*/ 32 h 134"/>
                <a:gd name="T2" fmla="*/ 153 w 213"/>
                <a:gd name="T3" fmla="*/ 33 h 134"/>
                <a:gd name="T4" fmla="*/ 147 w 213"/>
                <a:gd name="T5" fmla="*/ 37 h 134"/>
                <a:gd name="T6" fmla="*/ 142 w 213"/>
                <a:gd name="T7" fmla="*/ 46 h 134"/>
                <a:gd name="T8" fmla="*/ 126 w 213"/>
                <a:gd name="T9" fmla="*/ 50 h 134"/>
                <a:gd name="T10" fmla="*/ 125 w 213"/>
                <a:gd name="T11" fmla="*/ 58 h 134"/>
                <a:gd name="T12" fmla="*/ 117 w 213"/>
                <a:gd name="T13" fmla="*/ 60 h 134"/>
                <a:gd name="T14" fmla="*/ 114 w 213"/>
                <a:gd name="T15" fmla="*/ 65 h 134"/>
                <a:gd name="T16" fmla="*/ 111 w 213"/>
                <a:gd name="T17" fmla="*/ 75 h 134"/>
                <a:gd name="T18" fmla="*/ 95 w 213"/>
                <a:gd name="T19" fmla="*/ 93 h 134"/>
                <a:gd name="T20" fmla="*/ 85 w 213"/>
                <a:gd name="T21" fmla="*/ 93 h 134"/>
                <a:gd name="T22" fmla="*/ 76 w 213"/>
                <a:gd name="T23" fmla="*/ 95 h 134"/>
                <a:gd name="T24" fmla="*/ 68 w 213"/>
                <a:gd name="T25" fmla="*/ 100 h 134"/>
                <a:gd name="T26" fmla="*/ 56 w 213"/>
                <a:gd name="T27" fmla="*/ 112 h 134"/>
                <a:gd name="T28" fmla="*/ 50 w 213"/>
                <a:gd name="T29" fmla="*/ 118 h 134"/>
                <a:gd name="T30" fmla="*/ 39 w 213"/>
                <a:gd name="T31" fmla="*/ 121 h 134"/>
                <a:gd name="T32" fmla="*/ 29 w 213"/>
                <a:gd name="T33" fmla="*/ 123 h 134"/>
                <a:gd name="T34" fmla="*/ 19 w 213"/>
                <a:gd name="T35" fmla="*/ 121 h 134"/>
                <a:gd name="T36" fmla="*/ 10 w 213"/>
                <a:gd name="T37" fmla="*/ 120 h 134"/>
                <a:gd name="T38" fmla="*/ 1 w 213"/>
                <a:gd name="T39" fmla="*/ 101 h 134"/>
                <a:gd name="T40" fmla="*/ 0 w 213"/>
                <a:gd name="T41" fmla="*/ 72 h 134"/>
                <a:gd name="T42" fmla="*/ 9 w 213"/>
                <a:gd name="T43" fmla="*/ 56 h 134"/>
                <a:gd name="T44" fmla="*/ 10 w 213"/>
                <a:gd name="T45" fmla="*/ 38 h 134"/>
                <a:gd name="T46" fmla="*/ 26 w 213"/>
                <a:gd name="T47" fmla="*/ 37 h 134"/>
                <a:gd name="T48" fmla="*/ 30 w 213"/>
                <a:gd name="T49" fmla="*/ 29 h 134"/>
                <a:gd name="T50" fmla="*/ 42 w 213"/>
                <a:gd name="T51" fmla="*/ 22 h 134"/>
                <a:gd name="T52" fmla="*/ 49 w 213"/>
                <a:gd name="T53" fmla="*/ 16 h 134"/>
                <a:gd name="T54" fmla="*/ 54 w 213"/>
                <a:gd name="T55" fmla="*/ 6 h 134"/>
                <a:gd name="T56" fmla="*/ 68 w 213"/>
                <a:gd name="T57" fmla="*/ 9 h 134"/>
                <a:gd name="T58" fmla="*/ 85 w 213"/>
                <a:gd name="T59" fmla="*/ 10 h 134"/>
                <a:gd name="T60" fmla="*/ 100 w 213"/>
                <a:gd name="T61" fmla="*/ 9 h 134"/>
                <a:gd name="T62" fmla="*/ 112 w 213"/>
                <a:gd name="T63" fmla="*/ 1 h 134"/>
                <a:gd name="T64" fmla="*/ 121 w 213"/>
                <a:gd name="T65" fmla="*/ 0 h 134"/>
                <a:gd name="T66" fmla="*/ 129 w 213"/>
                <a:gd name="T67" fmla="*/ 6 h 134"/>
                <a:gd name="T68" fmla="*/ 137 w 213"/>
                <a:gd name="T69" fmla="*/ 13 h 134"/>
                <a:gd name="T70" fmla="*/ 143 w 213"/>
                <a:gd name="T71" fmla="*/ 18 h 134"/>
                <a:gd name="T72" fmla="*/ 150 w 213"/>
                <a:gd name="T73" fmla="*/ 19 h 134"/>
                <a:gd name="T74" fmla="*/ 179 w 213"/>
                <a:gd name="T75" fmla="*/ 19 h 134"/>
                <a:gd name="T76" fmla="*/ 181 w 213"/>
                <a:gd name="T77" fmla="*/ 32 h 1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134"/>
                <a:gd name="T119" fmla="*/ 213 w 213"/>
                <a:gd name="T120" fmla="*/ 134 h 1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134">
                  <a:moveTo>
                    <a:pt x="212" y="35"/>
                  </a:moveTo>
                  <a:lnTo>
                    <a:pt x="179" y="36"/>
                  </a:lnTo>
                  <a:lnTo>
                    <a:pt x="172" y="40"/>
                  </a:lnTo>
                  <a:lnTo>
                    <a:pt x="166" y="50"/>
                  </a:lnTo>
                  <a:lnTo>
                    <a:pt x="148" y="54"/>
                  </a:lnTo>
                  <a:lnTo>
                    <a:pt x="146" y="63"/>
                  </a:lnTo>
                  <a:lnTo>
                    <a:pt x="137" y="65"/>
                  </a:lnTo>
                  <a:lnTo>
                    <a:pt x="133" y="70"/>
                  </a:lnTo>
                  <a:lnTo>
                    <a:pt x="130" y="81"/>
                  </a:lnTo>
                  <a:lnTo>
                    <a:pt x="111" y="101"/>
                  </a:lnTo>
                  <a:lnTo>
                    <a:pt x="99" y="101"/>
                  </a:lnTo>
                  <a:lnTo>
                    <a:pt x="89" y="103"/>
                  </a:lnTo>
                  <a:lnTo>
                    <a:pt x="80" y="108"/>
                  </a:lnTo>
                  <a:lnTo>
                    <a:pt x="66" y="121"/>
                  </a:lnTo>
                  <a:lnTo>
                    <a:pt x="59" y="127"/>
                  </a:lnTo>
                  <a:lnTo>
                    <a:pt x="46" y="131"/>
                  </a:lnTo>
                  <a:lnTo>
                    <a:pt x="34" y="133"/>
                  </a:lnTo>
                  <a:lnTo>
                    <a:pt x="22" y="131"/>
                  </a:lnTo>
                  <a:lnTo>
                    <a:pt x="12" y="130"/>
                  </a:lnTo>
                  <a:lnTo>
                    <a:pt x="1" y="109"/>
                  </a:lnTo>
                  <a:lnTo>
                    <a:pt x="0" y="78"/>
                  </a:lnTo>
                  <a:lnTo>
                    <a:pt x="10" y="61"/>
                  </a:lnTo>
                  <a:lnTo>
                    <a:pt x="12" y="41"/>
                  </a:lnTo>
                  <a:lnTo>
                    <a:pt x="30" y="40"/>
                  </a:lnTo>
                  <a:lnTo>
                    <a:pt x="35" y="31"/>
                  </a:lnTo>
                  <a:lnTo>
                    <a:pt x="49" y="24"/>
                  </a:lnTo>
                  <a:lnTo>
                    <a:pt x="57" y="17"/>
                  </a:lnTo>
                  <a:lnTo>
                    <a:pt x="63" y="7"/>
                  </a:lnTo>
                  <a:lnTo>
                    <a:pt x="79" y="10"/>
                  </a:lnTo>
                  <a:lnTo>
                    <a:pt x="100" y="11"/>
                  </a:lnTo>
                  <a:lnTo>
                    <a:pt x="117" y="10"/>
                  </a:lnTo>
                  <a:lnTo>
                    <a:pt x="131" y="1"/>
                  </a:lnTo>
                  <a:lnTo>
                    <a:pt x="142" y="0"/>
                  </a:lnTo>
                  <a:lnTo>
                    <a:pt x="151" y="7"/>
                  </a:lnTo>
                  <a:lnTo>
                    <a:pt x="160" y="14"/>
                  </a:lnTo>
                  <a:lnTo>
                    <a:pt x="167" y="19"/>
                  </a:lnTo>
                  <a:lnTo>
                    <a:pt x="175" y="20"/>
                  </a:lnTo>
                  <a:lnTo>
                    <a:pt x="209" y="20"/>
                  </a:lnTo>
                  <a:lnTo>
                    <a:pt x="212" y="35"/>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3" name="Freeform 42">
              <a:extLst>
                <a:ext uri="{FF2B5EF4-FFF2-40B4-BE49-F238E27FC236}">
                  <a16:creationId xmlns:a16="http://schemas.microsoft.com/office/drawing/2014/main" id="{26ADF23A-E4F4-4F63-BC14-6D16A770D899}"/>
                </a:ext>
              </a:extLst>
            </p:cNvPr>
            <p:cNvSpPr>
              <a:spLocks/>
            </p:cNvSpPr>
            <p:nvPr/>
          </p:nvSpPr>
          <p:spPr bwMode="auto">
            <a:xfrm>
              <a:off x="7297738" y="3762375"/>
              <a:ext cx="169863" cy="252413"/>
            </a:xfrm>
            <a:custGeom>
              <a:avLst/>
              <a:gdLst>
                <a:gd name="T0" fmla="*/ 106 w 126"/>
                <a:gd name="T1" fmla="*/ 0 h 171"/>
                <a:gd name="T2" fmla="*/ 68 w 126"/>
                <a:gd name="T3" fmla="*/ 31 h 171"/>
                <a:gd name="T4" fmla="*/ 48 w 126"/>
                <a:gd name="T5" fmla="*/ 45 h 171"/>
                <a:gd name="T6" fmla="*/ 20 w 126"/>
                <a:gd name="T7" fmla="*/ 42 h 171"/>
                <a:gd name="T8" fmla="*/ 14 w 126"/>
                <a:gd name="T9" fmla="*/ 44 h 171"/>
                <a:gd name="T10" fmla="*/ 14 w 126"/>
                <a:gd name="T11" fmla="*/ 50 h 171"/>
                <a:gd name="T12" fmla="*/ 17 w 126"/>
                <a:gd name="T13" fmla="*/ 60 h 171"/>
                <a:gd name="T14" fmla="*/ 12 w 126"/>
                <a:gd name="T15" fmla="*/ 64 h 171"/>
                <a:gd name="T16" fmla="*/ 8 w 126"/>
                <a:gd name="T17" fmla="*/ 65 h 171"/>
                <a:gd name="T18" fmla="*/ 0 w 126"/>
                <a:gd name="T19" fmla="*/ 63 h 171"/>
                <a:gd name="T20" fmla="*/ 0 w 126"/>
                <a:gd name="T21" fmla="*/ 84 h 171"/>
                <a:gd name="T22" fmla="*/ 10 w 126"/>
                <a:gd name="T23" fmla="*/ 82 h 171"/>
                <a:gd name="T24" fmla="*/ 20 w 126"/>
                <a:gd name="T25" fmla="*/ 89 h 171"/>
                <a:gd name="T26" fmla="*/ 14 w 126"/>
                <a:gd name="T27" fmla="*/ 102 h 171"/>
                <a:gd name="T28" fmla="*/ 20 w 126"/>
                <a:gd name="T29" fmla="*/ 109 h 171"/>
                <a:gd name="T30" fmla="*/ 33 w 126"/>
                <a:gd name="T31" fmla="*/ 114 h 171"/>
                <a:gd name="T32" fmla="*/ 37 w 126"/>
                <a:gd name="T33" fmla="*/ 117 h 171"/>
                <a:gd name="T34" fmla="*/ 38 w 126"/>
                <a:gd name="T35" fmla="*/ 119 h 171"/>
                <a:gd name="T36" fmla="*/ 38 w 126"/>
                <a:gd name="T37" fmla="*/ 123 h 171"/>
                <a:gd name="T38" fmla="*/ 37 w 126"/>
                <a:gd name="T39" fmla="*/ 144 h 171"/>
                <a:gd name="T40" fmla="*/ 38 w 126"/>
                <a:gd name="T41" fmla="*/ 151 h 171"/>
                <a:gd name="T42" fmla="*/ 42 w 126"/>
                <a:gd name="T43" fmla="*/ 154 h 171"/>
                <a:gd name="T44" fmla="*/ 54 w 126"/>
                <a:gd name="T45" fmla="*/ 158 h 171"/>
                <a:gd name="T46" fmla="*/ 60 w 126"/>
                <a:gd name="T47" fmla="*/ 156 h 171"/>
                <a:gd name="T48" fmla="*/ 64 w 126"/>
                <a:gd name="T49" fmla="*/ 152 h 171"/>
                <a:gd name="T50" fmla="*/ 69 w 126"/>
                <a:gd name="T51" fmla="*/ 147 h 171"/>
                <a:gd name="T52" fmla="*/ 71 w 126"/>
                <a:gd name="T53" fmla="*/ 126 h 171"/>
                <a:gd name="T54" fmla="*/ 69 w 126"/>
                <a:gd name="T55" fmla="*/ 111 h 171"/>
                <a:gd name="T56" fmla="*/ 64 w 126"/>
                <a:gd name="T57" fmla="*/ 102 h 171"/>
                <a:gd name="T58" fmla="*/ 57 w 126"/>
                <a:gd name="T59" fmla="*/ 97 h 171"/>
                <a:gd name="T60" fmla="*/ 48 w 126"/>
                <a:gd name="T61" fmla="*/ 86 h 171"/>
                <a:gd name="T62" fmla="*/ 48 w 126"/>
                <a:gd name="T63" fmla="*/ 80 h 171"/>
                <a:gd name="T64" fmla="*/ 53 w 126"/>
                <a:gd name="T65" fmla="*/ 77 h 171"/>
                <a:gd name="T66" fmla="*/ 54 w 126"/>
                <a:gd name="T67" fmla="*/ 77 h 171"/>
                <a:gd name="T68" fmla="*/ 88 w 126"/>
                <a:gd name="T69" fmla="*/ 38 h 171"/>
                <a:gd name="T70" fmla="*/ 104 w 126"/>
                <a:gd name="T71" fmla="*/ 6 h 171"/>
                <a:gd name="T72" fmla="*/ 106 w 126"/>
                <a:gd name="T73" fmla="*/ 0 h 17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6"/>
                <a:gd name="T112" fmla="*/ 0 h 171"/>
                <a:gd name="T113" fmla="*/ 126 w 126"/>
                <a:gd name="T114" fmla="*/ 171 h 17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6" h="171">
                  <a:moveTo>
                    <a:pt x="125" y="0"/>
                  </a:moveTo>
                  <a:lnTo>
                    <a:pt x="80" y="33"/>
                  </a:lnTo>
                  <a:lnTo>
                    <a:pt x="56" y="48"/>
                  </a:lnTo>
                  <a:lnTo>
                    <a:pt x="23" y="45"/>
                  </a:lnTo>
                  <a:lnTo>
                    <a:pt x="16" y="47"/>
                  </a:lnTo>
                  <a:lnTo>
                    <a:pt x="16" y="54"/>
                  </a:lnTo>
                  <a:lnTo>
                    <a:pt x="20" y="64"/>
                  </a:lnTo>
                  <a:lnTo>
                    <a:pt x="14" y="69"/>
                  </a:lnTo>
                  <a:lnTo>
                    <a:pt x="10" y="70"/>
                  </a:lnTo>
                  <a:lnTo>
                    <a:pt x="0" y="68"/>
                  </a:lnTo>
                  <a:lnTo>
                    <a:pt x="0" y="90"/>
                  </a:lnTo>
                  <a:lnTo>
                    <a:pt x="12" y="88"/>
                  </a:lnTo>
                  <a:lnTo>
                    <a:pt x="24" y="96"/>
                  </a:lnTo>
                  <a:lnTo>
                    <a:pt x="16" y="110"/>
                  </a:lnTo>
                  <a:lnTo>
                    <a:pt x="24" y="117"/>
                  </a:lnTo>
                  <a:lnTo>
                    <a:pt x="39" y="123"/>
                  </a:lnTo>
                  <a:lnTo>
                    <a:pt x="43" y="126"/>
                  </a:lnTo>
                  <a:lnTo>
                    <a:pt x="45" y="128"/>
                  </a:lnTo>
                  <a:lnTo>
                    <a:pt x="45" y="132"/>
                  </a:lnTo>
                  <a:lnTo>
                    <a:pt x="43" y="155"/>
                  </a:lnTo>
                  <a:lnTo>
                    <a:pt x="45" y="162"/>
                  </a:lnTo>
                  <a:lnTo>
                    <a:pt x="50" y="166"/>
                  </a:lnTo>
                  <a:lnTo>
                    <a:pt x="64" y="170"/>
                  </a:lnTo>
                  <a:lnTo>
                    <a:pt x="71" y="168"/>
                  </a:lnTo>
                  <a:lnTo>
                    <a:pt x="75" y="164"/>
                  </a:lnTo>
                  <a:lnTo>
                    <a:pt x="81" y="158"/>
                  </a:lnTo>
                  <a:lnTo>
                    <a:pt x="84" y="135"/>
                  </a:lnTo>
                  <a:lnTo>
                    <a:pt x="81" y="119"/>
                  </a:lnTo>
                  <a:lnTo>
                    <a:pt x="75" y="110"/>
                  </a:lnTo>
                  <a:lnTo>
                    <a:pt x="67" y="104"/>
                  </a:lnTo>
                  <a:lnTo>
                    <a:pt x="56" y="92"/>
                  </a:lnTo>
                  <a:lnTo>
                    <a:pt x="56" y="86"/>
                  </a:lnTo>
                  <a:lnTo>
                    <a:pt x="62" y="83"/>
                  </a:lnTo>
                  <a:lnTo>
                    <a:pt x="64" y="83"/>
                  </a:lnTo>
                  <a:lnTo>
                    <a:pt x="104" y="41"/>
                  </a:lnTo>
                  <a:lnTo>
                    <a:pt x="123" y="6"/>
                  </a:lnTo>
                  <a:lnTo>
                    <a:pt x="125"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4" name="Freeform 44">
              <a:extLst>
                <a:ext uri="{FF2B5EF4-FFF2-40B4-BE49-F238E27FC236}">
                  <a16:creationId xmlns:a16="http://schemas.microsoft.com/office/drawing/2014/main" id="{BE2FED91-4F6D-4CC1-A673-8E8045B8B07E}"/>
                </a:ext>
              </a:extLst>
            </p:cNvPr>
            <p:cNvSpPr>
              <a:spLocks/>
            </p:cNvSpPr>
            <p:nvPr/>
          </p:nvSpPr>
          <p:spPr bwMode="auto">
            <a:xfrm>
              <a:off x="6378575" y="3513138"/>
              <a:ext cx="1158875" cy="842963"/>
            </a:xfrm>
            <a:custGeom>
              <a:avLst/>
              <a:gdLst>
                <a:gd name="T0" fmla="*/ 211 w 854"/>
                <a:gd name="T1" fmla="*/ 133 h 573"/>
                <a:gd name="T2" fmla="*/ 248 w 854"/>
                <a:gd name="T3" fmla="*/ 187 h 573"/>
                <a:gd name="T4" fmla="*/ 311 w 854"/>
                <a:gd name="T5" fmla="*/ 197 h 573"/>
                <a:gd name="T6" fmla="*/ 366 w 854"/>
                <a:gd name="T7" fmla="*/ 209 h 573"/>
                <a:gd name="T8" fmla="*/ 508 w 854"/>
                <a:gd name="T9" fmla="*/ 155 h 573"/>
                <a:gd name="T10" fmla="*/ 562 w 854"/>
                <a:gd name="T11" fmla="*/ 122 h 573"/>
                <a:gd name="T12" fmla="*/ 518 w 854"/>
                <a:gd name="T13" fmla="*/ 105 h 573"/>
                <a:gd name="T14" fmla="*/ 550 w 854"/>
                <a:gd name="T15" fmla="*/ 13 h 573"/>
                <a:gd name="T16" fmla="*/ 604 w 854"/>
                <a:gd name="T17" fmla="*/ 4 h 573"/>
                <a:gd name="T18" fmla="*/ 635 w 854"/>
                <a:gd name="T19" fmla="*/ 59 h 573"/>
                <a:gd name="T20" fmla="*/ 663 w 854"/>
                <a:gd name="T21" fmla="*/ 84 h 573"/>
                <a:gd name="T22" fmla="*/ 687 w 854"/>
                <a:gd name="T23" fmla="*/ 105 h 573"/>
                <a:gd name="T24" fmla="*/ 729 w 854"/>
                <a:gd name="T25" fmla="*/ 73 h 573"/>
                <a:gd name="T26" fmla="*/ 710 w 854"/>
                <a:gd name="T27" fmla="*/ 122 h 573"/>
                <a:gd name="T28" fmla="*/ 664 w 854"/>
                <a:gd name="T29" fmla="*/ 175 h 573"/>
                <a:gd name="T30" fmla="*/ 601 w 854"/>
                <a:gd name="T31" fmla="*/ 199 h 573"/>
                <a:gd name="T32" fmla="*/ 589 w 854"/>
                <a:gd name="T33" fmla="*/ 223 h 573"/>
                <a:gd name="T34" fmla="*/ 554 w 854"/>
                <a:gd name="T35" fmla="*/ 251 h 573"/>
                <a:gd name="T36" fmla="*/ 551 w 854"/>
                <a:gd name="T37" fmla="*/ 233 h 573"/>
                <a:gd name="T38" fmla="*/ 511 w 854"/>
                <a:gd name="T39" fmla="*/ 243 h 573"/>
                <a:gd name="T40" fmla="*/ 549 w 854"/>
                <a:gd name="T41" fmla="*/ 270 h 573"/>
                <a:gd name="T42" fmla="*/ 573 w 854"/>
                <a:gd name="T43" fmla="*/ 279 h 573"/>
                <a:gd name="T44" fmla="*/ 538 w 854"/>
                <a:gd name="T45" fmla="*/ 310 h 573"/>
                <a:gd name="T46" fmla="*/ 566 w 854"/>
                <a:gd name="T47" fmla="*/ 375 h 573"/>
                <a:gd name="T48" fmla="*/ 538 w 854"/>
                <a:gd name="T49" fmla="*/ 444 h 573"/>
                <a:gd name="T50" fmla="*/ 462 w 854"/>
                <a:gd name="T51" fmla="*/ 480 h 573"/>
                <a:gd name="T52" fmla="*/ 432 w 854"/>
                <a:gd name="T53" fmla="*/ 503 h 573"/>
                <a:gd name="T54" fmla="*/ 415 w 854"/>
                <a:gd name="T55" fmla="*/ 525 h 573"/>
                <a:gd name="T56" fmla="*/ 422 w 854"/>
                <a:gd name="T57" fmla="*/ 498 h 573"/>
                <a:gd name="T58" fmla="*/ 398 w 854"/>
                <a:gd name="T59" fmla="*/ 497 h 573"/>
                <a:gd name="T60" fmla="*/ 362 w 854"/>
                <a:gd name="T61" fmla="*/ 475 h 573"/>
                <a:gd name="T62" fmla="*/ 333 w 854"/>
                <a:gd name="T63" fmla="*/ 481 h 573"/>
                <a:gd name="T64" fmla="*/ 327 w 854"/>
                <a:gd name="T65" fmla="*/ 500 h 573"/>
                <a:gd name="T66" fmla="*/ 291 w 854"/>
                <a:gd name="T67" fmla="*/ 488 h 573"/>
                <a:gd name="T68" fmla="*/ 296 w 854"/>
                <a:gd name="T69" fmla="*/ 447 h 573"/>
                <a:gd name="T70" fmla="*/ 274 w 854"/>
                <a:gd name="T71" fmla="*/ 413 h 573"/>
                <a:gd name="T72" fmla="*/ 212 w 854"/>
                <a:gd name="T73" fmla="*/ 406 h 573"/>
                <a:gd name="T74" fmla="*/ 170 w 854"/>
                <a:gd name="T75" fmla="*/ 418 h 573"/>
                <a:gd name="T76" fmla="*/ 106 w 854"/>
                <a:gd name="T77" fmla="*/ 404 h 573"/>
                <a:gd name="T78" fmla="*/ 86 w 854"/>
                <a:gd name="T79" fmla="*/ 349 h 573"/>
                <a:gd name="T80" fmla="*/ 81 w 854"/>
                <a:gd name="T81" fmla="*/ 315 h 573"/>
                <a:gd name="T82" fmla="*/ 28 w 854"/>
                <a:gd name="T83" fmla="*/ 306 h 573"/>
                <a:gd name="T84" fmla="*/ 15 w 854"/>
                <a:gd name="T85" fmla="*/ 268 h 573"/>
                <a:gd name="T86" fmla="*/ 1 w 854"/>
                <a:gd name="T87" fmla="*/ 241 h 573"/>
                <a:gd name="T88" fmla="*/ 39 w 854"/>
                <a:gd name="T89" fmla="*/ 224 h 573"/>
                <a:gd name="T90" fmla="*/ 74 w 854"/>
                <a:gd name="T91" fmla="*/ 203 h 573"/>
                <a:gd name="T92" fmla="*/ 68 w 854"/>
                <a:gd name="T93" fmla="*/ 177 h 573"/>
                <a:gd name="T94" fmla="*/ 81 w 854"/>
                <a:gd name="T95" fmla="*/ 161 h 573"/>
                <a:gd name="T96" fmla="*/ 107 w 854"/>
                <a:gd name="T97" fmla="*/ 136 h 573"/>
                <a:gd name="T98" fmla="*/ 132 w 854"/>
                <a:gd name="T99" fmla="*/ 117 h 573"/>
                <a:gd name="T100" fmla="*/ 156 w 854"/>
                <a:gd name="T101" fmla="*/ 93 h 573"/>
                <a:gd name="T102" fmla="*/ 174 w 854"/>
                <a:gd name="T103" fmla="*/ 71 h 57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54"/>
                <a:gd name="T157" fmla="*/ 0 h 573"/>
                <a:gd name="T158" fmla="*/ 854 w 854"/>
                <a:gd name="T159" fmla="*/ 573 h 57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54" h="573">
                  <a:moveTo>
                    <a:pt x="209" y="86"/>
                  </a:moveTo>
                  <a:lnTo>
                    <a:pt x="207" y="100"/>
                  </a:lnTo>
                  <a:lnTo>
                    <a:pt x="209" y="112"/>
                  </a:lnTo>
                  <a:lnTo>
                    <a:pt x="223" y="132"/>
                  </a:lnTo>
                  <a:lnTo>
                    <a:pt x="247" y="144"/>
                  </a:lnTo>
                  <a:lnTo>
                    <a:pt x="268" y="153"/>
                  </a:lnTo>
                  <a:lnTo>
                    <a:pt x="275" y="158"/>
                  </a:lnTo>
                  <a:lnTo>
                    <a:pt x="280" y="165"/>
                  </a:lnTo>
                  <a:lnTo>
                    <a:pt x="287" y="180"/>
                  </a:lnTo>
                  <a:lnTo>
                    <a:pt x="290" y="202"/>
                  </a:lnTo>
                  <a:lnTo>
                    <a:pt x="292" y="207"/>
                  </a:lnTo>
                  <a:lnTo>
                    <a:pt x="298" y="212"/>
                  </a:lnTo>
                  <a:lnTo>
                    <a:pt x="318" y="216"/>
                  </a:lnTo>
                  <a:lnTo>
                    <a:pt x="341" y="216"/>
                  </a:lnTo>
                  <a:lnTo>
                    <a:pt x="364" y="213"/>
                  </a:lnTo>
                  <a:lnTo>
                    <a:pt x="378" y="213"/>
                  </a:lnTo>
                  <a:lnTo>
                    <a:pt x="387" y="219"/>
                  </a:lnTo>
                  <a:lnTo>
                    <a:pt x="396" y="223"/>
                  </a:lnTo>
                  <a:lnTo>
                    <a:pt x="409" y="228"/>
                  </a:lnTo>
                  <a:lnTo>
                    <a:pt x="428" y="225"/>
                  </a:lnTo>
                  <a:lnTo>
                    <a:pt x="443" y="219"/>
                  </a:lnTo>
                  <a:lnTo>
                    <a:pt x="465" y="207"/>
                  </a:lnTo>
                  <a:lnTo>
                    <a:pt x="571" y="185"/>
                  </a:lnTo>
                  <a:lnTo>
                    <a:pt x="586" y="178"/>
                  </a:lnTo>
                  <a:lnTo>
                    <a:pt x="594" y="167"/>
                  </a:lnTo>
                  <a:lnTo>
                    <a:pt x="594" y="153"/>
                  </a:lnTo>
                  <a:lnTo>
                    <a:pt x="611" y="146"/>
                  </a:lnTo>
                  <a:lnTo>
                    <a:pt x="630" y="142"/>
                  </a:lnTo>
                  <a:lnTo>
                    <a:pt x="650" y="138"/>
                  </a:lnTo>
                  <a:lnTo>
                    <a:pt x="658" y="132"/>
                  </a:lnTo>
                  <a:lnTo>
                    <a:pt x="660" y="126"/>
                  </a:lnTo>
                  <a:lnTo>
                    <a:pt x="655" y="120"/>
                  </a:lnTo>
                  <a:lnTo>
                    <a:pt x="648" y="115"/>
                  </a:lnTo>
                  <a:lnTo>
                    <a:pt x="637" y="113"/>
                  </a:lnTo>
                  <a:lnTo>
                    <a:pt x="606" y="113"/>
                  </a:lnTo>
                  <a:lnTo>
                    <a:pt x="613" y="76"/>
                  </a:lnTo>
                  <a:lnTo>
                    <a:pt x="634" y="60"/>
                  </a:lnTo>
                  <a:lnTo>
                    <a:pt x="634" y="52"/>
                  </a:lnTo>
                  <a:lnTo>
                    <a:pt x="635" y="33"/>
                  </a:lnTo>
                  <a:lnTo>
                    <a:pt x="644" y="14"/>
                  </a:lnTo>
                  <a:lnTo>
                    <a:pt x="652" y="6"/>
                  </a:lnTo>
                  <a:lnTo>
                    <a:pt x="662" y="2"/>
                  </a:lnTo>
                  <a:lnTo>
                    <a:pt x="684" y="0"/>
                  </a:lnTo>
                  <a:lnTo>
                    <a:pt x="700" y="2"/>
                  </a:lnTo>
                  <a:lnTo>
                    <a:pt x="707" y="4"/>
                  </a:lnTo>
                  <a:lnTo>
                    <a:pt x="711" y="10"/>
                  </a:lnTo>
                  <a:lnTo>
                    <a:pt x="716" y="21"/>
                  </a:lnTo>
                  <a:lnTo>
                    <a:pt x="721" y="30"/>
                  </a:lnTo>
                  <a:lnTo>
                    <a:pt x="728" y="50"/>
                  </a:lnTo>
                  <a:lnTo>
                    <a:pt x="743" y="64"/>
                  </a:lnTo>
                  <a:lnTo>
                    <a:pt x="753" y="77"/>
                  </a:lnTo>
                  <a:lnTo>
                    <a:pt x="758" y="85"/>
                  </a:lnTo>
                  <a:lnTo>
                    <a:pt x="758" y="93"/>
                  </a:lnTo>
                  <a:lnTo>
                    <a:pt x="771" y="91"/>
                  </a:lnTo>
                  <a:lnTo>
                    <a:pt x="776" y="91"/>
                  </a:lnTo>
                  <a:lnTo>
                    <a:pt x="780" y="93"/>
                  </a:lnTo>
                  <a:lnTo>
                    <a:pt x="787" y="97"/>
                  </a:lnTo>
                  <a:lnTo>
                    <a:pt x="790" y="104"/>
                  </a:lnTo>
                  <a:lnTo>
                    <a:pt x="794" y="112"/>
                  </a:lnTo>
                  <a:lnTo>
                    <a:pt x="804" y="113"/>
                  </a:lnTo>
                  <a:lnTo>
                    <a:pt x="817" y="109"/>
                  </a:lnTo>
                  <a:lnTo>
                    <a:pt x="828" y="95"/>
                  </a:lnTo>
                  <a:lnTo>
                    <a:pt x="839" y="84"/>
                  </a:lnTo>
                  <a:lnTo>
                    <a:pt x="850" y="77"/>
                  </a:lnTo>
                  <a:lnTo>
                    <a:pt x="853" y="79"/>
                  </a:lnTo>
                  <a:lnTo>
                    <a:pt x="853" y="82"/>
                  </a:lnTo>
                  <a:lnTo>
                    <a:pt x="851" y="91"/>
                  </a:lnTo>
                  <a:lnTo>
                    <a:pt x="846" y="104"/>
                  </a:lnTo>
                  <a:lnTo>
                    <a:pt x="839" y="120"/>
                  </a:lnTo>
                  <a:lnTo>
                    <a:pt x="831" y="132"/>
                  </a:lnTo>
                  <a:lnTo>
                    <a:pt x="821" y="144"/>
                  </a:lnTo>
                  <a:lnTo>
                    <a:pt x="811" y="155"/>
                  </a:lnTo>
                  <a:lnTo>
                    <a:pt x="802" y="165"/>
                  </a:lnTo>
                  <a:lnTo>
                    <a:pt x="799" y="174"/>
                  </a:lnTo>
                  <a:lnTo>
                    <a:pt x="777" y="189"/>
                  </a:lnTo>
                  <a:lnTo>
                    <a:pt x="752" y="207"/>
                  </a:lnTo>
                  <a:lnTo>
                    <a:pt x="747" y="213"/>
                  </a:lnTo>
                  <a:lnTo>
                    <a:pt x="738" y="216"/>
                  </a:lnTo>
                  <a:lnTo>
                    <a:pt x="726" y="218"/>
                  </a:lnTo>
                  <a:lnTo>
                    <a:pt x="703" y="215"/>
                  </a:lnTo>
                  <a:lnTo>
                    <a:pt x="698" y="216"/>
                  </a:lnTo>
                  <a:lnTo>
                    <a:pt x="694" y="221"/>
                  </a:lnTo>
                  <a:lnTo>
                    <a:pt x="698" y="235"/>
                  </a:lnTo>
                  <a:lnTo>
                    <a:pt x="695" y="239"/>
                  </a:lnTo>
                  <a:lnTo>
                    <a:pt x="689" y="241"/>
                  </a:lnTo>
                  <a:lnTo>
                    <a:pt x="677" y="239"/>
                  </a:lnTo>
                  <a:lnTo>
                    <a:pt x="677" y="261"/>
                  </a:lnTo>
                  <a:lnTo>
                    <a:pt x="654" y="275"/>
                  </a:lnTo>
                  <a:lnTo>
                    <a:pt x="650" y="274"/>
                  </a:lnTo>
                  <a:lnTo>
                    <a:pt x="648" y="271"/>
                  </a:lnTo>
                  <a:lnTo>
                    <a:pt x="648" y="267"/>
                  </a:lnTo>
                  <a:lnTo>
                    <a:pt x="654" y="257"/>
                  </a:lnTo>
                  <a:lnTo>
                    <a:pt x="655" y="255"/>
                  </a:lnTo>
                  <a:lnTo>
                    <a:pt x="652" y="251"/>
                  </a:lnTo>
                  <a:lnTo>
                    <a:pt x="645" y="251"/>
                  </a:lnTo>
                  <a:lnTo>
                    <a:pt x="638" y="256"/>
                  </a:lnTo>
                  <a:lnTo>
                    <a:pt x="630" y="261"/>
                  </a:lnTo>
                  <a:lnTo>
                    <a:pt x="620" y="265"/>
                  </a:lnTo>
                  <a:lnTo>
                    <a:pt x="604" y="265"/>
                  </a:lnTo>
                  <a:lnTo>
                    <a:pt x="598" y="262"/>
                  </a:lnTo>
                  <a:lnTo>
                    <a:pt x="594" y="267"/>
                  </a:lnTo>
                  <a:lnTo>
                    <a:pt x="594" y="271"/>
                  </a:lnTo>
                  <a:lnTo>
                    <a:pt x="598" y="277"/>
                  </a:lnTo>
                  <a:lnTo>
                    <a:pt x="623" y="295"/>
                  </a:lnTo>
                  <a:lnTo>
                    <a:pt x="642" y="291"/>
                  </a:lnTo>
                  <a:lnTo>
                    <a:pt x="658" y="289"/>
                  </a:lnTo>
                  <a:lnTo>
                    <a:pt x="665" y="292"/>
                  </a:lnTo>
                  <a:lnTo>
                    <a:pt x="671" y="295"/>
                  </a:lnTo>
                  <a:lnTo>
                    <a:pt x="673" y="298"/>
                  </a:lnTo>
                  <a:lnTo>
                    <a:pt x="670" y="301"/>
                  </a:lnTo>
                  <a:lnTo>
                    <a:pt x="658" y="304"/>
                  </a:lnTo>
                  <a:lnTo>
                    <a:pt x="637" y="315"/>
                  </a:lnTo>
                  <a:lnTo>
                    <a:pt x="629" y="320"/>
                  </a:lnTo>
                  <a:lnTo>
                    <a:pt x="625" y="327"/>
                  </a:lnTo>
                  <a:lnTo>
                    <a:pt x="629" y="334"/>
                  </a:lnTo>
                  <a:lnTo>
                    <a:pt x="642" y="353"/>
                  </a:lnTo>
                  <a:lnTo>
                    <a:pt x="648" y="365"/>
                  </a:lnTo>
                  <a:lnTo>
                    <a:pt x="656" y="388"/>
                  </a:lnTo>
                  <a:lnTo>
                    <a:pt x="660" y="397"/>
                  </a:lnTo>
                  <a:lnTo>
                    <a:pt x="662" y="405"/>
                  </a:lnTo>
                  <a:lnTo>
                    <a:pt x="662" y="414"/>
                  </a:lnTo>
                  <a:lnTo>
                    <a:pt x="656" y="429"/>
                  </a:lnTo>
                  <a:lnTo>
                    <a:pt x="652" y="436"/>
                  </a:lnTo>
                  <a:lnTo>
                    <a:pt x="638" y="456"/>
                  </a:lnTo>
                  <a:lnTo>
                    <a:pt x="629" y="479"/>
                  </a:lnTo>
                  <a:lnTo>
                    <a:pt x="605" y="500"/>
                  </a:lnTo>
                  <a:lnTo>
                    <a:pt x="586" y="510"/>
                  </a:lnTo>
                  <a:lnTo>
                    <a:pt x="583" y="518"/>
                  </a:lnTo>
                  <a:lnTo>
                    <a:pt x="567" y="520"/>
                  </a:lnTo>
                  <a:lnTo>
                    <a:pt x="541" y="518"/>
                  </a:lnTo>
                  <a:lnTo>
                    <a:pt x="532" y="530"/>
                  </a:lnTo>
                  <a:lnTo>
                    <a:pt x="520" y="531"/>
                  </a:lnTo>
                  <a:lnTo>
                    <a:pt x="512" y="533"/>
                  </a:lnTo>
                  <a:lnTo>
                    <a:pt x="506" y="537"/>
                  </a:lnTo>
                  <a:lnTo>
                    <a:pt x="505" y="543"/>
                  </a:lnTo>
                  <a:lnTo>
                    <a:pt x="507" y="552"/>
                  </a:lnTo>
                  <a:lnTo>
                    <a:pt x="507" y="560"/>
                  </a:lnTo>
                  <a:lnTo>
                    <a:pt x="505" y="569"/>
                  </a:lnTo>
                  <a:lnTo>
                    <a:pt x="491" y="572"/>
                  </a:lnTo>
                  <a:lnTo>
                    <a:pt x="486" y="567"/>
                  </a:lnTo>
                  <a:lnTo>
                    <a:pt x="484" y="561"/>
                  </a:lnTo>
                  <a:lnTo>
                    <a:pt x="488" y="558"/>
                  </a:lnTo>
                  <a:lnTo>
                    <a:pt x="494" y="551"/>
                  </a:lnTo>
                  <a:lnTo>
                    <a:pt x="495" y="543"/>
                  </a:lnTo>
                  <a:lnTo>
                    <a:pt x="494" y="537"/>
                  </a:lnTo>
                  <a:lnTo>
                    <a:pt x="492" y="534"/>
                  </a:lnTo>
                  <a:lnTo>
                    <a:pt x="488" y="533"/>
                  </a:lnTo>
                  <a:lnTo>
                    <a:pt x="477" y="530"/>
                  </a:lnTo>
                  <a:lnTo>
                    <a:pt x="468" y="532"/>
                  </a:lnTo>
                  <a:lnTo>
                    <a:pt x="466" y="536"/>
                  </a:lnTo>
                  <a:lnTo>
                    <a:pt x="463" y="527"/>
                  </a:lnTo>
                  <a:lnTo>
                    <a:pt x="450" y="513"/>
                  </a:lnTo>
                  <a:lnTo>
                    <a:pt x="445" y="512"/>
                  </a:lnTo>
                  <a:lnTo>
                    <a:pt x="436" y="514"/>
                  </a:lnTo>
                  <a:lnTo>
                    <a:pt x="424" y="513"/>
                  </a:lnTo>
                  <a:lnTo>
                    <a:pt x="412" y="511"/>
                  </a:lnTo>
                  <a:lnTo>
                    <a:pt x="397" y="513"/>
                  </a:lnTo>
                  <a:lnTo>
                    <a:pt x="392" y="514"/>
                  </a:lnTo>
                  <a:lnTo>
                    <a:pt x="390" y="515"/>
                  </a:lnTo>
                  <a:lnTo>
                    <a:pt x="389" y="519"/>
                  </a:lnTo>
                  <a:lnTo>
                    <a:pt x="384" y="523"/>
                  </a:lnTo>
                  <a:lnTo>
                    <a:pt x="385" y="525"/>
                  </a:lnTo>
                  <a:lnTo>
                    <a:pt x="385" y="537"/>
                  </a:lnTo>
                  <a:lnTo>
                    <a:pt x="385" y="539"/>
                  </a:lnTo>
                  <a:lnTo>
                    <a:pt x="383" y="540"/>
                  </a:lnTo>
                  <a:lnTo>
                    <a:pt x="379" y="540"/>
                  </a:lnTo>
                  <a:lnTo>
                    <a:pt x="358" y="547"/>
                  </a:lnTo>
                  <a:lnTo>
                    <a:pt x="360" y="531"/>
                  </a:lnTo>
                  <a:lnTo>
                    <a:pt x="351" y="527"/>
                  </a:lnTo>
                  <a:lnTo>
                    <a:pt x="340" y="527"/>
                  </a:lnTo>
                  <a:lnTo>
                    <a:pt x="335" y="523"/>
                  </a:lnTo>
                  <a:lnTo>
                    <a:pt x="332" y="516"/>
                  </a:lnTo>
                  <a:lnTo>
                    <a:pt x="336" y="496"/>
                  </a:lnTo>
                  <a:lnTo>
                    <a:pt x="340" y="486"/>
                  </a:lnTo>
                  <a:lnTo>
                    <a:pt x="346" y="482"/>
                  </a:lnTo>
                  <a:lnTo>
                    <a:pt x="340" y="468"/>
                  </a:lnTo>
                  <a:lnTo>
                    <a:pt x="334" y="457"/>
                  </a:lnTo>
                  <a:lnTo>
                    <a:pt x="324" y="448"/>
                  </a:lnTo>
                  <a:lnTo>
                    <a:pt x="324" y="446"/>
                  </a:lnTo>
                  <a:lnTo>
                    <a:pt x="321" y="446"/>
                  </a:lnTo>
                  <a:lnTo>
                    <a:pt x="286" y="450"/>
                  </a:lnTo>
                  <a:lnTo>
                    <a:pt x="271" y="448"/>
                  </a:lnTo>
                  <a:lnTo>
                    <a:pt x="268" y="443"/>
                  </a:lnTo>
                  <a:lnTo>
                    <a:pt x="261" y="440"/>
                  </a:lnTo>
                  <a:lnTo>
                    <a:pt x="248" y="438"/>
                  </a:lnTo>
                  <a:lnTo>
                    <a:pt x="233" y="437"/>
                  </a:lnTo>
                  <a:lnTo>
                    <a:pt x="220" y="440"/>
                  </a:lnTo>
                  <a:lnTo>
                    <a:pt x="210" y="445"/>
                  </a:lnTo>
                  <a:lnTo>
                    <a:pt x="202" y="451"/>
                  </a:lnTo>
                  <a:lnTo>
                    <a:pt x="199" y="451"/>
                  </a:lnTo>
                  <a:lnTo>
                    <a:pt x="200" y="450"/>
                  </a:lnTo>
                  <a:lnTo>
                    <a:pt x="198" y="447"/>
                  </a:lnTo>
                  <a:lnTo>
                    <a:pt x="196" y="447"/>
                  </a:lnTo>
                  <a:lnTo>
                    <a:pt x="192" y="449"/>
                  </a:lnTo>
                  <a:lnTo>
                    <a:pt x="124" y="436"/>
                  </a:lnTo>
                  <a:lnTo>
                    <a:pt x="94" y="414"/>
                  </a:lnTo>
                  <a:lnTo>
                    <a:pt x="89" y="397"/>
                  </a:lnTo>
                  <a:lnTo>
                    <a:pt x="91" y="386"/>
                  </a:lnTo>
                  <a:lnTo>
                    <a:pt x="96" y="379"/>
                  </a:lnTo>
                  <a:lnTo>
                    <a:pt x="101" y="377"/>
                  </a:lnTo>
                  <a:lnTo>
                    <a:pt x="95" y="365"/>
                  </a:lnTo>
                  <a:lnTo>
                    <a:pt x="102" y="360"/>
                  </a:lnTo>
                  <a:lnTo>
                    <a:pt x="99" y="351"/>
                  </a:lnTo>
                  <a:lnTo>
                    <a:pt x="96" y="344"/>
                  </a:lnTo>
                  <a:lnTo>
                    <a:pt x="95" y="340"/>
                  </a:lnTo>
                  <a:lnTo>
                    <a:pt x="86" y="336"/>
                  </a:lnTo>
                  <a:lnTo>
                    <a:pt x="72" y="333"/>
                  </a:lnTo>
                  <a:lnTo>
                    <a:pt x="63" y="328"/>
                  </a:lnTo>
                  <a:lnTo>
                    <a:pt x="53" y="329"/>
                  </a:lnTo>
                  <a:lnTo>
                    <a:pt x="33" y="330"/>
                  </a:lnTo>
                  <a:lnTo>
                    <a:pt x="28" y="313"/>
                  </a:lnTo>
                  <a:lnTo>
                    <a:pt x="28" y="312"/>
                  </a:lnTo>
                  <a:lnTo>
                    <a:pt x="23" y="304"/>
                  </a:lnTo>
                  <a:lnTo>
                    <a:pt x="17" y="297"/>
                  </a:lnTo>
                  <a:lnTo>
                    <a:pt x="17" y="289"/>
                  </a:lnTo>
                  <a:lnTo>
                    <a:pt x="16" y="286"/>
                  </a:lnTo>
                  <a:lnTo>
                    <a:pt x="9" y="280"/>
                  </a:lnTo>
                  <a:lnTo>
                    <a:pt x="4" y="278"/>
                  </a:lnTo>
                  <a:lnTo>
                    <a:pt x="0" y="271"/>
                  </a:lnTo>
                  <a:lnTo>
                    <a:pt x="1" y="260"/>
                  </a:lnTo>
                  <a:lnTo>
                    <a:pt x="7" y="253"/>
                  </a:lnTo>
                  <a:lnTo>
                    <a:pt x="18" y="251"/>
                  </a:lnTo>
                  <a:lnTo>
                    <a:pt x="31" y="252"/>
                  </a:lnTo>
                  <a:lnTo>
                    <a:pt x="42" y="244"/>
                  </a:lnTo>
                  <a:lnTo>
                    <a:pt x="46" y="242"/>
                  </a:lnTo>
                  <a:lnTo>
                    <a:pt x="57" y="240"/>
                  </a:lnTo>
                  <a:lnTo>
                    <a:pt x="69" y="238"/>
                  </a:lnTo>
                  <a:lnTo>
                    <a:pt x="80" y="231"/>
                  </a:lnTo>
                  <a:lnTo>
                    <a:pt x="83" y="225"/>
                  </a:lnTo>
                  <a:lnTo>
                    <a:pt x="87" y="219"/>
                  </a:lnTo>
                  <a:lnTo>
                    <a:pt x="91" y="211"/>
                  </a:lnTo>
                  <a:lnTo>
                    <a:pt x="92" y="205"/>
                  </a:lnTo>
                  <a:lnTo>
                    <a:pt x="90" y="202"/>
                  </a:lnTo>
                  <a:lnTo>
                    <a:pt x="81" y="195"/>
                  </a:lnTo>
                  <a:lnTo>
                    <a:pt x="80" y="191"/>
                  </a:lnTo>
                  <a:lnTo>
                    <a:pt x="80" y="185"/>
                  </a:lnTo>
                  <a:lnTo>
                    <a:pt x="90" y="182"/>
                  </a:lnTo>
                  <a:lnTo>
                    <a:pt x="94" y="180"/>
                  </a:lnTo>
                  <a:lnTo>
                    <a:pt x="96" y="177"/>
                  </a:lnTo>
                  <a:lnTo>
                    <a:pt x="95" y="174"/>
                  </a:lnTo>
                  <a:lnTo>
                    <a:pt x="100" y="171"/>
                  </a:lnTo>
                  <a:lnTo>
                    <a:pt x="109" y="169"/>
                  </a:lnTo>
                  <a:lnTo>
                    <a:pt x="119" y="160"/>
                  </a:lnTo>
                  <a:lnTo>
                    <a:pt x="124" y="153"/>
                  </a:lnTo>
                  <a:lnTo>
                    <a:pt x="125" y="147"/>
                  </a:lnTo>
                  <a:lnTo>
                    <a:pt x="126" y="140"/>
                  </a:lnTo>
                  <a:lnTo>
                    <a:pt x="131" y="134"/>
                  </a:lnTo>
                  <a:lnTo>
                    <a:pt x="138" y="131"/>
                  </a:lnTo>
                  <a:lnTo>
                    <a:pt x="143" y="131"/>
                  </a:lnTo>
                  <a:lnTo>
                    <a:pt x="154" y="126"/>
                  </a:lnTo>
                  <a:lnTo>
                    <a:pt x="158" y="124"/>
                  </a:lnTo>
                  <a:lnTo>
                    <a:pt x="160" y="119"/>
                  </a:lnTo>
                  <a:lnTo>
                    <a:pt x="168" y="106"/>
                  </a:lnTo>
                  <a:lnTo>
                    <a:pt x="174" y="102"/>
                  </a:lnTo>
                  <a:lnTo>
                    <a:pt x="183" y="100"/>
                  </a:lnTo>
                  <a:lnTo>
                    <a:pt x="191" y="100"/>
                  </a:lnTo>
                  <a:lnTo>
                    <a:pt x="193" y="96"/>
                  </a:lnTo>
                  <a:lnTo>
                    <a:pt x="194" y="89"/>
                  </a:lnTo>
                  <a:lnTo>
                    <a:pt x="198" y="80"/>
                  </a:lnTo>
                  <a:lnTo>
                    <a:pt x="203" y="77"/>
                  </a:lnTo>
                  <a:lnTo>
                    <a:pt x="209" y="75"/>
                  </a:lnTo>
                  <a:lnTo>
                    <a:pt x="233" y="74"/>
                  </a:lnTo>
                  <a:lnTo>
                    <a:pt x="209" y="86"/>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5" name="Freeform 45">
              <a:extLst>
                <a:ext uri="{FF2B5EF4-FFF2-40B4-BE49-F238E27FC236}">
                  <a16:creationId xmlns:a16="http://schemas.microsoft.com/office/drawing/2014/main" id="{FAF03FC8-22AD-4295-AAAB-2883C7152665}"/>
                </a:ext>
              </a:extLst>
            </p:cNvPr>
            <p:cNvSpPr>
              <a:spLocks/>
            </p:cNvSpPr>
            <p:nvPr/>
          </p:nvSpPr>
          <p:spPr bwMode="auto">
            <a:xfrm>
              <a:off x="6905625" y="4433888"/>
              <a:ext cx="98425" cy="82550"/>
            </a:xfrm>
            <a:custGeom>
              <a:avLst/>
              <a:gdLst>
                <a:gd name="T0" fmla="*/ 2 w 73"/>
                <a:gd name="T1" fmla="*/ 32 h 56"/>
                <a:gd name="T2" fmla="*/ 0 w 73"/>
                <a:gd name="T3" fmla="*/ 19 h 56"/>
                <a:gd name="T4" fmla="*/ 2 w 73"/>
                <a:gd name="T5" fmla="*/ 9 h 56"/>
                <a:gd name="T6" fmla="*/ 8 w 73"/>
                <a:gd name="T7" fmla="*/ 3 h 56"/>
                <a:gd name="T8" fmla="*/ 13 w 73"/>
                <a:gd name="T9" fmla="*/ 0 h 56"/>
                <a:gd name="T10" fmla="*/ 20 w 73"/>
                <a:gd name="T11" fmla="*/ 0 h 56"/>
                <a:gd name="T12" fmla="*/ 31 w 73"/>
                <a:gd name="T13" fmla="*/ 3 h 56"/>
                <a:gd name="T14" fmla="*/ 38 w 73"/>
                <a:gd name="T15" fmla="*/ 7 h 56"/>
                <a:gd name="T16" fmla="*/ 45 w 73"/>
                <a:gd name="T17" fmla="*/ 6 h 56"/>
                <a:gd name="T18" fmla="*/ 50 w 73"/>
                <a:gd name="T19" fmla="*/ 6 h 56"/>
                <a:gd name="T20" fmla="*/ 54 w 73"/>
                <a:gd name="T21" fmla="*/ 7 h 56"/>
                <a:gd name="T22" fmla="*/ 59 w 73"/>
                <a:gd name="T23" fmla="*/ 11 h 56"/>
                <a:gd name="T24" fmla="*/ 61 w 73"/>
                <a:gd name="T25" fmla="*/ 14 h 56"/>
                <a:gd name="T26" fmla="*/ 61 w 73"/>
                <a:gd name="T27" fmla="*/ 16 h 56"/>
                <a:gd name="T28" fmla="*/ 58 w 73"/>
                <a:gd name="T29" fmla="*/ 30 h 56"/>
                <a:gd name="T30" fmla="*/ 48 w 73"/>
                <a:gd name="T31" fmla="*/ 34 h 56"/>
                <a:gd name="T32" fmla="*/ 45 w 73"/>
                <a:gd name="T33" fmla="*/ 38 h 56"/>
                <a:gd name="T34" fmla="*/ 41 w 73"/>
                <a:gd name="T35" fmla="*/ 38 h 56"/>
                <a:gd name="T36" fmla="*/ 38 w 73"/>
                <a:gd name="T37" fmla="*/ 46 h 56"/>
                <a:gd name="T38" fmla="*/ 20 w 73"/>
                <a:gd name="T39" fmla="*/ 51 h 56"/>
                <a:gd name="T40" fmla="*/ 2 w 73"/>
                <a:gd name="T41" fmla="*/ 32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56"/>
                <a:gd name="T65" fmla="*/ 73 w 73"/>
                <a:gd name="T66" fmla="*/ 56 h 5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56">
                  <a:moveTo>
                    <a:pt x="2" y="34"/>
                  </a:moveTo>
                  <a:lnTo>
                    <a:pt x="0" y="20"/>
                  </a:lnTo>
                  <a:lnTo>
                    <a:pt x="2" y="10"/>
                  </a:lnTo>
                  <a:lnTo>
                    <a:pt x="9" y="3"/>
                  </a:lnTo>
                  <a:lnTo>
                    <a:pt x="15" y="0"/>
                  </a:lnTo>
                  <a:lnTo>
                    <a:pt x="24" y="0"/>
                  </a:lnTo>
                  <a:lnTo>
                    <a:pt x="36" y="3"/>
                  </a:lnTo>
                  <a:lnTo>
                    <a:pt x="45" y="8"/>
                  </a:lnTo>
                  <a:lnTo>
                    <a:pt x="53" y="6"/>
                  </a:lnTo>
                  <a:lnTo>
                    <a:pt x="59" y="6"/>
                  </a:lnTo>
                  <a:lnTo>
                    <a:pt x="64" y="7"/>
                  </a:lnTo>
                  <a:lnTo>
                    <a:pt x="70" y="12"/>
                  </a:lnTo>
                  <a:lnTo>
                    <a:pt x="72" y="15"/>
                  </a:lnTo>
                  <a:lnTo>
                    <a:pt x="72" y="17"/>
                  </a:lnTo>
                  <a:lnTo>
                    <a:pt x="68" y="32"/>
                  </a:lnTo>
                  <a:lnTo>
                    <a:pt x="57" y="37"/>
                  </a:lnTo>
                  <a:lnTo>
                    <a:pt x="53" y="41"/>
                  </a:lnTo>
                  <a:lnTo>
                    <a:pt x="48" y="41"/>
                  </a:lnTo>
                  <a:lnTo>
                    <a:pt x="45" y="50"/>
                  </a:lnTo>
                  <a:lnTo>
                    <a:pt x="24" y="55"/>
                  </a:lnTo>
                  <a:lnTo>
                    <a:pt x="2" y="34"/>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6" name="Freeform 46">
              <a:extLst>
                <a:ext uri="{FF2B5EF4-FFF2-40B4-BE49-F238E27FC236}">
                  <a16:creationId xmlns:a16="http://schemas.microsoft.com/office/drawing/2014/main" id="{2DDBC8CA-5A7F-4B1A-92C0-52A569505E68}"/>
                </a:ext>
              </a:extLst>
            </p:cNvPr>
            <p:cNvSpPr>
              <a:spLocks/>
            </p:cNvSpPr>
            <p:nvPr/>
          </p:nvSpPr>
          <p:spPr bwMode="auto">
            <a:xfrm>
              <a:off x="7419975" y="4033838"/>
              <a:ext cx="52388" cy="65088"/>
            </a:xfrm>
            <a:custGeom>
              <a:avLst/>
              <a:gdLst>
                <a:gd name="T0" fmla="*/ 6 w 38"/>
                <a:gd name="T1" fmla="*/ 0 h 44"/>
                <a:gd name="T2" fmla="*/ 2 w 38"/>
                <a:gd name="T3" fmla="*/ 4 h 44"/>
                <a:gd name="T4" fmla="*/ 0 w 38"/>
                <a:gd name="T5" fmla="*/ 7 h 44"/>
                <a:gd name="T6" fmla="*/ 1 w 38"/>
                <a:gd name="T7" fmla="*/ 11 h 44"/>
                <a:gd name="T8" fmla="*/ 15 w 38"/>
                <a:gd name="T9" fmla="*/ 29 h 44"/>
                <a:gd name="T10" fmla="*/ 15 w 38"/>
                <a:gd name="T11" fmla="*/ 36 h 44"/>
                <a:gd name="T12" fmla="*/ 18 w 38"/>
                <a:gd name="T13" fmla="*/ 40 h 44"/>
                <a:gd name="T14" fmla="*/ 23 w 38"/>
                <a:gd name="T15" fmla="*/ 40 h 44"/>
                <a:gd name="T16" fmla="*/ 29 w 38"/>
                <a:gd name="T17" fmla="*/ 37 h 44"/>
                <a:gd name="T18" fmla="*/ 30 w 38"/>
                <a:gd name="T19" fmla="*/ 34 h 44"/>
                <a:gd name="T20" fmla="*/ 32 w 38"/>
                <a:gd name="T21" fmla="*/ 29 h 44"/>
                <a:gd name="T22" fmla="*/ 30 w 38"/>
                <a:gd name="T23" fmla="*/ 25 h 44"/>
                <a:gd name="T24" fmla="*/ 30 w 38"/>
                <a:gd name="T25" fmla="*/ 17 h 44"/>
                <a:gd name="T26" fmla="*/ 32 w 38"/>
                <a:gd name="T27" fmla="*/ 13 h 44"/>
                <a:gd name="T28" fmla="*/ 25 w 38"/>
                <a:gd name="T29" fmla="*/ 8 h 44"/>
                <a:gd name="T30" fmla="*/ 16 w 38"/>
                <a:gd name="T31" fmla="*/ 3 h 44"/>
                <a:gd name="T32" fmla="*/ 6 w 38"/>
                <a:gd name="T33" fmla="*/ 0 h 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44"/>
                <a:gd name="T53" fmla="*/ 38 w 38"/>
                <a:gd name="T54" fmla="*/ 44 h 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44">
                  <a:moveTo>
                    <a:pt x="7" y="0"/>
                  </a:moveTo>
                  <a:lnTo>
                    <a:pt x="2" y="4"/>
                  </a:lnTo>
                  <a:lnTo>
                    <a:pt x="0" y="7"/>
                  </a:lnTo>
                  <a:lnTo>
                    <a:pt x="1" y="12"/>
                  </a:lnTo>
                  <a:lnTo>
                    <a:pt x="17" y="31"/>
                  </a:lnTo>
                  <a:lnTo>
                    <a:pt x="17" y="39"/>
                  </a:lnTo>
                  <a:lnTo>
                    <a:pt x="21" y="43"/>
                  </a:lnTo>
                  <a:lnTo>
                    <a:pt x="26" y="43"/>
                  </a:lnTo>
                  <a:lnTo>
                    <a:pt x="33" y="40"/>
                  </a:lnTo>
                  <a:lnTo>
                    <a:pt x="35" y="36"/>
                  </a:lnTo>
                  <a:lnTo>
                    <a:pt x="37" y="31"/>
                  </a:lnTo>
                  <a:lnTo>
                    <a:pt x="35" y="27"/>
                  </a:lnTo>
                  <a:lnTo>
                    <a:pt x="35" y="18"/>
                  </a:lnTo>
                  <a:lnTo>
                    <a:pt x="37" y="14"/>
                  </a:lnTo>
                  <a:lnTo>
                    <a:pt x="29" y="9"/>
                  </a:lnTo>
                  <a:lnTo>
                    <a:pt x="18" y="3"/>
                  </a:lnTo>
                  <a:lnTo>
                    <a:pt x="7"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7" name="Freeform 47">
              <a:extLst>
                <a:ext uri="{FF2B5EF4-FFF2-40B4-BE49-F238E27FC236}">
                  <a16:creationId xmlns:a16="http://schemas.microsoft.com/office/drawing/2014/main" id="{A3A895AA-A345-4A13-839B-334ABE9F78B3}"/>
                </a:ext>
              </a:extLst>
            </p:cNvPr>
            <p:cNvSpPr>
              <a:spLocks/>
            </p:cNvSpPr>
            <p:nvPr/>
          </p:nvSpPr>
          <p:spPr bwMode="auto">
            <a:xfrm>
              <a:off x="7439025" y="3854450"/>
              <a:ext cx="212725" cy="177800"/>
            </a:xfrm>
            <a:custGeom>
              <a:avLst/>
              <a:gdLst>
                <a:gd name="T0" fmla="*/ 3 w 156"/>
                <a:gd name="T1" fmla="*/ 98 h 121"/>
                <a:gd name="T2" fmla="*/ 0 w 156"/>
                <a:gd name="T3" fmla="*/ 105 h 121"/>
                <a:gd name="T4" fmla="*/ 11 w 156"/>
                <a:gd name="T5" fmla="*/ 109 h 121"/>
                <a:gd name="T6" fmla="*/ 20 w 156"/>
                <a:gd name="T7" fmla="*/ 105 h 121"/>
                <a:gd name="T8" fmla="*/ 34 w 156"/>
                <a:gd name="T9" fmla="*/ 100 h 121"/>
                <a:gd name="T10" fmla="*/ 52 w 156"/>
                <a:gd name="T11" fmla="*/ 98 h 121"/>
                <a:gd name="T12" fmla="*/ 56 w 156"/>
                <a:gd name="T13" fmla="*/ 108 h 121"/>
                <a:gd name="T14" fmla="*/ 58 w 156"/>
                <a:gd name="T15" fmla="*/ 111 h 121"/>
                <a:gd name="T16" fmla="*/ 67 w 156"/>
                <a:gd name="T17" fmla="*/ 111 h 121"/>
                <a:gd name="T18" fmla="*/ 76 w 156"/>
                <a:gd name="T19" fmla="*/ 105 h 121"/>
                <a:gd name="T20" fmla="*/ 78 w 156"/>
                <a:gd name="T21" fmla="*/ 101 h 121"/>
                <a:gd name="T22" fmla="*/ 92 w 156"/>
                <a:gd name="T23" fmla="*/ 98 h 121"/>
                <a:gd name="T24" fmla="*/ 104 w 156"/>
                <a:gd name="T25" fmla="*/ 89 h 121"/>
                <a:gd name="T26" fmla="*/ 117 w 156"/>
                <a:gd name="T27" fmla="*/ 76 h 121"/>
                <a:gd name="T28" fmla="*/ 123 w 156"/>
                <a:gd name="T29" fmla="*/ 66 h 121"/>
                <a:gd name="T30" fmla="*/ 127 w 156"/>
                <a:gd name="T31" fmla="*/ 56 h 121"/>
                <a:gd name="T32" fmla="*/ 125 w 156"/>
                <a:gd name="T33" fmla="*/ 40 h 121"/>
                <a:gd name="T34" fmla="*/ 128 w 156"/>
                <a:gd name="T35" fmla="*/ 36 h 121"/>
                <a:gd name="T36" fmla="*/ 133 w 156"/>
                <a:gd name="T37" fmla="*/ 28 h 121"/>
                <a:gd name="T38" fmla="*/ 131 w 156"/>
                <a:gd name="T39" fmla="*/ 11 h 121"/>
                <a:gd name="T40" fmla="*/ 128 w 156"/>
                <a:gd name="T41" fmla="*/ 0 h 121"/>
                <a:gd name="T42" fmla="*/ 119 w 156"/>
                <a:gd name="T43" fmla="*/ 4 h 121"/>
                <a:gd name="T44" fmla="*/ 111 w 156"/>
                <a:gd name="T45" fmla="*/ 9 h 121"/>
                <a:gd name="T46" fmla="*/ 106 w 156"/>
                <a:gd name="T47" fmla="*/ 18 h 121"/>
                <a:gd name="T48" fmla="*/ 104 w 156"/>
                <a:gd name="T49" fmla="*/ 34 h 121"/>
                <a:gd name="T50" fmla="*/ 101 w 156"/>
                <a:gd name="T51" fmla="*/ 42 h 121"/>
                <a:gd name="T52" fmla="*/ 94 w 156"/>
                <a:gd name="T53" fmla="*/ 53 h 121"/>
                <a:gd name="T54" fmla="*/ 88 w 156"/>
                <a:gd name="T55" fmla="*/ 61 h 121"/>
                <a:gd name="T56" fmla="*/ 81 w 156"/>
                <a:gd name="T57" fmla="*/ 67 h 121"/>
                <a:gd name="T58" fmla="*/ 58 w 156"/>
                <a:gd name="T59" fmla="*/ 83 h 121"/>
                <a:gd name="T60" fmla="*/ 37 w 156"/>
                <a:gd name="T61" fmla="*/ 83 h 121"/>
                <a:gd name="T62" fmla="*/ 19 w 156"/>
                <a:gd name="T63" fmla="*/ 89 h 121"/>
                <a:gd name="T64" fmla="*/ 3 w 156"/>
                <a:gd name="T65" fmla="*/ 98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6"/>
                <a:gd name="T100" fmla="*/ 0 h 121"/>
                <a:gd name="T101" fmla="*/ 156 w 156"/>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6" h="121">
                  <a:moveTo>
                    <a:pt x="4" y="106"/>
                  </a:moveTo>
                  <a:lnTo>
                    <a:pt x="0" y="113"/>
                  </a:lnTo>
                  <a:lnTo>
                    <a:pt x="13" y="118"/>
                  </a:lnTo>
                  <a:lnTo>
                    <a:pt x="23" y="113"/>
                  </a:lnTo>
                  <a:lnTo>
                    <a:pt x="40" y="108"/>
                  </a:lnTo>
                  <a:lnTo>
                    <a:pt x="61" y="106"/>
                  </a:lnTo>
                  <a:lnTo>
                    <a:pt x="65" y="117"/>
                  </a:lnTo>
                  <a:lnTo>
                    <a:pt x="68" y="120"/>
                  </a:lnTo>
                  <a:lnTo>
                    <a:pt x="78" y="120"/>
                  </a:lnTo>
                  <a:lnTo>
                    <a:pt x="88" y="113"/>
                  </a:lnTo>
                  <a:lnTo>
                    <a:pt x="91" y="109"/>
                  </a:lnTo>
                  <a:lnTo>
                    <a:pt x="107" y="106"/>
                  </a:lnTo>
                  <a:lnTo>
                    <a:pt x="121" y="96"/>
                  </a:lnTo>
                  <a:lnTo>
                    <a:pt x="136" y="82"/>
                  </a:lnTo>
                  <a:lnTo>
                    <a:pt x="143" y="71"/>
                  </a:lnTo>
                  <a:lnTo>
                    <a:pt x="148" y="61"/>
                  </a:lnTo>
                  <a:lnTo>
                    <a:pt x="146" y="43"/>
                  </a:lnTo>
                  <a:lnTo>
                    <a:pt x="149" y="39"/>
                  </a:lnTo>
                  <a:lnTo>
                    <a:pt x="155" y="30"/>
                  </a:lnTo>
                  <a:lnTo>
                    <a:pt x="152" y="12"/>
                  </a:lnTo>
                  <a:lnTo>
                    <a:pt x="149" y="0"/>
                  </a:lnTo>
                  <a:lnTo>
                    <a:pt x="139" y="4"/>
                  </a:lnTo>
                  <a:lnTo>
                    <a:pt x="129" y="10"/>
                  </a:lnTo>
                  <a:lnTo>
                    <a:pt x="123" y="19"/>
                  </a:lnTo>
                  <a:lnTo>
                    <a:pt x="121" y="37"/>
                  </a:lnTo>
                  <a:lnTo>
                    <a:pt x="118" y="45"/>
                  </a:lnTo>
                  <a:lnTo>
                    <a:pt x="109" y="57"/>
                  </a:lnTo>
                  <a:lnTo>
                    <a:pt x="103" y="66"/>
                  </a:lnTo>
                  <a:lnTo>
                    <a:pt x="94" y="72"/>
                  </a:lnTo>
                  <a:lnTo>
                    <a:pt x="68" y="90"/>
                  </a:lnTo>
                  <a:lnTo>
                    <a:pt x="43" y="90"/>
                  </a:lnTo>
                  <a:lnTo>
                    <a:pt x="22" y="96"/>
                  </a:lnTo>
                  <a:lnTo>
                    <a:pt x="4" y="106"/>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8" name="Freeform 48">
              <a:extLst>
                <a:ext uri="{FF2B5EF4-FFF2-40B4-BE49-F238E27FC236}">
                  <a16:creationId xmlns:a16="http://schemas.microsoft.com/office/drawing/2014/main" id="{F4F24381-51BE-4487-A97C-8774A489FE6B}"/>
                </a:ext>
              </a:extLst>
            </p:cNvPr>
            <p:cNvSpPr>
              <a:spLocks/>
            </p:cNvSpPr>
            <p:nvPr/>
          </p:nvSpPr>
          <p:spPr bwMode="auto">
            <a:xfrm>
              <a:off x="7466013" y="4025900"/>
              <a:ext cx="39688" cy="28575"/>
            </a:xfrm>
            <a:custGeom>
              <a:avLst/>
              <a:gdLst>
                <a:gd name="T0" fmla="*/ 9 w 29"/>
                <a:gd name="T1" fmla="*/ 0 h 19"/>
                <a:gd name="T2" fmla="*/ 0 w 29"/>
                <a:gd name="T3" fmla="*/ 11 h 19"/>
                <a:gd name="T4" fmla="*/ 9 w 29"/>
                <a:gd name="T5" fmla="*/ 17 h 19"/>
                <a:gd name="T6" fmla="*/ 17 w 29"/>
                <a:gd name="T7" fmla="*/ 9 h 19"/>
                <a:gd name="T8" fmla="*/ 24 w 29"/>
                <a:gd name="T9" fmla="*/ 2 h 19"/>
                <a:gd name="T10" fmla="*/ 9 w 29"/>
                <a:gd name="T11" fmla="*/ 0 h 19"/>
                <a:gd name="T12" fmla="*/ 0 60000 65536"/>
                <a:gd name="T13" fmla="*/ 0 60000 65536"/>
                <a:gd name="T14" fmla="*/ 0 60000 65536"/>
                <a:gd name="T15" fmla="*/ 0 60000 65536"/>
                <a:gd name="T16" fmla="*/ 0 60000 65536"/>
                <a:gd name="T17" fmla="*/ 0 60000 65536"/>
                <a:gd name="T18" fmla="*/ 0 w 29"/>
                <a:gd name="T19" fmla="*/ 0 h 19"/>
                <a:gd name="T20" fmla="*/ 29 w 2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9" h="19">
                  <a:moveTo>
                    <a:pt x="10" y="0"/>
                  </a:moveTo>
                  <a:lnTo>
                    <a:pt x="0" y="12"/>
                  </a:lnTo>
                  <a:lnTo>
                    <a:pt x="10" y="18"/>
                  </a:lnTo>
                  <a:lnTo>
                    <a:pt x="20" y="9"/>
                  </a:lnTo>
                  <a:lnTo>
                    <a:pt x="28" y="2"/>
                  </a:lnTo>
                  <a:lnTo>
                    <a:pt x="10"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29" name="Freeform 49">
              <a:extLst>
                <a:ext uri="{FF2B5EF4-FFF2-40B4-BE49-F238E27FC236}">
                  <a16:creationId xmlns:a16="http://schemas.microsoft.com/office/drawing/2014/main" id="{DFF3F197-5F17-4E09-B652-66E9939B007C}"/>
                </a:ext>
              </a:extLst>
            </p:cNvPr>
            <p:cNvSpPr>
              <a:spLocks/>
            </p:cNvSpPr>
            <p:nvPr/>
          </p:nvSpPr>
          <p:spPr bwMode="auto">
            <a:xfrm>
              <a:off x="7610475" y="3748088"/>
              <a:ext cx="115888" cy="88900"/>
            </a:xfrm>
            <a:custGeom>
              <a:avLst/>
              <a:gdLst>
                <a:gd name="T0" fmla="*/ 33 w 86"/>
                <a:gd name="T1" fmla="*/ 6 h 60"/>
                <a:gd name="T2" fmla="*/ 30 w 86"/>
                <a:gd name="T3" fmla="*/ 1 h 60"/>
                <a:gd name="T4" fmla="*/ 27 w 86"/>
                <a:gd name="T5" fmla="*/ 0 h 60"/>
                <a:gd name="T6" fmla="*/ 22 w 86"/>
                <a:gd name="T7" fmla="*/ 4 h 60"/>
                <a:gd name="T8" fmla="*/ 18 w 86"/>
                <a:gd name="T9" fmla="*/ 23 h 60"/>
                <a:gd name="T10" fmla="*/ 11 w 86"/>
                <a:gd name="T11" fmla="*/ 35 h 60"/>
                <a:gd name="T12" fmla="*/ 2 w 86"/>
                <a:gd name="T13" fmla="*/ 45 h 60"/>
                <a:gd name="T14" fmla="*/ 0 w 86"/>
                <a:gd name="T15" fmla="*/ 49 h 60"/>
                <a:gd name="T16" fmla="*/ 3 w 86"/>
                <a:gd name="T17" fmla="*/ 51 h 60"/>
                <a:gd name="T18" fmla="*/ 30 w 86"/>
                <a:gd name="T19" fmla="*/ 51 h 60"/>
                <a:gd name="T20" fmla="*/ 35 w 86"/>
                <a:gd name="T21" fmla="*/ 55 h 60"/>
                <a:gd name="T22" fmla="*/ 43 w 86"/>
                <a:gd name="T23" fmla="*/ 53 h 60"/>
                <a:gd name="T24" fmla="*/ 49 w 86"/>
                <a:gd name="T25" fmla="*/ 45 h 60"/>
                <a:gd name="T26" fmla="*/ 53 w 86"/>
                <a:gd name="T27" fmla="*/ 41 h 60"/>
                <a:gd name="T28" fmla="*/ 57 w 86"/>
                <a:gd name="T29" fmla="*/ 40 h 60"/>
                <a:gd name="T30" fmla="*/ 65 w 86"/>
                <a:gd name="T31" fmla="*/ 35 h 60"/>
                <a:gd name="T32" fmla="*/ 72 w 86"/>
                <a:gd name="T33" fmla="*/ 30 h 60"/>
                <a:gd name="T34" fmla="*/ 72 w 86"/>
                <a:gd name="T35" fmla="*/ 23 h 60"/>
                <a:gd name="T36" fmla="*/ 72 w 86"/>
                <a:gd name="T37" fmla="*/ 21 h 60"/>
                <a:gd name="T38" fmla="*/ 70 w 86"/>
                <a:gd name="T39" fmla="*/ 19 h 60"/>
                <a:gd name="T40" fmla="*/ 59 w 86"/>
                <a:gd name="T41" fmla="*/ 24 h 60"/>
                <a:gd name="T42" fmla="*/ 45 w 86"/>
                <a:gd name="T43" fmla="*/ 20 h 60"/>
                <a:gd name="T44" fmla="*/ 38 w 86"/>
                <a:gd name="T45" fmla="*/ 14 h 60"/>
                <a:gd name="T46" fmla="*/ 33 w 86"/>
                <a:gd name="T47" fmla="*/ 6 h 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6"/>
                <a:gd name="T73" fmla="*/ 0 h 60"/>
                <a:gd name="T74" fmla="*/ 86 w 86"/>
                <a:gd name="T75" fmla="*/ 60 h 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6" h="60">
                  <a:moveTo>
                    <a:pt x="39" y="6"/>
                  </a:moveTo>
                  <a:lnTo>
                    <a:pt x="35" y="1"/>
                  </a:lnTo>
                  <a:lnTo>
                    <a:pt x="32" y="0"/>
                  </a:lnTo>
                  <a:lnTo>
                    <a:pt x="26" y="4"/>
                  </a:lnTo>
                  <a:lnTo>
                    <a:pt x="21" y="25"/>
                  </a:lnTo>
                  <a:lnTo>
                    <a:pt x="13" y="37"/>
                  </a:lnTo>
                  <a:lnTo>
                    <a:pt x="2" y="48"/>
                  </a:lnTo>
                  <a:lnTo>
                    <a:pt x="0" y="52"/>
                  </a:lnTo>
                  <a:lnTo>
                    <a:pt x="4" y="55"/>
                  </a:lnTo>
                  <a:lnTo>
                    <a:pt x="35" y="55"/>
                  </a:lnTo>
                  <a:lnTo>
                    <a:pt x="41" y="59"/>
                  </a:lnTo>
                  <a:lnTo>
                    <a:pt x="51" y="57"/>
                  </a:lnTo>
                  <a:lnTo>
                    <a:pt x="58" y="48"/>
                  </a:lnTo>
                  <a:lnTo>
                    <a:pt x="63" y="44"/>
                  </a:lnTo>
                  <a:lnTo>
                    <a:pt x="67" y="43"/>
                  </a:lnTo>
                  <a:lnTo>
                    <a:pt x="77" y="37"/>
                  </a:lnTo>
                  <a:lnTo>
                    <a:pt x="85" y="32"/>
                  </a:lnTo>
                  <a:lnTo>
                    <a:pt x="85" y="25"/>
                  </a:lnTo>
                  <a:lnTo>
                    <a:pt x="85" y="22"/>
                  </a:lnTo>
                  <a:lnTo>
                    <a:pt x="82" y="20"/>
                  </a:lnTo>
                  <a:lnTo>
                    <a:pt x="70" y="26"/>
                  </a:lnTo>
                  <a:lnTo>
                    <a:pt x="53" y="21"/>
                  </a:lnTo>
                  <a:lnTo>
                    <a:pt x="45" y="15"/>
                  </a:lnTo>
                  <a:lnTo>
                    <a:pt x="39" y="6"/>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30" name="Freeform 50">
              <a:extLst>
                <a:ext uri="{FF2B5EF4-FFF2-40B4-BE49-F238E27FC236}">
                  <a16:creationId xmlns:a16="http://schemas.microsoft.com/office/drawing/2014/main" id="{7EF9821B-F8B3-4E07-8354-2DA78D56EC08}"/>
                </a:ext>
              </a:extLst>
            </p:cNvPr>
            <p:cNvSpPr>
              <a:spLocks/>
            </p:cNvSpPr>
            <p:nvPr/>
          </p:nvSpPr>
          <p:spPr bwMode="auto">
            <a:xfrm>
              <a:off x="6381750" y="3997325"/>
              <a:ext cx="119063" cy="49213"/>
            </a:xfrm>
            <a:custGeom>
              <a:avLst/>
              <a:gdLst>
                <a:gd name="T0" fmla="*/ 53 w 88"/>
                <a:gd name="T1" fmla="*/ 0 h 34"/>
                <a:gd name="T2" fmla="*/ 14 w 88"/>
                <a:gd name="T3" fmla="*/ 2 h 34"/>
                <a:gd name="T4" fmla="*/ 1 w 88"/>
                <a:gd name="T5" fmla="*/ 13 h 34"/>
                <a:gd name="T6" fmla="*/ 0 w 88"/>
                <a:gd name="T7" fmla="*/ 18 h 34"/>
                <a:gd name="T8" fmla="*/ 3 w 88"/>
                <a:gd name="T9" fmla="*/ 27 h 34"/>
                <a:gd name="T10" fmla="*/ 11 w 88"/>
                <a:gd name="T11" fmla="*/ 25 h 34"/>
                <a:gd name="T12" fmla="*/ 18 w 88"/>
                <a:gd name="T13" fmla="*/ 25 h 34"/>
                <a:gd name="T14" fmla="*/ 22 w 88"/>
                <a:gd name="T15" fmla="*/ 30 h 34"/>
                <a:gd name="T16" fmla="*/ 28 w 88"/>
                <a:gd name="T17" fmla="*/ 25 h 34"/>
                <a:gd name="T18" fmla="*/ 37 w 88"/>
                <a:gd name="T19" fmla="*/ 21 h 34"/>
                <a:gd name="T20" fmla="*/ 53 w 88"/>
                <a:gd name="T21" fmla="*/ 20 h 34"/>
                <a:gd name="T22" fmla="*/ 55 w 88"/>
                <a:gd name="T23" fmla="*/ 14 h 34"/>
                <a:gd name="T24" fmla="*/ 62 w 88"/>
                <a:gd name="T25" fmla="*/ 9 h 34"/>
                <a:gd name="T26" fmla="*/ 74 w 88"/>
                <a:gd name="T27" fmla="*/ 8 h 34"/>
                <a:gd name="T28" fmla="*/ 64 w 88"/>
                <a:gd name="T29" fmla="*/ 5 h 34"/>
                <a:gd name="T30" fmla="*/ 53 w 88"/>
                <a:gd name="T31" fmla="*/ 0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8"/>
                <a:gd name="T49" fmla="*/ 0 h 34"/>
                <a:gd name="T50" fmla="*/ 88 w 88"/>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8" h="34">
                  <a:moveTo>
                    <a:pt x="62" y="0"/>
                  </a:moveTo>
                  <a:lnTo>
                    <a:pt x="17" y="2"/>
                  </a:lnTo>
                  <a:lnTo>
                    <a:pt x="1" y="14"/>
                  </a:lnTo>
                  <a:lnTo>
                    <a:pt x="0" y="20"/>
                  </a:lnTo>
                  <a:lnTo>
                    <a:pt x="4" y="30"/>
                  </a:lnTo>
                  <a:lnTo>
                    <a:pt x="13" y="27"/>
                  </a:lnTo>
                  <a:lnTo>
                    <a:pt x="21" y="27"/>
                  </a:lnTo>
                  <a:lnTo>
                    <a:pt x="26" y="33"/>
                  </a:lnTo>
                  <a:lnTo>
                    <a:pt x="33" y="27"/>
                  </a:lnTo>
                  <a:lnTo>
                    <a:pt x="43" y="23"/>
                  </a:lnTo>
                  <a:lnTo>
                    <a:pt x="62" y="22"/>
                  </a:lnTo>
                  <a:lnTo>
                    <a:pt x="65" y="15"/>
                  </a:lnTo>
                  <a:lnTo>
                    <a:pt x="73" y="10"/>
                  </a:lnTo>
                  <a:lnTo>
                    <a:pt x="87" y="9"/>
                  </a:lnTo>
                  <a:lnTo>
                    <a:pt x="75" y="6"/>
                  </a:lnTo>
                  <a:lnTo>
                    <a:pt x="62"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31" name="Freeform 51">
              <a:extLst>
                <a:ext uri="{FF2B5EF4-FFF2-40B4-BE49-F238E27FC236}">
                  <a16:creationId xmlns:a16="http://schemas.microsoft.com/office/drawing/2014/main" id="{8FC3B67B-530C-4C55-BF81-A9DE99DFE363}"/>
                </a:ext>
              </a:extLst>
            </p:cNvPr>
            <p:cNvSpPr>
              <a:spLocks/>
            </p:cNvSpPr>
            <p:nvPr/>
          </p:nvSpPr>
          <p:spPr bwMode="auto">
            <a:xfrm>
              <a:off x="6381750" y="3997325"/>
              <a:ext cx="119063" cy="49213"/>
            </a:xfrm>
            <a:custGeom>
              <a:avLst/>
              <a:gdLst>
                <a:gd name="T0" fmla="*/ 52 w 88"/>
                <a:gd name="T1" fmla="*/ 0 h 34"/>
                <a:gd name="T2" fmla="*/ 14 w 88"/>
                <a:gd name="T3" fmla="*/ 2 h 34"/>
                <a:gd name="T4" fmla="*/ 1 w 88"/>
                <a:gd name="T5" fmla="*/ 13 h 34"/>
                <a:gd name="T6" fmla="*/ 0 w 88"/>
                <a:gd name="T7" fmla="*/ 18 h 34"/>
                <a:gd name="T8" fmla="*/ 3 w 88"/>
                <a:gd name="T9" fmla="*/ 27 h 34"/>
                <a:gd name="T10" fmla="*/ 11 w 88"/>
                <a:gd name="T11" fmla="*/ 25 h 34"/>
                <a:gd name="T12" fmla="*/ 18 w 88"/>
                <a:gd name="T13" fmla="*/ 25 h 34"/>
                <a:gd name="T14" fmla="*/ 22 w 88"/>
                <a:gd name="T15" fmla="*/ 30 h 34"/>
                <a:gd name="T16" fmla="*/ 28 w 88"/>
                <a:gd name="T17" fmla="*/ 25 h 34"/>
                <a:gd name="T18" fmla="*/ 37 w 88"/>
                <a:gd name="T19" fmla="*/ 21 h 34"/>
                <a:gd name="T20" fmla="*/ 53 w 88"/>
                <a:gd name="T21" fmla="*/ 20 h 34"/>
                <a:gd name="T22" fmla="*/ 55 w 88"/>
                <a:gd name="T23" fmla="*/ 14 h 34"/>
                <a:gd name="T24" fmla="*/ 62 w 88"/>
                <a:gd name="T25" fmla="*/ 9 h 34"/>
                <a:gd name="T26" fmla="*/ 74 w 88"/>
                <a:gd name="T27" fmla="*/ 8 h 34"/>
                <a:gd name="T28" fmla="*/ 64 w 88"/>
                <a:gd name="T29" fmla="*/ 5 h 34"/>
                <a:gd name="T30" fmla="*/ 52 w 88"/>
                <a:gd name="T31" fmla="*/ 0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8"/>
                <a:gd name="T49" fmla="*/ 0 h 34"/>
                <a:gd name="T50" fmla="*/ 88 w 88"/>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8" h="34">
                  <a:moveTo>
                    <a:pt x="61" y="0"/>
                  </a:moveTo>
                  <a:lnTo>
                    <a:pt x="17" y="2"/>
                  </a:lnTo>
                  <a:lnTo>
                    <a:pt x="1" y="14"/>
                  </a:lnTo>
                  <a:lnTo>
                    <a:pt x="0" y="20"/>
                  </a:lnTo>
                  <a:lnTo>
                    <a:pt x="4" y="30"/>
                  </a:lnTo>
                  <a:lnTo>
                    <a:pt x="13" y="27"/>
                  </a:lnTo>
                  <a:lnTo>
                    <a:pt x="21" y="27"/>
                  </a:lnTo>
                  <a:lnTo>
                    <a:pt x="26" y="33"/>
                  </a:lnTo>
                  <a:lnTo>
                    <a:pt x="33" y="27"/>
                  </a:lnTo>
                  <a:lnTo>
                    <a:pt x="43" y="23"/>
                  </a:lnTo>
                  <a:lnTo>
                    <a:pt x="62" y="22"/>
                  </a:lnTo>
                  <a:lnTo>
                    <a:pt x="65" y="15"/>
                  </a:lnTo>
                  <a:lnTo>
                    <a:pt x="73" y="10"/>
                  </a:lnTo>
                  <a:lnTo>
                    <a:pt x="87" y="9"/>
                  </a:lnTo>
                  <a:lnTo>
                    <a:pt x="75" y="6"/>
                  </a:lnTo>
                  <a:lnTo>
                    <a:pt x="61"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33" name="Freeform 148">
              <a:extLst>
                <a:ext uri="{FF2B5EF4-FFF2-40B4-BE49-F238E27FC236}">
                  <a16:creationId xmlns:a16="http://schemas.microsoft.com/office/drawing/2014/main" id="{2967CEA4-0AF7-4DA8-B6BC-00C656D30C13}"/>
                </a:ext>
              </a:extLst>
            </p:cNvPr>
            <p:cNvSpPr>
              <a:spLocks/>
            </p:cNvSpPr>
            <p:nvPr/>
          </p:nvSpPr>
          <p:spPr bwMode="auto">
            <a:xfrm>
              <a:off x="7778750" y="4748213"/>
              <a:ext cx="101600" cy="79375"/>
            </a:xfrm>
            <a:custGeom>
              <a:avLst/>
              <a:gdLst>
                <a:gd name="T0" fmla="*/ 2 w 75"/>
                <a:gd name="T1" fmla="*/ 39 h 54"/>
                <a:gd name="T2" fmla="*/ 31 w 75"/>
                <a:gd name="T3" fmla="*/ 26 h 54"/>
                <a:gd name="T4" fmla="*/ 40 w 75"/>
                <a:gd name="T5" fmla="*/ 15 h 54"/>
                <a:gd name="T6" fmla="*/ 47 w 75"/>
                <a:gd name="T7" fmla="*/ 6 h 54"/>
                <a:gd name="T8" fmla="*/ 49 w 75"/>
                <a:gd name="T9" fmla="*/ 0 h 54"/>
                <a:gd name="T10" fmla="*/ 57 w 75"/>
                <a:gd name="T11" fmla="*/ 0 h 54"/>
                <a:gd name="T12" fmla="*/ 63 w 75"/>
                <a:gd name="T13" fmla="*/ 6 h 54"/>
                <a:gd name="T14" fmla="*/ 57 w 75"/>
                <a:gd name="T15" fmla="*/ 19 h 54"/>
                <a:gd name="T16" fmla="*/ 51 w 75"/>
                <a:gd name="T17" fmla="*/ 29 h 54"/>
                <a:gd name="T18" fmla="*/ 40 w 75"/>
                <a:gd name="T19" fmla="*/ 38 h 54"/>
                <a:gd name="T20" fmla="*/ 29 w 75"/>
                <a:gd name="T21" fmla="*/ 44 h 54"/>
                <a:gd name="T22" fmla="*/ 19 w 75"/>
                <a:gd name="T23" fmla="*/ 47 h 54"/>
                <a:gd name="T24" fmla="*/ 9 w 75"/>
                <a:gd name="T25" fmla="*/ 49 h 54"/>
                <a:gd name="T26" fmla="*/ 3 w 75"/>
                <a:gd name="T27" fmla="*/ 47 h 54"/>
                <a:gd name="T28" fmla="*/ 0 w 75"/>
                <a:gd name="T29" fmla="*/ 45 h 54"/>
                <a:gd name="T30" fmla="*/ 2 w 75"/>
                <a:gd name="T31" fmla="*/ 39 h 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54"/>
                <a:gd name="T50" fmla="*/ 75 w 75"/>
                <a:gd name="T51" fmla="*/ 54 h 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54">
                  <a:moveTo>
                    <a:pt x="2" y="42"/>
                  </a:moveTo>
                  <a:lnTo>
                    <a:pt x="36" y="28"/>
                  </a:lnTo>
                  <a:lnTo>
                    <a:pt x="47" y="16"/>
                  </a:lnTo>
                  <a:lnTo>
                    <a:pt x="55" y="7"/>
                  </a:lnTo>
                  <a:lnTo>
                    <a:pt x="58" y="0"/>
                  </a:lnTo>
                  <a:lnTo>
                    <a:pt x="67" y="0"/>
                  </a:lnTo>
                  <a:lnTo>
                    <a:pt x="74" y="6"/>
                  </a:lnTo>
                  <a:lnTo>
                    <a:pt x="67" y="20"/>
                  </a:lnTo>
                  <a:lnTo>
                    <a:pt x="60" y="31"/>
                  </a:lnTo>
                  <a:lnTo>
                    <a:pt x="47" y="41"/>
                  </a:lnTo>
                  <a:lnTo>
                    <a:pt x="34" y="48"/>
                  </a:lnTo>
                  <a:lnTo>
                    <a:pt x="22" y="51"/>
                  </a:lnTo>
                  <a:lnTo>
                    <a:pt x="11" y="53"/>
                  </a:lnTo>
                  <a:lnTo>
                    <a:pt x="4" y="51"/>
                  </a:lnTo>
                  <a:lnTo>
                    <a:pt x="0" y="49"/>
                  </a:lnTo>
                  <a:lnTo>
                    <a:pt x="2" y="42"/>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34" name="Freeform 149">
              <a:extLst>
                <a:ext uri="{FF2B5EF4-FFF2-40B4-BE49-F238E27FC236}">
                  <a16:creationId xmlns:a16="http://schemas.microsoft.com/office/drawing/2014/main" id="{60917F59-6A8E-4EC3-A266-300B4D9F10A4}"/>
                </a:ext>
              </a:extLst>
            </p:cNvPr>
            <p:cNvSpPr>
              <a:spLocks/>
            </p:cNvSpPr>
            <p:nvPr/>
          </p:nvSpPr>
          <p:spPr bwMode="auto">
            <a:xfrm>
              <a:off x="7974013" y="4913313"/>
              <a:ext cx="28575" cy="26988"/>
            </a:xfrm>
            <a:custGeom>
              <a:avLst/>
              <a:gdLst>
                <a:gd name="T0" fmla="*/ 7 w 21"/>
                <a:gd name="T1" fmla="*/ 0 h 19"/>
                <a:gd name="T2" fmla="*/ 15 w 21"/>
                <a:gd name="T3" fmla="*/ 3 h 19"/>
                <a:gd name="T4" fmla="*/ 17 w 21"/>
                <a:gd name="T5" fmla="*/ 9 h 19"/>
                <a:gd name="T6" fmla="*/ 15 w 21"/>
                <a:gd name="T7" fmla="*/ 14 h 19"/>
                <a:gd name="T8" fmla="*/ 7 w 21"/>
                <a:gd name="T9" fmla="*/ 16 h 19"/>
                <a:gd name="T10" fmla="*/ 2 w 21"/>
                <a:gd name="T11" fmla="*/ 14 h 19"/>
                <a:gd name="T12" fmla="*/ 0 w 21"/>
                <a:gd name="T13" fmla="*/ 9 h 19"/>
                <a:gd name="T14" fmla="*/ 2 w 21"/>
                <a:gd name="T15" fmla="*/ 3 h 19"/>
                <a:gd name="T16" fmla="*/ 7 w 2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8" y="0"/>
                  </a:moveTo>
                  <a:lnTo>
                    <a:pt x="17" y="3"/>
                  </a:lnTo>
                  <a:lnTo>
                    <a:pt x="20" y="10"/>
                  </a:lnTo>
                  <a:lnTo>
                    <a:pt x="17" y="16"/>
                  </a:lnTo>
                  <a:lnTo>
                    <a:pt x="8" y="18"/>
                  </a:lnTo>
                  <a:lnTo>
                    <a:pt x="2" y="16"/>
                  </a:lnTo>
                  <a:lnTo>
                    <a:pt x="0" y="10"/>
                  </a:lnTo>
                  <a:lnTo>
                    <a:pt x="2" y="3"/>
                  </a:lnTo>
                  <a:lnTo>
                    <a:pt x="8"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35" name="Freeform 150">
              <a:extLst>
                <a:ext uri="{FF2B5EF4-FFF2-40B4-BE49-F238E27FC236}">
                  <a16:creationId xmlns:a16="http://schemas.microsoft.com/office/drawing/2014/main" id="{69EC2CC6-998B-4ACD-AEA1-EC103EA647D9}"/>
                </a:ext>
              </a:extLst>
            </p:cNvPr>
            <p:cNvSpPr>
              <a:spLocks/>
            </p:cNvSpPr>
            <p:nvPr/>
          </p:nvSpPr>
          <p:spPr bwMode="auto">
            <a:xfrm>
              <a:off x="7885113" y="4800600"/>
              <a:ext cx="26988" cy="41275"/>
            </a:xfrm>
            <a:custGeom>
              <a:avLst/>
              <a:gdLst>
                <a:gd name="T0" fmla="*/ 8 w 20"/>
                <a:gd name="T1" fmla="*/ 25 h 28"/>
                <a:gd name="T2" fmla="*/ 14 w 20"/>
                <a:gd name="T3" fmla="*/ 21 h 28"/>
                <a:gd name="T4" fmla="*/ 16 w 20"/>
                <a:gd name="T5" fmla="*/ 13 h 28"/>
                <a:gd name="T6" fmla="*/ 14 w 20"/>
                <a:gd name="T7" fmla="*/ 3 h 28"/>
                <a:gd name="T8" fmla="*/ 8 w 20"/>
                <a:gd name="T9" fmla="*/ 0 h 28"/>
                <a:gd name="T10" fmla="*/ 2 w 20"/>
                <a:gd name="T11" fmla="*/ 3 h 28"/>
                <a:gd name="T12" fmla="*/ 0 w 20"/>
                <a:gd name="T13" fmla="*/ 13 h 28"/>
                <a:gd name="T14" fmla="*/ 2 w 20"/>
                <a:gd name="T15" fmla="*/ 21 h 28"/>
                <a:gd name="T16" fmla="*/ 8 w 20"/>
                <a:gd name="T17" fmla="*/ 25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8"/>
                <a:gd name="T29" fmla="*/ 20 w 20"/>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8">
                  <a:moveTo>
                    <a:pt x="9" y="27"/>
                  </a:moveTo>
                  <a:lnTo>
                    <a:pt x="16" y="23"/>
                  </a:lnTo>
                  <a:lnTo>
                    <a:pt x="19" y="14"/>
                  </a:lnTo>
                  <a:lnTo>
                    <a:pt x="16" y="3"/>
                  </a:lnTo>
                  <a:lnTo>
                    <a:pt x="9" y="0"/>
                  </a:lnTo>
                  <a:lnTo>
                    <a:pt x="2" y="3"/>
                  </a:lnTo>
                  <a:lnTo>
                    <a:pt x="0" y="14"/>
                  </a:lnTo>
                  <a:lnTo>
                    <a:pt x="2" y="23"/>
                  </a:lnTo>
                  <a:lnTo>
                    <a:pt x="9" y="27"/>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36" name="Freeform 151">
              <a:extLst>
                <a:ext uri="{FF2B5EF4-FFF2-40B4-BE49-F238E27FC236}">
                  <a16:creationId xmlns:a16="http://schemas.microsoft.com/office/drawing/2014/main" id="{15392686-5E42-4B8B-8E33-6FC012FCCA21}"/>
                </a:ext>
              </a:extLst>
            </p:cNvPr>
            <p:cNvSpPr>
              <a:spLocks/>
            </p:cNvSpPr>
            <p:nvPr/>
          </p:nvSpPr>
          <p:spPr bwMode="auto">
            <a:xfrm>
              <a:off x="7878763" y="4870450"/>
              <a:ext cx="33338" cy="28575"/>
            </a:xfrm>
            <a:custGeom>
              <a:avLst/>
              <a:gdLst>
                <a:gd name="T0" fmla="*/ 10 w 25"/>
                <a:gd name="T1" fmla="*/ 0 h 19"/>
                <a:gd name="T2" fmla="*/ 17 w 25"/>
                <a:gd name="T3" fmla="*/ 2 h 19"/>
                <a:gd name="T4" fmla="*/ 20 w 25"/>
                <a:gd name="T5" fmla="*/ 9 h 19"/>
                <a:gd name="T6" fmla="*/ 17 w 25"/>
                <a:gd name="T7" fmla="*/ 14 h 19"/>
                <a:gd name="T8" fmla="*/ 10 w 25"/>
                <a:gd name="T9" fmla="*/ 17 h 19"/>
                <a:gd name="T10" fmla="*/ 2 w 25"/>
                <a:gd name="T11" fmla="*/ 14 h 19"/>
                <a:gd name="T12" fmla="*/ 0 w 25"/>
                <a:gd name="T13" fmla="*/ 9 h 19"/>
                <a:gd name="T14" fmla="*/ 2 w 25"/>
                <a:gd name="T15" fmla="*/ 2 h 19"/>
                <a:gd name="T16" fmla="*/ 10 w 25"/>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9"/>
                <a:gd name="T29" fmla="*/ 25 w 25"/>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9">
                  <a:moveTo>
                    <a:pt x="12" y="0"/>
                  </a:moveTo>
                  <a:lnTo>
                    <a:pt x="20" y="2"/>
                  </a:lnTo>
                  <a:lnTo>
                    <a:pt x="24" y="9"/>
                  </a:lnTo>
                  <a:lnTo>
                    <a:pt x="20" y="15"/>
                  </a:lnTo>
                  <a:lnTo>
                    <a:pt x="12" y="18"/>
                  </a:lnTo>
                  <a:lnTo>
                    <a:pt x="2" y="15"/>
                  </a:lnTo>
                  <a:lnTo>
                    <a:pt x="0" y="9"/>
                  </a:lnTo>
                  <a:lnTo>
                    <a:pt x="2" y="2"/>
                  </a:lnTo>
                  <a:lnTo>
                    <a:pt x="12"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37" name="Freeform 152">
              <a:extLst>
                <a:ext uri="{FF2B5EF4-FFF2-40B4-BE49-F238E27FC236}">
                  <a16:creationId xmlns:a16="http://schemas.microsoft.com/office/drawing/2014/main" id="{E66C00EA-1541-4564-A0B6-11E3FACFA8B9}"/>
                </a:ext>
              </a:extLst>
            </p:cNvPr>
            <p:cNvSpPr>
              <a:spLocks/>
            </p:cNvSpPr>
            <p:nvPr/>
          </p:nvSpPr>
          <p:spPr bwMode="auto">
            <a:xfrm>
              <a:off x="7985125" y="4811713"/>
              <a:ext cx="28575" cy="28575"/>
            </a:xfrm>
            <a:custGeom>
              <a:avLst/>
              <a:gdLst>
                <a:gd name="T0" fmla="*/ 8 w 21"/>
                <a:gd name="T1" fmla="*/ 0 h 19"/>
                <a:gd name="T2" fmla="*/ 13 w 21"/>
                <a:gd name="T3" fmla="*/ 3 h 19"/>
                <a:gd name="T4" fmla="*/ 17 w 21"/>
                <a:gd name="T5" fmla="*/ 9 h 19"/>
                <a:gd name="T6" fmla="*/ 13 w 21"/>
                <a:gd name="T7" fmla="*/ 14 h 19"/>
                <a:gd name="T8" fmla="*/ 8 w 21"/>
                <a:gd name="T9" fmla="*/ 17 h 19"/>
                <a:gd name="T10" fmla="*/ 2 w 21"/>
                <a:gd name="T11" fmla="*/ 14 h 19"/>
                <a:gd name="T12" fmla="*/ 0 w 21"/>
                <a:gd name="T13" fmla="*/ 9 h 19"/>
                <a:gd name="T14" fmla="*/ 2 w 21"/>
                <a:gd name="T15" fmla="*/ 3 h 19"/>
                <a:gd name="T16" fmla="*/ 8 w 2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9" y="0"/>
                  </a:moveTo>
                  <a:lnTo>
                    <a:pt x="15" y="3"/>
                  </a:lnTo>
                  <a:lnTo>
                    <a:pt x="20" y="9"/>
                  </a:lnTo>
                  <a:lnTo>
                    <a:pt x="15" y="15"/>
                  </a:lnTo>
                  <a:lnTo>
                    <a:pt x="9" y="18"/>
                  </a:lnTo>
                  <a:lnTo>
                    <a:pt x="2" y="15"/>
                  </a:lnTo>
                  <a:lnTo>
                    <a:pt x="0" y="9"/>
                  </a:lnTo>
                  <a:lnTo>
                    <a:pt x="2" y="3"/>
                  </a:lnTo>
                  <a:lnTo>
                    <a:pt x="9"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38" name="Freeform 153">
              <a:extLst>
                <a:ext uri="{FF2B5EF4-FFF2-40B4-BE49-F238E27FC236}">
                  <a16:creationId xmlns:a16="http://schemas.microsoft.com/office/drawing/2014/main" id="{8115B4F2-74D7-4BE6-A97B-7BDF33587530}"/>
                </a:ext>
              </a:extLst>
            </p:cNvPr>
            <p:cNvSpPr>
              <a:spLocks/>
            </p:cNvSpPr>
            <p:nvPr/>
          </p:nvSpPr>
          <p:spPr bwMode="auto">
            <a:xfrm>
              <a:off x="8094663" y="4879975"/>
              <a:ext cx="26988" cy="50800"/>
            </a:xfrm>
            <a:custGeom>
              <a:avLst/>
              <a:gdLst>
                <a:gd name="T0" fmla="*/ 7 w 20"/>
                <a:gd name="T1" fmla="*/ 0 h 35"/>
                <a:gd name="T2" fmla="*/ 14 w 20"/>
                <a:gd name="T3" fmla="*/ 4 h 35"/>
                <a:gd name="T4" fmla="*/ 16 w 20"/>
                <a:gd name="T5" fmla="*/ 16 h 35"/>
                <a:gd name="T6" fmla="*/ 14 w 20"/>
                <a:gd name="T7" fmla="*/ 26 h 35"/>
                <a:gd name="T8" fmla="*/ 11 w 20"/>
                <a:gd name="T9" fmla="*/ 28 h 35"/>
                <a:gd name="T10" fmla="*/ 7 w 20"/>
                <a:gd name="T11" fmla="*/ 31 h 35"/>
                <a:gd name="T12" fmla="*/ 2 w 20"/>
                <a:gd name="T13" fmla="*/ 26 h 35"/>
                <a:gd name="T14" fmla="*/ 0 w 20"/>
                <a:gd name="T15" fmla="*/ 16 h 35"/>
                <a:gd name="T16" fmla="*/ 2 w 20"/>
                <a:gd name="T17" fmla="*/ 4 h 35"/>
                <a:gd name="T18" fmla="*/ 7 w 20"/>
                <a:gd name="T19" fmla="*/ 0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35"/>
                <a:gd name="T32" fmla="*/ 20 w 2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35">
                  <a:moveTo>
                    <a:pt x="8" y="0"/>
                  </a:moveTo>
                  <a:lnTo>
                    <a:pt x="16" y="4"/>
                  </a:lnTo>
                  <a:lnTo>
                    <a:pt x="19" y="17"/>
                  </a:lnTo>
                  <a:lnTo>
                    <a:pt x="16" y="28"/>
                  </a:lnTo>
                  <a:lnTo>
                    <a:pt x="13" y="31"/>
                  </a:lnTo>
                  <a:lnTo>
                    <a:pt x="8" y="34"/>
                  </a:lnTo>
                  <a:lnTo>
                    <a:pt x="2" y="28"/>
                  </a:lnTo>
                  <a:lnTo>
                    <a:pt x="0" y="17"/>
                  </a:lnTo>
                  <a:lnTo>
                    <a:pt x="2" y="4"/>
                  </a:lnTo>
                  <a:lnTo>
                    <a:pt x="8"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39" name="Freeform 154">
              <a:extLst>
                <a:ext uri="{FF2B5EF4-FFF2-40B4-BE49-F238E27FC236}">
                  <a16:creationId xmlns:a16="http://schemas.microsoft.com/office/drawing/2014/main" id="{CADF8415-CCFD-4905-ABBB-ECD2B7BA8993}"/>
                </a:ext>
              </a:extLst>
            </p:cNvPr>
            <p:cNvSpPr>
              <a:spLocks/>
            </p:cNvSpPr>
            <p:nvPr/>
          </p:nvSpPr>
          <p:spPr bwMode="auto">
            <a:xfrm>
              <a:off x="7985125" y="4860925"/>
              <a:ext cx="28575" cy="38100"/>
            </a:xfrm>
            <a:custGeom>
              <a:avLst/>
              <a:gdLst>
                <a:gd name="T0" fmla="*/ 8 w 21"/>
                <a:gd name="T1" fmla="*/ 0 h 26"/>
                <a:gd name="T2" fmla="*/ 15 w 21"/>
                <a:gd name="T3" fmla="*/ 3 h 26"/>
                <a:gd name="T4" fmla="*/ 17 w 21"/>
                <a:gd name="T5" fmla="*/ 11 h 26"/>
                <a:gd name="T6" fmla="*/ 15 w 21"/>
                <a:gd name="T7" fmla="*/ 19 h 26"/>
                <a:gd name="T8" fmla="*/ 8 w 21"/>
                <a:gd name="T9" fmla="*/ 23 h 26"/>
                <a:gd name="T10" fmla="*/ 1 w 21"/>
                <a:gd name="T11" fmla="*/ 19 h 26"/>
                <a:gd name="T12" fmla="*/ 0 w 21"/>
                <a:gd name="T13" fmla="*/ 11 h 26"/>
                <a:gd name="T14" fmla="*/ 1 w 21"/>
                <a:gd name="T15" fmla="*/ 3 h 26"/>
                <a:gd name="T16" fmla="*/ 8 w 21"/>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6"/>
                <a:gd name="T29" fmla="*/ 21 w 21"/>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6">
                  <a:moveTo>
                    <a:pt x="9" y="0"/>
                  </a:moveTo>
                  <a:lnTo>
                    <a:pt x="17" y="3"/>
                  </a:lnTo>
                  <a:lnTo>
                    <a:pt x="20" y="12"/>
                  </a:lnTo>
                  <a:lnTo>
                    <a:pt x="17" y="21"/>
                  </a:lnTo>
                  <a:lnTo>
                    <a:pt x="9" y="25"/>
                  </a:lnTo>
                  <a:lnTo>
                    <a:pt x="1" y="21"/>
                  </a:lnTo>
                  <a:lnTo>
                    <a:pt x="0" y="12"/>
                  </a:lnTo>
                  <a:lnTo>
                    <a:pt x="1" y="3"/>
                  </a:lnTo>
                  <a:lnTo>
                    <a:pt x="9"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0" name="Freeform 155">
              <a:extLst>
                <a:ext uri="{FF2B5EF4-FFF2-40B4-BE49-F238E27FC236}">
                  <a16:creationId xmlns:a16="http://schemas.microsoft.com/office/drawing/2014/main" id="{B7EBE070-1446-4FB3-82F8-F03C510E8F5D}"/>
                </a:ext>
              </a:extLst>
            </p:cNvPr>
            <p:cNvSpPr>
              <a:spLocks/>
            </p:cNvSpPr>
            <p:nvPr/>
          </p:nvSpPr>
          <p:spPr bwMode="auto">
            <a:xfrm>
              <a:off x="7651750" y="4537075"/>
              <a:ext cx="36513" cy="26988"/>
            </a:xfrm>
            <a:custGeom>
              <a:avLst/>
              <a:gdLst>
                <a:gd name="T0" fmla="*/ 11 w 28"/>
                <a:gd name="T1" fmla="*/ 16 h 19"/>
                <a:gd name="T2" fmla="*/ 18 w 28"/>
                <a:gd name="T3" fmla="*/ 13 h 19"/>
                <a:gd name="T4" fmla="*/ 22 w 28"/>
                <a:gd name="T5" fmla="*/ 8 h 19"/>
                <a:gd name="T6" fmla="*/ 18 w 28"/>
                <a:gd name="T7" fmla="*/ 3 h 19"/>
                <a:gd name="T8" fmla="*/ 11 w 28"/>
                <a:gd name="T9" fmla="*/ 0 h 19"/>
                <a:gd name="T10" fmla="*/ 3 w 28"/>
                <a:gd name="T11" fmla="*/ 3 h 19"/>
                <a:gd name="T12" fmla="*/ 0 w 28"/>
                <a:gd name="T13" fmla="*/ 8 h 19"/>
                <a:gd name="T14" fmla="*/ 3 w 28"/>
                <a:gd name="T15" fmla="*/ 13 h 19"/>
                <a:gd name="T16" fmla="*/ 11 w 28"/>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19"/>
                <a:gd name="T29" fmla="*/ 28 w 28"/>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19">
                  <a:moveTo>
                    <a:pt x="13" y="18"/>
                  </a:moveTo>
                  <a:lnTo>
                    <a:pt x="22" y="15"/>
                  </a:lnTo>
                  <a:lnTo>
                    <a:pt x="27" y="9"/>
                  </a:lnTo>
                  <a:lnTo>
                    <a:pt x="22" y="3"/>
                  </a:lnTo>
                  <a:lnTo>
                    <a:pt x="13" y="0"/>
                  </a:lnTo>
                  <a:lnTo>
                    <a:pt x="4" y="3"/>
                  </a:lnTo>
                  <a:lnTo>
                    <a:pt x="0" y="9"/>
                  </a:lnTo>
                  <a:lnTo>
                    <a:pt x="4" y="15"/>
                  </a:lnTo>
                  <a:lnTo>
                    <a:pt x="13"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1" name="Freeform 156">
              <a:extLst>
                <a:ext uri="{FF2B5EF4-FFF2-40B4-BE49-F238E27FC236}">
                  <a16:creationId xmlns:a16="http://schemas.microsoft.com/office/drawing/2014/main" id="{F1C493D6-D072-45CB-8C3D-AAC833ED9CF0}"/>
                </a:ext>
              </a:extLst>
            </p:cNvPr>
            <p:cNvSpPr>
              <a:spLocks/>
            </p:cNvSpPr>
            <p:nvPr/>
          </p:nvSpPr>
          <p:spPr bwMode="auto">
            <a:xfrm>
              <a:off x="8107363" y="4513263"/>
              <a:ext cx="26988" cy="26988"/>
            </a:xfrm>
            <a:custGeom>
              <a:avLst/>
              <a:gdLst>
                <a:gd name="T0" fmla="*/ 8 w 21"/>
                <a:gd name="T1" fmla="*/ 16 h 19"/>
                <a:gd name="T2" fmla="*/ 14 w 21"/>
                <a:gd name="T3" fmla="*/ 12 h 19"/>
                <a:gd name="T4" fmla="*/ 16 w 21"/>
                <a:gd name="T5" fmla="*/ 5 h 19"/>
                <a:gd name="T6" fmla="*/ 14 w 21"/>
                <a:gd name="T7" fmla="*/ 2 h 19"/>
                <a:gd name="T8" fmla="*/ 8 w 21"/>
                <a:gd name="T9" fmla="*/ 0 h 19"/>
                <a:gd name="T10" fmla="*/ 2 w 21"/>
                <a:gd name="T11" fmla="*/ 2 h 19"/>
                <a:gd name="T12" fmla="*/ 0 w 21"/>
                <a:gd name="T13" fmla="*/ 5 h 19"/>
                <a:gd name="T14" fmla="*/ 2 w 21"/>
                <a:gd name="T15" fmla="*/ 12 h 19"/>
                <a:gd name="T16" fmla="*/ 8 w 21"/>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10" y="18"/>
                  </a:moveTo>
                  <a:lnTo>
                    <a:pt x="17" y="13"/>
                  </a:lnTo>
                  <a:lnTo>
                    <a:pt x="20" y="6"/>
                  </a:lnTo>
                  <a:lnTo>
                    <a:pt x="17" y="2"/>
                  </a:lnTo>
                  <a:lnTo>
                    <a:pt x="10" y="0"/>
                  </a:lnTo>
                  <a:lnTo>
                    <a:pt x="2" y="2"/>
                  </a:lnTo>
                  <a:lnTo>
                    <a:pt x="0" y="6"/>
                  </a:lnTo>
                  <a:lnTo>
                    <a:pt x="2" y="13"/>
                  </a:lnTo>
                  <a:lnTo>
                    <a:pt x="10"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2" name="Freeform 157">
              <a:extLst>
                <a:ext uri="{FF2B5EF4-FFF2-40B4-BE49-F238E27FC236}">
                  <a16:creationId xmlns:a16="http://schemas.microsoft.com/office/drawing/2014/main" id="{166CEA67-F7E2-48CB-A1E3-217BA7131E6A}"/>
                </a:ext>
              </a:extLst>
            </p:cNvPr>
            <p:cNvSpPr>
              <a:spLocks/>
            </p:cNvSpPr>
            <p:nvPr/>
          </p:nvSpPr>
          <p:spPr bwMode="auto">
            <a:xfrm>
              <a:off x="8142288" y="4543425"/>
              <a:ext cx="28575" cy="28575"/>
            </a:xfrm>
            <a:custGeom>
              <a:avLst/>
              <a:gdLst>
                <a:gd name="T0" fmla="*/ 8 w 21"/>
                <a:gd name="T1" fmla="*/ 17 h 19"/>
                <a:gd name="T2" fmla="*/ 13 w 21"/>
                <a:gd name="T3" fmla="*/ 12 h 19"/>
                <a:gd name="T4" fmla="*/ 17 w 21"/>
                <a:gd name="T5" fmla="*/ 6 h 19"/>
                <a:gd name="T6" fmla="*/ 13 w 21"/>
                <a:gd name="T7" fmla="*/ 0 h 19"/>
                <a:gd name="T8" fmla="*/ 8 w 21"/>
                <a:gd name="T9" fmla="*/ 0 h 19"/>
                <a:gd name="T10" fmla="*/ 1 w 21"/>
                <a:gd name="T11" fmla="*/ 0 h 19"/>
                <a:gd name="T12" fmla="*/ 0 w 21"/>
                <a:gd name="T13" fmla="*/ 6 h 19"/>
                <a:gd name="T14" fmla="*/ 8 w 21"/>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9"/>
                <a:gd name="T26" fmla="*/ 21 w 2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9">
                  <a:moveTo>
                    <a:pt x="9" y="18"/>
                  </a:moveTo>
                  <a:lnTo>
                    <a:pt x="15" y="13"/>
                  </a:lnTo>
                  <a:lnTo>
                    <a:pt x="20" y="6"/>
                  </a:lnTo>
                  <a:lnTo>
                    <a:pt x="15" y="0"/>
                  </a:lnTo>
                  <a:lnTo>
                    <a:pt x="9" y="0"/>
                  </a:lnTo>
                  <a:lnTo>
                    <a:pt x="1" y="0"/>
                  </a:lnTo>
                  <a:lnTo>
                    <a:pt x="0" y="6"/>
                  </a:lnTo>
                  <a:lnTo>
                    <a:pt x="9"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3" name="Freeform 158">
              <a:extLst>
                <a:ext uri="{FF2B5EF4-FFF2-40B4-BE49-F238E27FC236}">
                  <a16:creationId xmlns:a16="http://schemas.microsoft.com/office/drawing/2014/main" id="{CE492D5B-4213-43F7-A2BB-ECE8AF31382C}"/>
                </a:ext>
              </a:extLst>
            </p:cNvPr>
            <p:cNvSpPr>
              <a:spLocks/>
            </p:cNvSpPr>
            <p:nvPr/>
          </p:nvSpPr>
          <p:spPr bwMode="auto">
            <a:xfrm>
              <a:off x="8172450" y="4562475"/>
              <a:ext cx="28575" cy="28575"/>
            </a:xfrm>
            <a:custGeom>
              <a:avLst/>
              <a:gdLst>
                <a:gd name="T0" fmla="*/ 9 w 21"/>
                <a:gd name="T1" fmla="*/ 17 h 19"/>
                <a:gd name="T2" fmla="*/ 17 w 21"/>
                <a:gd name="T3" fmla="*/ 9 h 19"/>
                <a:gd name="T4" fmla="*/ 15 w 21"/>
                <a:gd name="T5" fmla="*/ 2 h 19"/>
                <a:gd name="T6" fmla="*/ 9 w 21"/>
                <a:gd name="T7" fmla="*/ 0 h 19"/>
                <a:gd name="T8" fmla="*/ 3 w 21"/>
                <a:gd name="T9" fmla="*/ 2 h 19"/>
                <a:gd name="T10" fmla="*/ 0 w 21"/>
                <a:gd name="T11" fmla="*/ 9 h 19"/>
                <a:gd name="T12" fmla="*/ 9 w 21"/>
                <a:gd name="T13" fmla="*/ 17 h 19"/>
                <a:gd name="T14" fmla="*/ 0 60000 65536"/>
                <a:gd name="T15" fmla="*/ 0 60000 65536"/>
                <a:gd name="T16" fmla="*/ 0 60000 65536"/>
                <a:gd name="T17" fmla="*/ 0 60000 65536"/>
                <a:gd name="T18" fmla="*/ 0 60000 65536"/>
                <a:gd name="T19" fmla="*/ 0 60000 65536"/>
                <a:gd name="T20" fmla="*/ 0 60000 65536"/>
                <a:gd name="T21" fmla="*/ 0 w 21"/>
                <a:gd name="T22" fmla="*/ 0 h 19"/>
                <a:gd name="T23" fmla="*/ 21 w 21"/>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9">
                  <a:moveTo>
                    <a:pt x="10" y="18"/>
                  </a:moveTo>
                  <a:lnTo>
                    <a:pt x="20" y="9"/>
                  </a:lnTo>
                  <a:lnTo>
                    <a:pt x="18" y="2"/>
                  </a:lnTo>
                  <a:lnTo>
                    <a:pt x="10" y="0"/>
                  </a:lnTo>
                  <a:lnTo>
                    <a:pt x="3" y="2"/>
                  </a:lnTo>
                  <a:lnTo>
                    <a:pt x="0" y="9"/>
                  </a:lnTo>
                  <a:lnTo>
                    <a:pt x="10"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4" name="Freeform 159">
              <a:extLst>
                <a:ext uri="{FF2B5EF4-FFF2-40B4-BE49-F238E27FC236}">
                  <a16:creationId xmlns:a16="http://schemas.microsoft.com/office/drawing/2014/main" id="{54E9E18F-E47F-446C-8D6D-F742C94AC71E}"/>
                </a:ext>
              </a:extLst>
            </p:cNvPr>
            <p:cNvSpPr>
              <a:spLocks/>
            </p:cNvSpPr>
            <p:nvPr/>
          </p:nvSpPr>
          <p:spPr bwMode="auto">
            <a:xfrm>
              <a:off x="8196263" y="4576763"/>
              <a:ext cx="28575" cy="26988"/>
            </a:xfrm>
            <a:custGeom>
              <a:avLst/>
              <a:gdLst>
                <a:gd name="T0" fmla="*/ 9 w 21"/>
                <a:gd name="T1" fmla="*/ 16 h 19"/>
                <a:gd name="T2" fmla="*/ 17 w 21"/>
                <a:gd name="T3" fmla="*/ 9 h 19"/>
                <a:gd name="T4" fmla="*/ 15 w 21"/>
                <a:gd name="T5" fmla="*/ 3 h 19"/>
                <a:gd name="T6" fmla="*/ 9 w 21"/>
                <a:gd name="T7" fmla="*/ 0 h 19"/>
                <a:gd name="T8" fmla="*/ 0 w 21"/>
                <a:gd name="T9" fmla="*/ 9 h 19"/>
                <a:gd name="T10" fmla="*/ 9 w 21"/>
                <a:gd name="T11" fmla="*/ 16 h 19"/>
                <a:gd name="T12" fmla="*/ 0 60000 65536"/>
                <a:gd name="T13" fmla="*/ 0 60000 65536"/>
                <a:gd name="T14" fmla="*/ 0 60000 65536"/>
                <a:gd name="T15" fmla="*/ 0 60000 65536"/>
                <a:gd name="T16" fmla="*/ 0 60000 65536"/>
                <a:gd name="T17" fmla="*/ 0 60000 65536"/>
                <a:gd name="T18" fmla="*/ 0 w 21"/>
                <a:gd name="T19" fmla="*/ 0 h 19"/>
                <a:gd name="T20" fmla="*/ 21 w 2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1" h="19">
                  <a:moveTo>
                    <a:pt x="10" y="18"/>
                  </a:moveTo>
                  <a:lnTo>
                    <a:pt x="20" y="10"/>
                  </a:lnTo>
                  <a:lnTo>
                    <a:pt x="17" y="3"/>
                  </a:lnTo>
                  <a:lnTo>
                    <a:pt x="10" y="0"/>
                  </a:lnTo>
                  <a:lnTo>
                    <a:pt x="0" y="10"/>
                  </a:lnTo>
                  <a:lnTo>
                    <a:pt x="10"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5" name="Freeform 160">
              <a:extLst>
                <a:ext uri="{FF2B5EF4-FFF2-40B4-BE49-F238E27FC236}">
                  <a16:creationId xmlns:a16="http://schemas.microsoft.com/office/drawing/2014/main" id="{07D9E0D3-0E7D-4352-A311-54C6B0F175A2}"/>
                </a:ext>
              </a:extLst>
            </p:cNvPr>
            <p:cNvSpPr>
              <a:spLocks/>
            </p:cNvSpPr>
            <p:nvPr/>
          </p:nvSpPr>
          <p:spPr bwMode="auto">
            <a:xfrm>
              <a:off x="8213725" y="4597400"/>
              <a:ext cx="28575" cy="26988"/>
            </a:xfrm>
            <a:custGeom>
              <a:avLst/>
              <a:gdLst>
                <a:gd name="T0" fmla="*/ 9 w 21"/>
                <a:gd name="T1" fmla="*/ 16 h 19"/>
                <a:gd name="T2" fmla="*/ 17 w 21"/>
                <a:gd name="T3" fmla="*/ 8 h 19"/>
                <a:gd name="T4" fmla="*/ 9 w 21"/>
                <a:gd name="T5" fmla="*/ 0 h 19"/>
                <a:gd name="T6" fmla="*/ 0 w 21"/>
                <a:gd name="T7" fmla="*/ 8 h 19"/>
                <a:gd name="T8" fmla="*/ 9 w 21"/>
                <a:gd name="T9" fmla="*/ 16 h 19"/>
                <a:gd name="T10" fmla="*/ 0 60000 65536"/>
                <a:gd name="T11" fmla="*/ 0 60000 65536"/>
                <a:gd name="T12" fmla="*/ 0 60000 65536"/>
                <a:gd name="T13" fmla="*/ 0 60000 65536"/>
                <a:gd name="T14" fmla="*/ 0 60000 65536"/>
                <a:gd name="T15" fmla="*/ 0 w 21"/>
                <a:gd name="T16" fmla="*/ 0 h 19"/>
                <a:gd name="T17" fmla="*/ 21 w 21"/>
                <a:gd name="T18" fmla="*/ 19 h 19"/>
              </a:gdLst>
              <a:ahLst/>
              <a:cxnLst>
                <a:cxn ang="T10">
                  <a:pos x="T0" y="T1"/>
                </a:cxn>
                <a:cxn ang="T11">
                  <a:pos x="T2" y="T3"/>
                </a:cxn>
                <a:cxn ang="T12">
                  <a:pos x="T4" y="T5"/>
                </a:cxn>
                <a:cxn ang="T13">
                  <a:pos x="T6" y="T7"/>
                </a:cxn>
                <a:cxn ang="T14">
                  <a:pos x="T8" y="T9"/>
                </a:cxn>
              </a:cxnLst>
              <a:rect l="T15" t="T16" r="T17" b="T18"/>
              <a:pathLst>
                <a:path w="21" h="19">
                  <a:moveTo>
                    <a:pt x="10" y="18"/>
                  </a:moveTo>
                  <a:lnTo>
                    <a:pt x="20" y="9"/>
                  </a:lnTo>
                  <a:lnTo>
                    <a:pt x="10" y="0"/>
                  </a:lnTo>
                  <a:lnTo>
                    <a:pt x="0" y="9"/>
                  </a:lnTo>
                  <a:lnTo>
                    <a:pt x="10"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6" name="Freeform 161">
              <a:extLst>
                <a:ext uri="{FF2B5EF4-FFF2-40B4-BE49-F238E27FC236}">
                  <a16:creationId xmlns:a16="http://schemas.microsoft.com/office/drawing/2014/main" id="{21D628F9-440D-4E8A-860A-6485F4AF71E6}"/>
                </a:ext>
              </a:extLst>
            </p:cNvPr>
            <p:cNvSpPr>
              <a:spLocks/>
            </p:cNvSpPr>
            <p:nvPr/>
          </p:nvSpPr>
          <p:spPr bwMode="auto">
            <a:xfrm>
              <a:off x="8224838" y="4610100"/>
              <a:ext cx="28575" cy="28575"/>
            </a:xfrm>
            <a:custGeom>
              <a:avLst/>
              <a:gdLst>
                <a:gd name="T0" fmla="*/ 9 w 21"/>
                <a:gd name="T1" fmla="*/ 17 h 19"/>
                <a:gd name="T2" fmla="*/ 17 w 21"/>
                <a:gd name="T3" fmla="*/ 9 h 19"/>
                <a:gd name="T4" fmla="*/ 9 w 21"/>
                <a:gd name="T5" fmla="*/ 0 h 19"/>
                <a:gd name="T6" fmla="*/ 0 w 21"/>
                <a:gd name="T7" fmla="*/ 9 h 19"/>
                <a:gd name="T8" fmla="*/ 9 w 21"/>
                <a:gd name="T9" fmla="*/ 17 h 19"/>
                <a:gd name="T10" fmla="*/ 0 60000 65536"/>
                <a:gd name="T11" fmla="*/ 0 60000 65536"/>
                <a:gd name="T12" fmla="*/ 0 60000 65536"/>
                <a:gd name="T13" fmla="*/ 0 60000 65536"/>
                <a:gd name="T14" fmla="*/ 0 60000 65536"/>
                <a:gd name="T15" fmla="*/ 0 w 21"/>
                <a:gd name="T16" fmla="*/ 0 h 19"/>
                <a:gd name="T17" fmla="*/ 21 w 21"/>
                <a:gd name="T18" fmla="*/ 19 h 19"/>
              </a:gdLst>
              <a:ahLst/>
              <a:cxnLst>
                <a:cxn ang="T10">
                  <a:pos x="T0" y="T1"/>
                </a:cxn>
                <a:cxn ang="T11">
                  <a:pos x="T2" y="T3"/>
                </a:cxn>
                <a:cxn ang="T12">
                  <a:pos x="T4" y="T5"/>
                </a:cxn>
                <a:cxn ang="T13">
                  <a:pos x="T6" y="T7"/>
                </a:cxn>
                <a:cxn ang="T14">
                  <a:pos x="T8" y="T9"/>
                </a:cxn>
              </a:cxnLst>
              <a:rect l="T15" t="T16" r="T17" b="T18"/>
              <a:pathLst>
                <a:path w="21" h="19">
                  <a:moveTo>
                    <a:pt x="10" y="18"/>
                  </a:moveTo>
                  <a:lnTo>
                    <a:pt x="20" y="9"/>
                  </a:lnTo>
                  <a:lnTo>
                    <a:pt x="10" y="0"/>
                  </a:lnTo>
                  <a:lnTo>
                    <a:pt x="0" y="9"/>
                  </a:lnTo>
                  <a:lnTo>
                    <a:pt x="10"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7" name="Freeform 162">
              <a:extLst>
                <a:ext uri="{FF2B5EF4-FFF2-40B4-BE49-F238E27FC236}">
                  <a16:creationId xmlns:a16="http://schemas.microsoft.com/office/drawing/2014/main" id="{9CE9792F-5931-46FC-8B80-C1023FA20D67}"/>
                </a:ext>
              </a:extLst>
            </p:cNvPr>
            <p:cNvSpPr>
              <a:spLocks/>
            </p:cNvSpPr>
            <p:nvPr/>
          </p:nvSpPr>
          <p:spPr bwMode="auto">
            <a:xfrm>
              <a:off x="8278813" y="5038725"/>
              <a:ext cx="33338" cy="26988"/>
            </a:xfrm>
            <a:custGeom>
              <a:avLst/>
              <a:gdLst>
                <a:gd name="T0" fmla="*/ 10 w 24"/>
                <a:gd name="T1" fmla="*/ 0 h 19"/>
                <a:gd name="T2" fmla="*/ 18 w 24"/>
                <a:gd name="T3" fmla="*/ 3 h 19"/>
                <a:gd name="T4" fmla="*/ 20 w 24"/>
                <a:gd name="T5" fmla="*/ 7 h 19"/>
                <a:gd name="T6" fmla="*/ 18 w 24"/>
                <a:gd name="T7" fmla="*/ 14 h 19"/>
                <a:gd name="T8" fmla="*/ 10 w 24"/>
                <a:gd name="T9" fmla="*/ 16 h 19"/>
                <a:gd name="T10" fmla="*/ 3 w 24"/>
                <a:gd name="T11" fmla="*/ 14 h 19"/>
                <a:gd name="T12" fmla="*/ 0 w 24"/>
                <a:gd name="T13" fmla="*/ 7 h 19"/>
                <a:gd name="T14" fmla="*/ 3 w 24"/>
                <a:gd name="T15" fmla="*/ 3 h 19"/>
                <a:gd name="T16" fmla="*/ 10 w 24"/>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19"/>
                <a:gd name="T29" fmla="*/ 24 w 24"/>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19">
                  <a:moveTo>
                    <a:pt x="11" y="0"/>
                  </a:moveTo>
                  <a:lnTo>
                    <a:pt x="20" y="3"/>
                  </a:lnTo>
                  <a:lnTo>
                    <a:pt x="23" y="8"/>
                  </a:lnTo>
                  <a:lnTo>
                    <a:pt x="20" y="16"/>
                  </a:lnTo>
                  <a:lnTo>
                    <a:pt x="11" y="18"/>
                  </a:lnTo>
                  <a:lnTo>
                    <a:pt x="3" y="16"/>
                  </a:lnTo>
                  <a:lnTo>
                    <a:pt x="0" y="8"/>
                  </a:lnTo>
                  <a:lnTo>
                    <a:pt x="3" y="3"/>
                  </a:lnTo>
                  <a:lnTo>
                    <a:pt x="11"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8" name="Freeform 163">
              <a:extLst>
                <a:ext uri="{FF2B5EF4-FFF2-40B4-BE49-F238E27FC236}">
                  <a16:creationId xmlns:a16="http://schemas.microsoft.com/office/drawing/2014/main" id="{800BE240-49E9-4B25-8984-1FC68763F0E7}"/>
                </a:ext>
              </a:extLst>
            </p:cNvPr>
            <p:cNvSpPr>
              <a:spLocks/>
            </p:cNvSpPr>
            <p:nvPr/>
          </p:nvSpPr>
          <p:spPr bwMode="auto">
            <a:xfrm>
              <a:off x="8315325" y="5040313"/>
              <a:ext cx="31750" cy="26988"/>
            </a:xfrm>
            <a:custGeom>
              <a:avLst/>
              <a:gdLst>
                <a:gd name="T0" fmla="*/ 10 w 23"/>
                <a:gd name="T1" fmla="*/ 0 h 19"/>
                <a:gd name="T2" fmla="*/ 16 w 23"/>
                <a:gd name="T3" fmla="*/ 2 h 19"/>
                <a:gd name="T4" fmla="*/ 19 w 23"/>
                <a:gd name="T5" fmla="*/ 8 h 19"/>
                <a:gd name="T6" fmla="*/ 16 w 23"/>
                <a:gd name="T7" fmla="*/ 13 h 19"/>
                <a:gd name="T8" fmla="*/ 10 w 23"/>
                <a:gd name="T9" fmla="*/ 16 h 19"/>
                <a:gd name="T10" fmla="*/ 3 w 23"/>
                <a:gd name="T11" fmla="*/ 13 h 19"/>
                <a:gd name="T12" fmla="*/ 0 w 23"/>
                <a:gd name="T13" fmla="*/ 8 h 19"/>
                <a:gd name="T14" fmla="*/ 3 w 23"/>
                <a:gd name="T15" fmla="*/ 2 h 19"/>
                <a:gd name="T16" fmla="*/ 10 w 23"/>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9"/>
                <a:gd name="T29" fmla="*/ 23 w 23"/>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9">
                  <a:moveTo>
                    <a:pt x="11" y="0"/>
                  </a:moveTo>
                  <a:lnTo>
                    <a:pt x="18" y="2"/>
                  </a:lnTo>
                  <a:lnTo>
                    <a:pt x="22" y="9"/>
                  </a:lnTo>
                  <a:lnTo>
                    <a:pt x="18" y="15"/>
                  </a:lnTo>
                  <a:lnTo>
                    <a:pt x="11" y="18"/>
                  </a:lnTo>
                  <a:lnTo>
                    <a:pt x="3" y="15"/>
                  </a:lnTo>
                  <a:lnTo>
                    <a:pt x="0" y="9"/>
                  </a:lnTo>
                  <a:lnTo>
                    <a:pt x="3" y="2"/>
                  </a:lnTo>
                  <a:lnTo>
                    <a:pt x="11"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49" name="Freeform 164">
              <a:extLst>
                <a:ext uri="{FF2B5EF4-FFF2-40B4-BE49-F238E27FC236}">
                  <a16:creationId xmlns:a16="http://schemas.microsoft.com/office/drawing/2014/main" id="{B2E6D0F7-DAA0-471C-A731-920E1F223BEC}"/>
                </a:ext>
              </a:extLst>
            </p:cNvPr>
            <p:cNvSpPr>
              <a:spLocks/>
            </p:cNvSpPr>
            <p:nvPr/>
          </p:nvSpPr>
          <p:spPr bwMode="auto">
            <a:xfrm>
              <a:off x="8350250" y="5038725"/>
              <a:ext cx="30163" cy="26988"/>
            </a:xfrm>
            <a:custGeom>
              <a:avLst/>
              <a:gdLst>
                <a:gd name="T0" fmla="*/ 8 w 22"/>
                <a:gd name="T1" fmla="*/ 0 h 19"/>
                <a:gd name="T2" fmla="*/ 16 w 22"/>
                <a:gd name="T3" fmla="*/ 2 h 19"/>
                <a:gd name="T4" fmla="*/ 18 w 22"/>
                <a:gd name="T5" fmla="*/ 7 h 19"/>
                <a:gd name="T6" fmla="*/ 16 w 22"/>
                <a:gd name="T7" fmla="*/ 13 h 19"/>
                <a:gd name="T8" fmla="*/ 8 w 22"/>
                <a:gd name="T9" fmla="*/ 16 h 19"/>
                <a:gd name="T10" fmla="*/ 2 w 22"/>
                <a:gd name="T11" fmla="*/ 13 h 19"/>
                <a:gd name="T12" fmla="*/ 0 w 22"/>
                <a:gd name="T13" fmla="*/ 7 h 19"/>
                <a:gd name="T14" fmla="*/ 2 w 22"/>
                <a:gd name="T15" fmla="*/ 2 h 19"/>
                <a:gd name="T16" fmla="*/ 8 w 22"/>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9"/>
                <a:gd name="T29" fmla="*/ 22 w 22"/>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9">
                  <a:moveTo>
                    <a:pt x="9" y="0"/>
                  </a:moveTo>
                  <a:lnTo>
                    <a:pt x="18" y="2"/>
                  </a:lnTo>
                  <a:lnTo>
                    <a:pt x="21" y="8"/>
                  </a:lnTo>
                  <a:lnTo>
                    <a:pt x="18" y="15"/>
                  </a:lnTo>
                  <a:lnTo>
                    <a:pt x="9" y="18"/>
                  </a:lnTo>
                  <a:lnTo>
                    <a:pt x="2" y="15"/>
                  </a:lnTo>
                  <a:lnTo>
                    <a:pt x="0" y="8"/>
                  </a:lnTo>
                  <a:lnTo>
                    <a:pt x="2" y="2"/>
                  </a:lnTo>
                  <a:lnTo>
                    <a:pt x="9"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50" name="Freeform 165">
              <a:extLst>
                <a:ext uri="{FF2B5EF4-FFF2-40B4-BE49-F238E27FC236}">
                  <a16:creationId xmlns:a16="http://schemas.microsoft.com/office/drawing/2014/main" id="{375AC885-A8C4-4515-A7E1-40CF6F0AE4ED}"/>
                </a:ext>
              </a:extLst>
            </p:cNvPr>
            <p:cNvSpPr>
              <a:spLocks/>
            </p:cNvSpPr>
            <p:nvPr/>
          </p:nvSpPr>
          <p:spPr bwMode="auto">
            <a:xfrm>
              <a:off x="8072438" y="4976813"/>
              <a:ext cx="39688" cy="26988"/>
            </a:xfrm>
            <a:custGeom>
              <a:avLst/>
              <a:gdLst>
                <a:gd name="T0" fmla="*/ 11 w 29"/>
                <a:gd name="T1" fmla="*/ 16 h 19"/>
                <a:gd name="T2" fmla="*/ 20 w 29"/>
                <a:gd name="T3" fmla="*/ 14 h 19"/>
                <a:gd name="T4" fmla="*/ 24 w 29"/>
                <a:gd name="T5" fmla="*/ 8 h 19"/>
                <a:gd name="T6" fmla="*/ 20 w 29"/>
                <a:gd name="T7" fmla="*/ 3 h 19"/>
                <a:gd name="T8" fmla="*/ 11 w 29"/>
                <a:gd name="T9" fmla="*/ 0 h 19"/>
                <a:gd name="T10" fmla="*/ 3 w 29"/>
                <a:gd name="T11" fmla="*/ 3 h 19"/>
                <a:gd name="T12" fmla="*/ 0 w 29"/>
                <a:gd name="T13" fmla="*/ 8 h 19"/>
                <a:gd name="T14" fmla="*/ 3 w 29"/>
                <a:gd name="T15" fmla="*/ 14 h 19"/>
                <a:gd name="T16" fmla="*/ 11 w 29"/>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9"/>
                <a:gd name="T29" fmla="*/ 29 w 29"/>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9">
                  <a:moveTo>
                    <a:pt x="13" y="18"/>
                  </a:moveTo>
                  <a:lnTo>
                    <a:pt x="23" y="16"/>
                  </a:lnTo>
                  <a:lnTo>
                    <a:pt x="28" y="9"/>
                  </a:lnTo>
                  <a:lnTo>
                    <a:pt x="23" y="3"/>
                  </a:lnTo>
                  <a:lnTo>
                    <a:pt x="13" y="0"/>
                  </a:lnTo>
                  <a:lnTo>
                    <a:pt x="3" y="3"/>
                  </a:lnTo>
                  <a:lnTo>
                    <a:pt x="0" y="9"/>
                  </a:lnTo>
                  <a:lnTo>
                    <a:pt x="3" y="16"/>
                  </a:lnTo>
                  <a:lnTo>
                    <a:pt x="13"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51" name="Freeform 166">
              <a:extLst>
                <a:ext uri="{FF2B5EF4-FFF2-40B4-BE49-F238E27FC236}">
                  <a16:creationId xmlns:a16="http://schemas.microsoft.com/office/drawing/2014/main" id="{A65F2578-AFEC-418A-9D94-45F92465AC36}"/>
                </a:ext>
              </a:extLst>
            </p:cNvPr>
            <p:cNvSpPr>
              <a:spLocks/>
            </p:cNvSpPr>
            <p:nvPr/>
          </p:nvSpPr>
          <p:spPr bwMode="auto">
            <a:xfrm>
              <a:off x="8186738" y="5041900"/>
              <a:ext cx="26988" cy="28575"/>
            </a:xfrm>
            <a:custGeom>
              <a:avLst/>
              <a:gdLst>
                <a:gd name="T0" fmla="*/ 8 w 20"/>
                <a:gd name="T1" fmla="*/ 17 h 19"/>
                <a:gd name="T2" fmla="*/ 14 w 20"/>
                <a:gd name="T3" fmla="*/ 15 h 19"/>
                <a:gd name="T4" fmla="*/ 16 w 20"/>
                <a:gd name="T5" fmla="*/ 9 h 19"/>
                <a:gd name="T6" fmla="*/ 14 w 20"/>
                <a:gd name="T7" fmla="*/ 3 h 19"/>
                <a:gd name="T8" fmla="*/ 8 w 20"/>
                <a:gd name="T9" fmla="*/ 0 h 19"/>
                <a:gd name="T10" fmla="*/ 3 w 20"/>
                <a:gd name="T11" fmla="*/ 3 h 19"/>
                <a:gd name="T12" fmla="*/ 0 w 20"/>
                <a:gd name="T13" fmla="*/ 9 h 19"/>
                <a:gd name="T14" fmla="*/ 3 w 20"/>
                <a:gd name="T15" fmla="*/ 15 h 19"/>
                <a:gd name="T16" fmla="*/ 8 w 20"/>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9" y="18"/>
                  </a:moveTo>
                  <a:lnTo>
                    <a:pt x="16" y="16"/>
                  </a:lnTo>
                  <a:lnTo>
                    <a:pt x="19" y="9"/>
                  </a:lnTo>
                  <a:lnTo>
                    <a:pt x="16" y="3"/>
                  </a:lnTo>
                  <a:lnTo>
                    <a:pt x="9" y="0"/>
                  </a:lnTo>
                  <a:lnTo>
                    <a:pt x="3" y="3"/>
                  </a:lnTo>
                  <a:lnTo>
                    <a:pt x="0" y="9"/>
                  </a:lnTo>
                  <a:lnTo>
                    <a:pt x="3" y="16"/>
                  </a:lnTo>
                  <a:lnTo>
                    <a:pt x="9"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52" name="Freeform 167">
              <a:extLst>
                <a:ext uri="{FF2B5EF4-FFF2-40B4-BE49-F238E27FC236}">
                  <a16:creationId xmlns:a16="http://schemas.microsoft.com/office/drawing/2014/main" id="{7C81A873-9903-42F0-BC09-35400EE5A844}"/>
                </a:ext>
              </a:extLst>
            </p:cNvPr>
            <p:cNvSpPr>
              <a:spLocks/>
            </p:cNvSpPr>
            <p:nvPr/>
          </p:nvSpPr>
          <p:spPr bwMode="auto">
            <a:xfrm>
              <a:off x="8124825" y="5041900"/>
              <a:ext cx="28575" cy="28575"/>
            </a:xfrm>
            <a:custGeom>
              <a:avLst/>
              <a:gdLst>
                <a:gd name="T0" fmla="*/ 9 w 21"/>
                <a:gd name="T1" fmla="*/ 17 h 19"/>
                <a:gd name="T2" fmla="*/ 15 w 21"/>
                <a:gd name="T3" fmla="*/ 15 h 19"/>
                <a:gd name="T4" fmla="*/ 17 w 21"/>
                <a:gd name="T5" fmla="*/ 9 h 19"/>
                <a:gd name="T6" fmla="*/ 15 w 21"/>
                <a:gd name="T7" fmla="*/ 3 h 19"/>
                <a:gd name="T8" fmla="*/ 9 w 21"/>
                <a:gd name="T9" fmla="*/ 0 h 19"/>
                <a:gd name="T10" fmla="*/ 2 w 21"/>
                <a:gd name="T11" fmla="*/ 3 h 19"/>
                <a:gd name="T12" fmla="*/ 0 w 21"/>
                <a:gd name="T13" fmla="*/ 9 h 19"/>
                <a:gd name="T14" fmla="*/ 2 w 21"/>
                <a:gd name="T15" fmla="*/ 15 h 19"/>
                <a:gd name="T16" fmla="*/ 9 w 21"/>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10" y="18"/>
                  </a:moveTo>
                  <a:lnTo>
                    <a:pt x="17" y="16"/>
                  </a:lnTo>
                  <a:lnTo>
                    <a:pt x="20" y="9"/>
                  </a:lnTo>
                  <a:lnTo>
                    <a:pt x="17" y="3"/>
                  </a:lnTo>
                  <a:lnTo>
                    <a:pt x="10" y="0"/>
                  </a:lnTo>
                  <a:lnTo>
                    <a:pt x="2" y="3"/>
                  </a:lnTo>
                  <a:lnTo>
                    <a:pt x="0" y="9"/>
                  </a:lnTo>
                  <a:lnTo>
                    <a:pt x="2" y="16"/>
                  </a:lnTo>
                  <a:lnTo>
                    <a:pt x="10"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1" name="Freeform 176">
              <a:extLst>
                <a:ext uri="{FF2B5EF4-FFF2-40B4-BE49-F238E27FC236}">
                  <a16:creationId xmlns:a16="http://schemas.microsoft.com/office/drawing/2014/main" id="{8C11BC53-C565-45F5-95B5-8DEAEFFD54B4}"/>
                </a:ext>
              </a:extLst>
            </p:cNvPr>
            <p:cNvSpPr>
              <a:spLocks/>
            </p:cNvSpPr>
            <p:nvPr/>
          </p:nvSpPr>
          <p:spPr bwMode="auto">
            <a:xfrm>
              <a:off x="7292975" y="4522788"/>
              <a:ext cx="28575" cy="28575"/>
            </a:xfrm>
            <a:custGeom>
              <a:avLst/>
              <a:gdLst>
                <a:gd name="T0" fmla="*/ 8 w 21"/>
                <a:gd name="T1" fmla="*/ 17 h 19"/>
                <a:gd name="T2" fmla="*/ 13 w 21"/>
                <a:gd name="T3" fmla="*/ 14 h 19"/>
                <a:gd name="T4" fmla="*/ 17 w 21"/>
                <a:gd name="T5" fmla="*/ 8 h 19"/>
                <a:gd name="T6" fmla="*/ 13 w 21"/>
                <a:gd name="T7" fmla="*/ 2 h 19"/>
                <a:gd name="T8" fmla="*/ 8 w 21"/>
                <a:gd name="T9" fmla="*/ 0 h 19"/>
                <a:gd name="T10" fmla="*/ 1 w 21"/>
                <a:gd name="T11" fmla="*/ 2 h 19"/>
                <a:gd name="T12" fmla="*/ 0 w 21"/>
                <a:gd name="T13" fmla="*/ 8 h 19"/>
                <a:gd name="T14" fmla="*/ 1 w 21"/>
                <a:gd name="T15" fmla="*/ 14 h 19"/>
                <a:gd name="T16" fmla="*/ 8 w 21"/>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9" y="18"/>
                  </a:moveTo>
                  <a:lnTo>
                    <a:pt x="15" y="15"/>
                  </a:lnTo>
                  <a:lnTo>
                    <a:pt x="20" y="8"/>
                  </a:lnTo>
                  <a:lnTo>
                    <a:pt x="15" y="2"/>
                  </a:lnTo>
                  <a:lnTo>
                    <a:pt x="9" y="0"/>
                  </a:lnTo>
                  <a:lnTo>
                    <a:pt x="1" y="2"/>
                  </a:lnTo>
                  <a:lnTo>
                    <a:pt x="0" y="8"/>
                  </a:lnTo>
                  <a:lnTo>
                    <a:pt x="1" y="15"/>
                  </a:lnTo>
                  <a:lnTo>
                    <a:pt x="9"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2" name="Freeform 177">
              <a:extLst>
                <a:ext uri="{FF2B5EF4-FFF2-40B4-BE49-F238E27FC236}">
                  <a16:creationId xmlns:a16="http://schemas.microsoft.com/office/drawing/2014/main" id="{DAAE2E85-82E8-418D-8FAE-39930873F1CC}"/>
                </a:ext>
              </a:extLst>
            </p:cNvPr>
            <p:cNvSpPr>
              <a:spLocks/>
            </p:cNvSpPr>
            <p:nvPr/>
          </p:nvSpPr>
          <p:spPr bwMode="auto">
            <a:xfrm>
              <a:off x="7242175" y="4352925"/>
              <a:ext cx="52388" cy="141288"/>
            </a:xfrm>
            <a:custGeom>
              <a:avLst/>
              <a:gdLst>
                <a:gd name="T0" fmla="*/ 16 w 39"/>
                <a:gd name="T1" fmla="*/ 0 h 96"/>
                <a:gd name="T2" fmla="*/ 10 w 39"/>
                <a:gd name="T3" fmla="*/ 0 h 96"/>
                <a:gd name="T4" fmla="*/ 3 w 39"/>
                <a:gd name="T5" fmla="*/ 2 h 96"/>
                <a:gd name="T6" fmla="*/ 2 w 39"/>
                <a:gd name="T7" fmla="*/ 6 h 96"/>
                <a:gd name="T8" fmla="*/ 0 w 39"/>
                <a:gd name="T9" fmla="*/ 22 h 96"/>
                <a:gd name="T10" fmla="*/ 0 w 39"/>
                <a:gd name="T11" fmla="*/ 45 h 96"/>
                <a:gd name="T12" fmla="*/ 2 w 39"/>
                <a:gd name="T13" fmla="*/ 50 h 96"/>
                <a:gd name="T14" fmla="*/ 2 w 39"/>
                <a:gd name="T15" fmla="*/ 52 h 96"/>
                <a:gd name="T16" fmla="*/ 0 w 39"/>
                <a:gd name="T17" fmla="*/ 55 h 96"/>
                <a:gd name="T18" fmla="*/ 0 w 39"/>
                <a:gd name="T19" fmla="*/ 61 h 96"/>
                <a:gd name="T20" fmla="*/ 4 w 39"/>
                <a:gd name="T21" fmla="*/ 75 h 96"/>
                <a:gd name="T22" fmla="*/ 12 w 39"/>
                <a:gd name="T23" fmla="*/ 88 h 96"/>
                <a:gd name="T24" fmla="*/ 16 w 39"/>
                <a:gd name="T25" fmla="*/ 86 h 96"/>
                <a:gd name="T26" fmla="*/ 19 w 39"/>
                <a:gd name="T27" fmla="*/ 81 h 96"/>
                <a:gd name="T28" fmla="*/ 20 w 39"/>
                <a:gd name="T29" fmla="*/ 51 h 96"/>
                <a:gd name="T30" fmla="*/ 25 w 39"/>
                <a:gd name="T31" fmla="*/ 38 h 96"/>
                <a:gd name="T32" fmla="*/ 26 w 39"/>
                <a:gd name="T33" fmla="*/ 30 h 96"/>
                <a:gd name="T34" fmla="*/ 29 w 39"/>
                <a:gd name="T35" fmla="*/ 20 h 96"/>
                <a:gd name="T36" fmla="*/ 30 w 39"/>
                <a:gd name="T37" fmla="*/ 12 h 96"/>
                <a:gd name="T38" fmla="*/ 32 w 39"/>
                <a:gd name="T39" fmla="*/ 0 h 96"/>
                <a:gd name="T40" fmla="*/ 25 w 39"/>
                <a:gd name="T41" fmla="*/ 1 h 96"/>
                <a:gd name="T42" fmla="*/ 16 w 39"/>
                <a:gd name="T43" fmla="*/ 0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
                <a:gd name="T67" fmla="*/ 0 h 96"/>
                <a:gd name="T68" fmla="*/ 39 w 39"/>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 h="96">
                  <a:moveTo>
                    <a:pt x="19" y="0"/>
                  </a:moveTo>
                  <a:lnTo>
                    <a:pt x="12" y="0"/>
                  </a:lnTo>
                  <a:lnTo>
                    <a:pt x="4" y="2"/>
                  </a:lnTo>
                  <a:lnTo>
                    <a:pt x="2" y="7"/>
                  </a:lnTo>
                  <a:lnTo>
                    <a:pt x="0" y="24"/>
                  </a:lnTo>
                  <a:lnTo>
                    <a:pt x="0" y="48"/>
                  </a:lnTo>
                  <a:lnTo>
                    <a:pt x="2" y="54"/>
                  </a:lnTo>
                  <a:lnTo>
                    <a:pt x="2" y="56"/>
                  </a:lnTo>
                  <a:lnTo>
                    <a:pt x="0" y="59"/>
                  </a:lnTo>
                  <a:lnTo>
                    <a:pt x="0" y="66"/>
                  </a:lnTo>
                  <a:lnTo>
                    <a:pt x="5" y="81"/>
                  </a:lnTo>
                  <a:lnTo>
                    <a:pt x="14" y="95"/>
                  </a:lnTo>
                  <a:lnTo>
                    <a:pt x="19" y="93"/>
                  </a:lnTo>
                  <a:lnTo>
                    <a:pt x="23" y="87"/>
                  </a:lnTo>
                  <a:lnTo>
                    <a:pt x="24" y="55"/>
                  </a:lnTo>
                  <a:lnTo>
                    <a:pt x="30" y="41"/>
                  </a:lnTo>
                  <a:lnTo>
                    <a:pt x="31" y="32"/>
                  </a:lnTo>
                  <a:lnTo>
                    <a:pt x="34" y="22"/>
                  </a:lnTo>
                  <a:lnTo>
                    <a:pt x="35" y="13"/>
                  </a:lnTo>
                  <a:lnTo>
                    <a:pt x="38" y="0"/>
                  </a:lnTo>
                  <a:lnTo>
                    <a:pt x="30" y="1"/>
                  </a:lnTo>
                  <a:lnTo>
                    <a:pt x="19"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3" name="Freeform 178">
              <a:extLst>
                <a:ext uri="{FF2B5EF4-FFF2-40B4-BE49-F238E27FC236}">
                  <a16:creationId xmlns:a16="http://schemas.microsoft.com/office/drawing/2014/main" id="{79318C57-6B1A-4502-8A8E-C988E88339AB}"/>
                </a:ext>
              </a:extLst>
            </p:cNvPr>
            <p:cNvSpPr>
              <a:spLocks/>
            </p:cNvSpPr>
            <p:nvPr/>
          </p:nvSpPr>
          <p:spPr bwMode="auto">
            <a:xfrm>
              <a:off x="7196138" y="4497388"/>
              <a:ext cx="46038" cy="50800"/>
            </a:xfrm>
            <a:custGeom>
              <a:avLst/>
              <a:gdLst>
                <a:gd name="T0" fmla="*/ 0 w 33"/>
                <a:gd name="T1" fmla="*/ 26 h 35"/>
                <a:gd name="T2" fmla="*/ 0 w 33"/>
                <a:gd name="T3" fmla="*/ 27 h 35"/>
                <a:gd name="T4" fmla="*/ 2 w 33"/>
                <a:gd name="T5" fmla="*/ 31 h 35"/>
                <a:gd name="T6" fmla="*/ 12 w 33"/>
                <a:gd name="T7" fmla="*/ 26 h 35"/>
                <a:gd name="T8" fmla="*/ 18 w 33"/>
                <a:gd name="T9" fmla="*/ 20 h 35"/>
                <a:gd name="T10" fmla="*/ 28 w 33"/>
                <a:gd name="T11" fmla="*/ 5 h 35"/>
                <a:gd name="T12" fmla="*/ 28 w 33"/>
                <a:gd name="T13" fmla="*/ 1 h 35"/>
                <a:gd name="T14" fmla="*/ 25 w 33"/>
                <a:gd name="T15" fmla="*/ 0 h 35"/>
                <a:gd name="T16" fmla="*/ 23 w 33"/>
                <a:gd name="T17" fmla="*/ 0 h 35"/>
                <a:gd name="T18" fmla="*/ 10 w 33"/>
                <a:gd name="T19" fmla="*/ 14 h 35"/>
                <a:gd name="T20" fmla="*/ 0 w 33"/>
                <a:gd name="T21" fmla="*/ 26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5"/>
                <a:gd name="T35" fmla="*/ 33 w 33"/>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5">
                  <a:moveTo>
                    <a:pt x="0" y="28"/>
                  </a:moveTo>
                  <a:lnTo>
                    <a:pt x="0" y="30"/>
                  </a:lnTo>
                  <a:lnTo>
                    <a:pt x="2" y="34"/>
                  </a:lnTo>
                  <a:lnTo>
                    <a:pt x="14" y="28"/>
                  </a:lnTo>
                  <a:lnTo>
                    <a:pt x="21" y="22"/>
                  </a:lnTo>
                  <a:lnTo>
                    <a:pt x="32" y="5"/>
                  </a:lnTo>
                  <a:lnTo>
                    <a:pt x="32" y="1"/>
                  </a:lnTo>
                  <a:lnTo>
                    <a:pt x="29" y="0"/>
                  </a:lnTo>
                  <a:lnTo>
                    <a:pt x="26" y="0"/>
                  </a:lnTo>
                  <a:lnTo>
                    <a:pt x="11" y="15"/>
                  </a:lnTo>
                  <a:lnTo>
                    <a:pt x="0" y="2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4" name="Freeform 179">
              <a:extLst>
                <a:ext uri="{FF2B5EF4-FFF2-40B4-BE49-F238E27FC236}">
                  <a16:creationId xmlns:a16="http://schemas.microsoft.com/office/drawing/2014/main" id="{5C7D7E31-5463-4CC7-AB62-26A740AE78DA}"/>
                </a:ext>
              </a:extLst>
            </p:cNvPr>
            <p:cNvSpPr>
              <a:spLocks/>
            </p:cNvSpPr>
            <p:nvPr/>
          </p:nvSpPr>
          <p:spPr bwMode="auto">
            <a:xfrm>
              <a:off x="7270750" y="4491038"/>
              <a:ext cx="31750" cy="34925"/>
            </a:xfrm>
            <a:custGeom>
              <a:avLst/>
              <a:gdLst>
                <a:gd name="T0" fmla="*/ 10 w 23"/>
                <a:gd name="T1" fmla="*/ 0 h 24"/>
                <a:gd name="T2" fmla="*/ 3 w 23"/>
                <a:gd name="T3" fmla="*/ 2 h 24"/>
                <a:gd name="T4" fmla="*/ 2 w 23"/>
                <a:gd name="T5" fmla="*/ 3 h 24"/>
                <a:gd name="T6" fmla="*/ 0 w 23"/>
                <a:gd name="T7" fmla="*/ 6 h 24"/>
                <a:gd name="T8" fmla="*/ 1 w 23"/>
                <a:gd name="T9" fmla="*/ 14 h 24"/>
                <a:gd name="T10" fmla="*/ 4 w 23"/>
                <a:gd name="T11" fmla="*/ 21 h 24"/>
                <a:gd name="T12" fmla="*/ 14 w 23"/>
                <a:gd name="T13" fmla="*/ 19 h 24"/>
                <a:gd name="T14" fmla="*/ 17 w 23"/>
                <a:gd name="T15" fmla="*/ 17 h 24"/>
                <a:gd name="T16" fmla="*/ 19 w 23"/>
                <a:gd name="T17" fmla="*/ 14 h 24"/>
                <a:gd name="T18" fmla="*/ 16 w 23"/>
                <a:gd name="T19" fmla="*/ 6 h 24"/>
                <a:gd name="T20" fmla="*/ 10 w 23"/>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24"/>
                <a:gd name="T35" fmla="*/ 23 w 23"/>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24">
                  <a:moveTo>
                    <a:pt x="11" y="0"/>
                  </a:moveTo>
                  <a:lnTo>
                    <a:pt x="4" y="2"/>
                  </a:lnTo>
                  <a:lnTo>
                    <a:pt x="2" y="3"/>
                  </a:lnTo>
                  <a:lnTo>
                    <a:pt x="0" y="6"/>
                  </a:lnTo>
                  <a:lnTo>
                    <a:pt x="1" y="15"/>
                  </a:lnTo>
                  <a:lnTo>
                    <a:pt x="5" y="23"/>
                  </a:lnTo>
                  <a:lnTo>
                    <a:pt x="16" y="21"/>
                  </a:lnTo>
                  <a:lnTo>
                    <a:pt x="20" y="18"/>
                  </a:lnTo>
                  <a:lnTo>
                    <a:pt x="22" y="15"/>
                  </a:lnTo>
                  <a:lnTo>
                    <a:pt x="18" y="6"/>
                  </a:lnTo>
                  <a:lnTo>
                    <a:pt x="11"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5" name="Freeform 180">
              <a:extLst>
                <a:ext uri="{FF2B5EF4-FFF2-40B4-BE49-F238E27FC236}">
                  <a16:creationId xmlns:a16="http://schemas.microsoft.com/office/drawing/2014/main" id="{16012302-427D-4408-88C8-B5749C3F0652}"/>
                </a:ext>
              </a:extLst>
            </p:cNvPr>
            <p:cNvSpPr>
              <a:spLocks/>
            </p:cNvSpPr>
            <p:nvPr/>
          </p:nvSpPr>
          <p:spPr bwMode="auto">
            <a:xfrm>
              <a:off x="7280275" y="4438650"/>
              <a:ext cx="36513" cy="26988"/>
            </a:xfrm>
            <a:custGeom>
              <a:avLst/>
              <a:gdLst>
                <a:gd name="T0" fmla="*/ 11 w 27"/>
                <a:gd name="T1" fmla="*/ 16 h 19"/>
                <a:gd name="T2" fmla="*/ 19 w 27"/>
                <a:gd name="T3" fmla="*/ 13 h 19"/>
                <a:gd name="T4" fmla="*/ 22 w 27"/>
                <a:gd name="T5" fmla="*/ 8 h 19"/>
                <a:gd name="T6" fmla="*/ 20 w 27"/>
                <a:gd name="T7" fmla="*/ 4 h 19"/>
                <a:gd name="T8" fmla="*/ 19 w 27"/>
                <a:gd name="T9" fmla="*/ 3 h 19"/>
                <a:gd name="T10" fmla="*/ 11 w 27"/>
                <a:gd name="T11" fmla="*/ 0 h 19"/>
                <a:gd name="T12" fmla="*/ 3 w 27"/>
                <a:gd name="T13" fmla="*/ 3 h 19"/>
                <a:gd name="T14" fmla="*/ 0 w 27"/>
                <a:gd name="T15" fmla="*/ 8 h 19"/>
                <a:gd name="T16" fmla="*/ 3 w 27"/>
                <a:gd name="T17" fmla="*/ 13 h 19"/>
                <a:gd name="T18" fmla="*/ 11 w 27"/>
                <a:gd name="T19" fmla="*/ 16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19"/>
                <a:gd name="T32" fmla="*/ 27 w 27"/>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19">
                  <a:moveTo>
                    <a:pt x="13" y="18"/>
                  </a:moveTo>
                  <a:lnTo>
                    <a:pt x="22" y="15"/>
                  </a:lnTo>
                  <a:lnTo>
                    <a:pt x="26" y="9"/>
                  </a:lnTo>
                  <a:lnTo>
                    <a:pt x="24" y="4"/>
                  </a:lnTo>
                  <a:lnTo>
                    <a:pt x="22" y="3"/>
                  </a:lnTo>
                  <a:lnTo>
                    <a:pt x="13" y="0"/>
                  </a:lnTo>
                  <a:lnTo>
                    <a:pt x="4" y="3"/>
                  </a:lnTo>
                  <a:lnTo>
                    <a:pt x="0" y="9"/>
                  </a:lnTo>
                  <a:lnTo>
                    <a:pt x="4" y="15"/>
                  </a:lnTo>
                  <a:lnTo>
                    <a:pt x="13"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6" name="Freeform 181">
              <a:extLst>
                <a:ext uri="{FF2B5EF4-FFF2-40B4-BE49-F238E27FC236}">
                  <a16:creationId xmlns:a16="http://schemas.microsoft.com/office/drawing/2014/main" id="{2FDF6E7A-8164-41E3-A50F-DE87EA40E9A2}"/>
                </a:ext>
              </a:extLst>
            </p:cNvPr>
            <p:cNvSpPr>
              <a:spLocks/>
            </p:cNvSpPr>
            <p:nvPr/>
          </p:nvSpPr>
          <p:spPr bwMode="auto">
            <a:xfrm>
              <a:off x="7316788" y="4483100"/>
              <a:ext cx="30163" cy="30163"/>
            </a:xfrm>
            <a:custGeom>
              <a:avLst/>
              <a:gdLst>
                <a:gd name="T0" fmla="*/ 10 w 22"/>
                <a:gd name="T1" fmla="*/ 18 h 20"/>
                <a:gd name="T2" fmla="*/ 14 w 22"/>
                <a:gd name="T3" fmla="*/ 14 h 20"/>
                <a:gd name="T4" fmla="*/ 18 w 22"/>
                <a:gd name="T5" fmla="*/ 8 h 20"/>
                <a:gd name="T6" fmla="*/ 14 w 22"/>
                <a:gd name="T7" fmla="*/ 2 h 20"/>
                <a:gd name="T8" fmla="*/ 10 w 22"/>
                <a:gd name="T9" fmla="*/ 0 h 20"/>
                <a:gd name="T10" fmla="*/ 3 w 22"/>
                <a:gd name="T11" fmla="*/ 2 h 20"/>
                <a:gd name="T12" fmla="*/ 0 w 22"/>
                <a:gd name="T13" fmla="*/ 8 h 20"/>
                <a:gd name="T14" fmla="*/ 3 w 22"/>
                <a:gd name="T15" fmla="*/ 14 h 20"/>
                <a:gd name="T16" fmla="*/ 10 w 22"/>
                <a:gd name="T17" fmla="*/ 18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0"/>
                <a:gd name="T29" fmla="*/ 22 w 22"/>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0">
                  <a:moveTo>
                    <a:pt x="11" y="19"/>
                  </a:moveTo>
                  <a:lnTo>
                    <a:pt x="16" y="15"/>
                  </a:lnTo>
                  <a:lnTo>
                    <a:pt x="21" y="8"/>
                  </a:lnTo>
                  <a:lnTo>
                    <a:pt x="16" y="2"/>
                  </a:lnTo>
                  <a:lnTo>
                    <a:pt x="11" y="0"/>
                  </a:lnTo>
                  <a:lnTo>
                    <a:pt x="3" y="2"/>
                  </a:lnTo>
                  <a:lnTo>
                    <a:pt x="0" y="8"/>
                  </a:lnTo>
                  <a:lnTo>
                    <a:pt x="3" y="15"/>
                  </a:lnTo>
                  <a:lnTo>
                    <a:pt x="11" y="19"/>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7" name="Freeform 182">
              <a:extLst>
                <a:ext uri="{FF2B5EF4-FFF2-40B4-BE49-F238E27FC236}">
                  <a16:creationId xmlns:a16="http://schemas.microsoft.com/office/drawing/2014/main" id="{D2A633C7-79B1-4E40-AF33-43C606F4DE11}"/>
                </a:ext>
              </a:extLst>
            </p:cNvPr>
            <p:cNvSpPr>
              <a:spLocks/>
            </p:cNvSpPr>
            <p:nvPr/>
          </p:nvSpPr>
          <p:spPr bwMode="auto">
            <a:xfrm>
              <a:off x="7280275" y="4535488"/>
              <a:ext cx="90488" cy="66675"/>
            </a:xfrm>
            <a:custGeom>
              <a:avLst/>
              <a:gdLst>
                <a:gd name="T0" fmla="*/ 37 w 67"/>
                <a:gd name="T1" fmla="*/ 0 h 46"/>
                <a:gd name="T2" fmla="*/ 27 w 67"/>
                <a:gd name="T3" fmla="*/ 6 h 46"/>
                <a:gd name="T4" fmla="*/ 18 w 67"/>
                <a:gd name="T5" fmla="*/ 8 h 46"/>
                <a:gd name="T6" fmla="*/ 4 w 67"/>
                <a:gd name="T7" fmla="*/ 14 h 46"/>
                <a:gd name="T8" fmla="*/ 1 w 67"/>
                <a:gd name="T9" fmla="*/ 22 h 46"/>
                <a:gd name="T10" fmla="*/ 0 w 67"/>
                <a:gd name="T11" fmla="*/ 28 h 46"/>
                <a:gd name="T12" fmla="*/ 3 w 67"/>
                <a:gd name="T13" fmla="*/ 30 h 46"/>
                <a:gd name="T14" fmla="*/ 19 w 67"/>
                <a:gd name="T15" fmla="*/ 27 h 46"/>
                <a:gd name="T16" fmla="*/ 19 w 67"/>
                <a:gd name="T17" fmla="*/ 33 h 46"/>
                <a:gd name="T18" fmla="*/ 20 w 67"/>
                <a:gd name="T19" fmla="*/ 37 h 46"/>
                <a:gd name="T20" fmla="*/ 23 w 67"/>
                <a:gd name="T21" fmla="*/ 38 h 46"/>
                <a:gd name="T22" fmla="*/ 33 w 67"/>
                <a:gd name="T23" fmla="*/ 41 h 46"/>
                <a:gd name="T24" fmla="*/ 37 w 67"/>
                <a:gd name="T25" fmla="*/ 41 h 46"/>
                <a:gd name="T26" fmla="*/ 41 w 67"/>
                <a:gd name="T27" fmla="*/ 37 h 46"/>
                <a:gd name="T28" fmla="*/ 42 w 67"/>
                <a:gd name="T29" fmla="*/ 33 h 46"/>
                <a:gd name="T30" fmla="*/ 38 w 67"/>
                <a:gd name="T31" fmla="*/ 28 h 46"/>
                <a:gd name="T32" fmla="*/ 41 w 67"/>
                <a:gd name="T33" fmla="*/ 25 h 46"/>
                <a:gd name="T34" fmla="*/ 43 w 67"/>
                <a:gd name="T35" fmla="*/ 26 h 46"/>
                <a:gd name="T36" fmla="*/ 44 w 67"/>
                <a:gd name="T37" fmla="*/ 27 h 46"/>
                <a:gd name="T38" fmla="*/ 49 w 67"/>
                <a:gd name="T39" fmla="*/ 30 h 46"/>
                <a:gd name="T40" fmla="*/ 53 w 67"/>
                <a:gd name="T41" fmla="*/ 27 h 46"/>
                <a:gd name="T42" fmla="*/ 54 w 67"/>
                <a:gd name="T43" fmla="*/ 21 h 46"/>
                <a:gd name="T44" fmla="*/ 56 w 67"/>
                <a:gd name="T45" fmla="*/ 15 h 46"/>
                <a:gd name="T46" fmla="*/ 53 w 67"/>
                <a:gd name="T47" fmla="*/ 9 h 46"/>
                <a:gd name="T48" fmla="*/ 45 w 67"/>
                <a:gd name="T49" fmla="*/ 2 h 46"/>
                <a:gd name="T50" fmla="*/ 43 w 67"/>
                <a:gd name="T51" fmla="*/ 0 h 46"/>
                <a:gd name="T52" fmla="*/ 37 w 67"/>
                <a:gd name="T53" fmla="*/ 0 h 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46"/>
                <a:gd name="T83" fmla="*/ 67 w 67"/>
                <a:gd name="T84" fmla="*/ 46 h 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46">
                  <a:moveTo>
                    <a:pt x="43" y="0"/>
                  </a:moveTo>
                  <a:lnTo>
                    <a:pt x="32" y="7"/>
                  </a:lnTo>
                  <a:lnTo>
                    <a:pt x="21" y="9"/>
                  </a:lnTo>
                  <a:lnTo>
                    <a:pt x="5" y="15"/>
                  </a:lnTo>
                  <a:lnTo>
                    <a:pt x="1" y="24"/>
                  </a:lnTo>
                  <a:lnTo>
                    <a:pt x="0" y="31"/>
                  </a:lnTo>
                  <a:lnTo>
                    <a:pt x="3" y="33"/>
                  </a:lnTo>
                  <a:lnTo>
                    <a:pt x="22" y="30"/>
                  </a:lnTo>
                  <a:lnTo>
                    <a:pt x="22" y="36"/>
                  </a:lnTo>
                  <a:lnTo>
                    <a:pt x="23" y="40"/>
                  </a:lnTo>
                  <a:lnTo>
                    <a:pt x="27" y="42"/>
                  </a:lnTo>
                  <a:lnTo>
                    <a:pt x="39" y="45"/>
                  </a:lnTo>
                  <a:lnTo>
                    <a:pt x="43" y="45"/>
                  </a:lnTo>
                  <a:lnTo>
                    <a:pt x="48" y="41"/>
                  </a:lnTo>
                  <a:lnTo>
                    <a:pt x="49" y="36"/>
                  </a:lnTo>
                  <a:lnTo>
                    <a:pt x="45" y="31"/>
                  </a:lnTo>
                  <a:lnTo>
                    <a:pt x="48" y="27"/>
                  </a:lnTo>
                  <a:lnTo>
                    <a:pt x="50" y="28"/>
                  </a:lnTo>
                  <a:lnTo>
                    <a:pt x="52" y="30"/>
                  </a:lnTo>
                  <a:lnTo>
                    <a:pt x="58" y="33"/>
                  </a:lnTo>
                  <a:lnTo>
                    <a:pt x="62" y="30"/>
                  </a:lnTo>
                  <a:lnTo>
                    <a:pt x="64" y="23"/>
                  </a:lnTo>
                  <a:lnTo>
                    <a:pt x="66" y="16"/>
                  </a:lnTo>
                  <a:lnTo>
                    <a:pt x="62" y="10"/>
                  </a:lnTo>
                  <a:lnTo>
                    <a:pt x="53" y="2"/>
                  </a:lnTo>
                  <a:lnTo>
                    <a:pt x="50" y="0"/>
                  </a:lnTo>
                  <a:lnTo>
                    <a:pt x="43"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8" name="Freeform 183">
              <a:extLst>
                <a:ext uri="{FF2B5EF4-FFF2-40B4-BE49-F238E27FC236}">
                  <a16:creationId xmlns:a16="http://schemas.microsoft.com/office/drawing/2014/main" id="{28659D5F-9F2E-4A55-8D3D-91F6DC84EBFD}"/>
                </a:ext>
              </a:extLst>
            </p:cNvPr>
            <p:cNvSpPr>
              <a:spLocks/>
            </p:cNvSpPr>
            <p:nvPr/>
          </p:nvSpPr>
          <p:spPr bwMode="auto">
            <a:xfrm>
              <a:off x="7070725" y="4576763"/>
              <a:ext cx="161925" cy="139700"/>
            </a:xfrm>
            <a:custGeom>
              <a:avLst/>
              <a:gdLst>
                <a:gd name="T0" fmla="*/ 57 w 120"/>
                <a:gd name="T1" fmla="*/ 50 h 95"/>
                <a:gd name="T2" fmla="*/ 64 w 120"/>
                <a:gd name="T3" fmla="*/ 41 h 95"/>
                <a:gd name="T4" fmla="*/ 77 w 120"/>
                <a:gd name="T5" fmla="*/ 41 h 95"/>
                <a:gd name="T6" fmla="*/ 89 w 120"/>
                <a:gd name="T7" fmla="*/ 39 h 95"/>
                <a:gd name="T8" fmla="*/ 94 w 120"/>
                <a:gd name="T9" fmla="*/ 37 h 95"/>
                <a:gd name="T10" fmla="*/ 80 w 120"/>
                <a:gd name="T11" fmla="*/ 32 h 95"/>
                <a:gd name="T12" fmla="*/ 99 w 120"/>
                <a:gd name="T13" fmla="*/ 28 h 95"/>
                <a:gd name="T14" fmla="*/ 101 w 120"/>
                <a:gd name="T15" fmla="*/ 24 h 95"/>
                <a:gd name="T16" fmla="*/ 99 w 120"/>
                <a:gd name="T17" fmla="*/ 22 h 95"/>
                <a:gd name="T18" fmla="*/ 96 w 120"/>
                <a:gd name="T19" fmla="*/ 20 h 95"/>
                <a:gd name="T20" fmla="*/ 84 w 120"/>
                <a:gd name="T21" fmla="*/ 6 h 95"/>
                <a:gd name="T22" fmla="*/ 79 w 120"/>
                <a:gd name="T23" fmla="*/ 0 h 95"/>
                <a:gd name="T24" fmla="*/ 76 w 120"/>
                <a:gd name="T25" fmla="*/ 0 h 95"/>
                <a:gd name="T26" fmla="*/ 68 w 120"/>
                <a:gd name="T27" fmla="*/ 2 h 95"/>
                <a:gd name="T28" fmla="*/ 63 w 120"/>
                <a:gd name="T29" fmla="*/ 6 h 95"/>
                <a:gd name="T30" fmla="*/ 54 w 120"/>
                <a:gd name="T31" fmla="*/ 11 h 95"/>
                <a:gd name="T32" fmla="*/ 44 w 120"/>
                <a:gd name="T33" fmla="*/ 32 h 95"/>
                <a:gd name="T34" fmla="*/ 30 w 120"/>
                <a:gd name="T35" fmla="*/ 42 h 95"/>
                <a:gd name="T36" fmla="*/ 20 w 120"/>
                <a:gd name="T37" fmla="*/ 49 h 95"/>
                <a:gd name="T38" fmla="*/ 14 w 120"/>
                <a:gd name="T39" fmla="*/ 57 h 95"/>
                <a:gd name="T40" fmla="*/ 8 w 120"/>
                <a:gd name="T41" fmla="*/ 75 h 95"/>
                <a:gd name="T42" fmla="*/ 0 w 120"/>
                <a:gd name="T43" fmla="*/ 79 h 95"/>
                <a:gd name="T44" fmla="*/ 3 w 120"/>
                <a:gd name="T45" fmla="*/ 82 h 95"/>
                <a:gd name="T46" fmla="*/ 8 w 120"/>
                <a:gd name="T47" fmla="*/ 84 h 95"/>
                <a:gd name="T48" fmla="*/ 13 w 120"/>
                <a:gd name="T49" fmla="*/ 87 h 95"/>
                <a:gd name="T50" fmla="*/ 18 w 120"/>
                <a:gd name="T51" fmla="*/ 84 h 95"/>
                <a:gd name="T52" fmla="*/ 22 w 120"/>
                <a:gd name="T53" fmla="*/ 79 h 95"/>
                <a:gd name="T54" fmla="*/ 26 w 120"/>
                <a:gd name="T55" fmla="*/ 74 h 95"/>
                <a:gd name="T56" fmla="*/ 30 w 120"/>
                <a:gd name="T57" fmla="*/ 71 h 95"/>
                <a:gd name="T58" fmla="*/ 35 w 120"/>
                <a:gd name="T59" fmla="*/ 70 h 95"/>
                <a:gd name="T60" fmla="*/ 43 w 120"/>
                <a:gd name="T61" fmla="*/ 66 h 95"/>
                <a:gd name="T62" fmla="*/ 48 w 120"/>
                <a:gd name="T63" fmla="*/ 62 h 95"/>
                <a:gd name="T64" fmla="*/ 57 w 120"/>
                <a:gd name="T65" fmla="*/ 50 h 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0"/>
                <a:gd name="T100" fmla="*/ 0 h 95"/>
                <a:gd name="T101" fmla="*/ 120 w 120"/>
                <a:gd name="T102" fmla="*/ 95 h 9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0" h="95">
                  <a:moveTo>
                    <a:pt x="67" y="54"/>
                  </a:moveTo>
                  <a:lnTo>
                    <a:pt x="75" y="44"/>
                  </a:lnTo>
                  <a:lnTo>
                    <a:pt x="91" y="44"/>
                  </a:lnTo>
                  <a:lnTo>
                    <a:pt x="105" y="42"/>
                  </a:lnTo>
                  <a:lnTo>
                    <a:pt x="110" y="40"/>
                  </a:lnTo>
                  <a:lnTo>
                    <a:pt x="94" y="35"/>
                  </a:lnTo>
                  <a:lnTo>
                    <a:pt x="117" y="30"/>
                  </a:lnTo>
                  <a:lnTo>
                    <a:pt x="119" y="26"/>
                  </a:lnTo>
                  <a:lnTo>
                    <a:pt x="117" y="24"/>
                  </a:lnTo>
                  <a:lnTo>
                    <a:pt x="113" y="22"/>
                  </a:lnTo>
                  <a:lnTo>
                    <a:pt x="99" y="6"/>
                  </a:lnTo>
                  <a:lnTo>
                    <a:pt x="93" y="0"/>
                  </a:lnTo>
                  <a:lnTo>
                    <a:pt x="89" y="0"/>
                  </a:lnTo>
                  <a:lnTo>
                    <a:pt x="80" y="2"/>
                  </a:lnTo>
                  <a:lnTo>
                    <a:pt x="74" y="6"/>
                  </a:lnTo>
                  <a:lnTo>
                    <a:pt x="63" y="12"/>
                  </a:lnTo>
                  <a:lnTo>
                    <a:pt x="52" y="35"/>
                  </a:lnTo>
                  <a:lnTo>
                    <a:pt x="35" y="45"/>
                  </a:lnTo>
                  <a:lnTo>
                    <a:pt x="24" y="53"/>
                  </a:lnTo>
                  <a:lnTo>
                    <a:pt x="17" y="61"/>
                  </a:lnTo>
                  <a:lnTo>
                    <a:pt x="9" y="81"/>
                  </a:lnTo>
                  <a:lnTo>
                    <a:pt x="0" y="85"/>
                  </a:lnTo>
                  <a:lnTo>
                    <a:pt x="4" y="89"/>
                  </a:lnTo>
                  <a:lnTo>
                    <a:pt x="9" y="91"/>
                  </a:lnTo>
                  <a:lnTo>
                    <a:pt x="15" y="94"/>
                  </a:lnTo>
                  <a:lnTo>
                    <a:pt x="21" y="91"/>
                  </a:lnTo>
                  <a:lnTo>
                    <a:pt x="26" y="85"/>
                  </a:lnTo>
                  <a:lnTo>
                    <a:pt x="31" y="80"/>
                  </a:lnTo>
                  <a:lnTo>
                    <a:pt x="35" y="77"/>
                  </a:lnTo>
                  <a:lnTo>
                    <a:pt x="41" y="76"/>
                  </a:lnTo>
                  <a:lnTo>
                    <a:pt x="51" y="71"/>
                  </a:lnTo>
                  <a:lnTo>
                    <a:pt x="57" y="67"/>
                  </a:lnTo>
                  <a:lnTo>
                    <a:pt x="67" y="54"/>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69" name="Freeform 184">
              <a:extLst>
                <a:ext uri="{FF2B5EF4-FFF2-40B4-BE49-F238E27FC236}">
                  <a16:creationId xmlns:a16="http://schemas.microsoft.com/office/drawing/2014/main" id="{4728725B-FDB3-4AD3-90A7-AE752C416032}"/>
                </a:ext>
              </a:extLst>
            </p:cNvPr>
            <p:cNvSpPr>
              <a:spLocks/>
            </p:cNvSpPr>
            <p:nvPr/>
          </p:nvSpPr>
          <p:spPr bwMode="auto">
            <a:xfrm>
              <a:off x="7043738" y="4638675"/>
              <a:ext cx="179388" cy="160338"/>
            </a:xfrm>
            <a:custGeom>
              <a:avLst/>
              <a:gdLst>
                <a:gd name="T0" fmla="*/ 94 w 132"/>
                <a:gd name="T1" fmla="*/ 25 h 109"/>
                <a:gd name="T2" fmla="*/ 93 w 132"/>
                <a:gd name="T3" fmla="*/ 30 h 109"/>
                <a:gd name="T4" fmla="*/ 99 w 132"/>
                <a:gd name="T5" fmla="*/ 31 h 109"/>
                <a:gd name="T6" fmla="*/ 106 w 132"/>
                <a:gd name="T7" fmla="*/ 33 h 109"/>
                <a:gd name="T8" fmla="*/ 110 w 132"/>
                <a:gd name="T9" fmla="*/ 38 h 109"/>
                <a:gd name="T10" fmla="*/ 108 w 132"/>
                <a:gd name="T11" fmla="*/ 43 h 109"/>
                <a:gd name="T12" fmla="*/ 104 w 132"/>
                <a:gd name="T13" fmla="*/ 44 h 109"/>
                <a:gd name="T14" fmla="*/ 99 w 132"/>
                <a:gd name="T15" fmla="*/ 44 h 109"/>
                <a:gd name="T16" fmla="*/ 94 w 132"/>
                <a:gd name="T17" fmla="*/ 47 h 109"/>
                <a:gd name="T18" fmla="*/ 92 w 132"/>
                <a:gd name="T19" fmla="*/ 51 h 109"/>
                <a:gd name="T20" fmla="*/ 90 w 132"/>
                <a:gd name="T21" fmla="*/ 63 h 109"/>
                <a:gd name="T22" fmla="*/ 82 w 132"/>
                <a:gd name="T23" fmla="*/ 68 h 109"/>
                <a:gd name="T24" fmla="*/ 78 w 132"/>
                <a:gd name="T25" fmla="*/ 72 h 109"/>
                <a:gd name="T26" fmla="*/ 76 w 132"/>
                <a:gd name="T27" fmla="*/ 81 h 109"/>
                <a:gd name="T28" fmla="*/ 73 w 132"/>
                <a:gd name="T29" fmla="*/ 93 h 109"/>
                <a:gd name="T30" fmla="*/ 66 w 132"/>
                <a:gd name="T31" fmla="*/ 97 h 109"/>
                <a:gd name="T32" fmla="*/ 60 w 132"/>
                <a:gd name="T33" fmla="*/ 100 h 109"/>
                <a:gd name="T34" fmla="*/ 57 w 132"/>
                <a:gd name="T35" fmla="*/ 93 h 109"/>
                <a:gd name="T36" fmla="*/ 45 w 132"/>
                <a:gd name="T37" fmla="*/ 93 h 109"/>
                <a:gd name="T38" fmla="*/ 46 w 132"/>
                <a:gd name="T39" fmla="*/ 89 h 109"/>
                <a:gd name="T40" fmla="*/ 44 w 132"/>
                <a:gd name="T41" fmla="*/ 88 h 109"/>
                <a:gd name="T42" fmla="*/ 37 w 132"/>
                <a:gd name="T43" fmla="*/ 87 h 109"/>
                <a:gd name="T44" fmla="*/ 27 w 132"/>
                <a:gd name="T45" fmla="*/ 87 h 109"/>
                <a:gd name="T46" fmla="*/ 21 w 132"/>
                <a:gd name="T47" fmla="*/ 83 h 109"/>
                <a:gd name="T48" fmla="*/ 12 w 132"/>
                <a:gd name="T49" fmla="*/ 78 h 109"/>
                <a:gd name="T50" fmla="*/ 2 w 132"/>
                <a:gd name="T51" fmla="*/ 73 h 109"/>
                <a:gd name="T52" fmla="*/ 0 w 132"/>
                <a:gd name="T53" fmla="*/ 70 h 109"/>
                <a:gd name="T54" fmla="*/ 0 w 132"/>
                <a:gd name="T55" fmla="*/ 68 h 109"/>
                <a:gd name="T56" fmla="*/ 3 w 132"/>
                <a:gd name="T57" fmla="*/ 65 h 109"/>
                <a:gd name="T58" fmla="*/ 2 w 132"/>
                <a:gd name="T59" fmla="*/ 55 h 109"/>
                <a:gd name="T60" fmla="*/ 3 w 132"/>
                <a:gd name="T61" fmla="*/ 44 h 109"/>
                <a:gd name="T62" fmla="*/ 7 w 132"/>
                <a:gd name="T63" fmla="*/ 38 h 109"/>
                <a:gd name="T64" fmla="*/ 26 w 132"/>
                <a:gd name="T65" fmla="*/ 38 h 109"/>
                <a:gd name="T66" fmla="*/ 19 w 132"/>
                <a:gd name="T67" fmla="*/ 42 h 109"/>
                <a:gd name="T68" fmla="*/ 27 w 132"/>
                <a:gd name="T69" fmla="*/ 46 h 109"/>
                <a:gd name="T70" fmla="*/ 33 w 132"/>
                <a:gd name="T71" fmla="*/ 47 h 109"/>
                <a:gd name="T72" fmla="*/ 41 w 132"/>
                <a:gd name="T73" fmla="*/ 40 h 109"/>
                <a:gd name="T74" fmla="*/ 44 w 132"/>
                <a:gd name="T75" fmla="*/ 37 h 109"/>
                <a:gd name="T76" fmla="*/ 51 w 132"/>
                <a:gd name="T77" fmla="*/ 33 h 109"/>
                <a:gd name="T78" fmla="*/ 61 w 132"/>
                <a:gd name="T79" fmla="*/ 28 h 109"/>
                <a:gd name="T80" fmla="*/ 67 w 132"/>
                <a:gd name="T81" fmla="*/ 25 h 109"/>
                <a:gd name="T82" fmla="*/ 76 w 132"/>
                <a:gd name="T83" fmla="*/ 12 h 109"/>
                <a:gd name="T84" fmla="*/ 82 w 132"/>
                <a:gd name="T85" fmla="*/ 3 h 109"/>
                <a:gd name="T86" fmla="*/ 94 w 132"/>
                <a:gd name="T87" fmla="*/ 3 h 109"/>
                <a:gd name="T88" fmla="*/ 104 w 132"/>
                <a:gd name="T89" fmla="*/ 2 h 109"/>
                <a:gd name="T90" fmla="*/ 112 w 132"/>
                <a:gd name="T91" fmla="*/ 0 h 109"/>
                <a:gd name="T92" fmla="*/ 106 w 132"/>
                <a:gd name="T93" fmla="*/ 5 h 109"/>
                <a:gd name="T94" fmla="*/ 94 w 132"/>
                <a:gd name="T95" fmla="*/ 12 h 109"/>
                <a:gd name="T96" fmla="*/ 94 w 132"/>
                <a:gd name="T97" fmla="*/ 25 h 1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2"/>
                <a:gd name="T148" fmla="*/ 0 h 109"/>
                <a:gd name="T149" fmla="*/ 132 w 132"/>
                <a:gd name="T150" fmla="*/ 109 h 1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2" h="109">
                  <a:moveTo>
                    <a:pt x="110" y="27"/>
                  </a:moveTo>
                  <a:lnTo>
                    <a:pt x="109" y="32"/>
                  </a:lnTo>
                  <a:lnTo>
                    <a:pt x="116" y="33"/>
                  </a:lnTo>
                  <a:lnTo>
                    <a:pt x="124" y="36"/>
                  </a:lnTo>
                  <a:lnTo>
                    <a:pt x="128" y="41"/>
                  </a:lnTo>
                  <a:lnTo>
                    <a:pt x="126" y="46"/>
                  </a:lnTo>
                  <a:lnTo>
                    <a:pt x="122" y="48"/>
                  </a:lnTo>
                  <a:lnTo>
                    <a:pt x="116" y="48"/>
                  </a:lnTo>
                  <a:lnTo>
                    <a:pt x="110" y="51"/>
                  </a:lnTo>
                  <a:lnTo>
                    <a:pt x="107" y="55"/>
                  </a:lnTo>
                  <a:lnTo>
                    <a:pt x="105" y="68"/>
                  </a:lnTo>
                  <a:lnTo>
                    <a:pt x="96" y="73"/>
                  </a:lnTo>
                  <a:lnTo>
                    <a:pt x="91" y="78"/>
                  </a:lnTo>
                  <a:lnTo>
                    <a:pt x="89" y="87"/>
                  </a:lnTo>
                  <a:lnTo>
                    <a:pt x="85" y="100"/>
                  </a:lnTo>
                  <a:lnTo>
                    <a:pt x="77" y="105"/>
                  </a:lnTo>
                  <a:lnTo>
                    <a:pt x="70" y="108"/>
                  </a:lnTo>
                  <a:lnTo>
                    <a:pt x="66" y="100"/>
                  </a:lnTo>
                  <a:lnTo>
                    <a:pt x="53" y="100"/>
                  </a:lnTo>
                  <a:lnTo>
                    <a:pt x="54" y="96"/>
                  </a:lnTo>
                  <a:lnTo>
                    <a:pt x="51" y="95"/>
                  </a:lnTo>
                  <a:lnTo>
                    <a:pt x="43" y="94"/>
                  </a:lnTo>
                  <a:lnTo>
                    <a:pt x="32" y="94"/>
                  </a:lnTo>
                  <a:lnTo>
                    <a:pt x="24" y="90"/>
                  </a:lnTo>
                  <a:lnTo>
                    <a:pt x="14" y="84"/>
                  </a:lnTo>
                  <a:lnTo>
                    <a:pt x="2" y="79"/>
                  </a:lnTo>
                  <a:lnTo>
                    <a:pt x="0" y="76"/>
                  </a:lnTo>
                  <a:lnTo>
                    <a:pt x="0" y="73"/>
                  </a:lnTo>
                  <a:lnTo>
                    <a:pt x="4" y="70"/>
                  </a:lnTo>
                  <a:lnTo>
                    <a:pt x="2" y="59"/>
                  </a:lnTo>
                  <a:lnTo>
                    <a:pt x="3" y="47"/>
                  </a:lnTo>
                  <a:lnTo>
                    <a:pt x="8" y="41"/>
                  </a:lnTo>
                  <a:lnTo>
                    <a:pt x="30" y="41"/>
                  </a:lnTo>
                  <a:lnTo>
                    <a:pt x="22" y="45"/>
                  </a:lnTo>
                  <a:lnTo>
                    <a:pt x="31" y="50"/>
                  </a:lnTo>
                  <a:lnTo>
                    <a:pt x="39" y="51"/>
                  </a:lnTo>
                  <a:lnTo>
                    <a:pt x="48" y="43"/>
                  </a:lnTo>
                  <a:lnTo>
                    <a:pt x="51" y="40"/>
                  </a:lnTo>
                  <a:lnTo>
                    <a:pt x="60" y="36"/>
                  </a:lnTo>
                  <a:lnTo>
                    <a:pt x="71" y="30"/>
                  </a:lnTo>
                  <a:lnTo>
                    <a:pt x="78" y="27"/>
                  </a:lnTo>
                  <a:lnTo>
                    <a:pt x="89" y="13"/>
                  </a:lnTo>
                  <a:lnTo>
                    <a:pt x="96" y="3"/>
                  </a:lnTo>
                  <a:lnTo>
                    <a:pt x="110" y="3"/>
                  </a:lnTo>
                  <a:lnTo>
                    <a:pt x="122" y="2"/>
                  </a:lnTo>
                  <a:lnTo>
                    <a:pt x="131" y="0"/>
                  </a:lnTo>
                  <a:lnTo>
                    <a:pt x="124" y="5"/>
                  </a:lnTo>
                  <a:lnTo>
                    <a:pt x="110" y="13"/>
                  </a:lnTo>
                  <a:lnTo>
                    <a:pt x="110" y="27"/>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0" name="Freeform 185">
              <a:extLst>
                <a:ext uri="{FF2B5EF4-FFF2-40B4-BE49-F238E27FC236}">
                  <a16:creationId xmlns:a16="http://schemas.microsoft.com/office/drawing/2014/main" id="{3E33A8F9-8889-4249-AA2C-D45BEF27180A}"/>
                </a:ext>
              </a:extLst>
            </p:cNvPr>
            <p:cNvSpPr>
              <a:spLocks/>
            </p:cNvSpPr>
            <p:nvPr/>
          </p:nvSpPr>
          <p:spPr bwMode="auto">
            <a:xfrm>
              <a:off x="7632700" y="4759325"/>
              <a:ext cx="190500" cy="160338"/>
            </a:xfrm>
            <a:custGeom>
              <a:avLst/>
              <a:gdLst>
                <a:gd name="T0" fmla="*/ 72 w 141"/>
                <a:gd name="T1" fmla="*/ 36 h 109"/>
                <a:gd name="T2" fmla="*/ 69 w 141"/>
                <a:gd name="T3" fmla="*/ 33 h 109"/>
                <a:gd name="T4" fmla="*/ 63 w 141"/>
                <a:gd name="T5" fmla="*/ 30 h 109"/>
                <a:gd name="T6" fmla="*/ 37 w 141"/>
                <a:gd name="T7" fmla="*/ 9 h 109"/>
                <a:gd name="T8" fmla="*/ 24 w 141"/>
                <a:gd name="T9" fmla="*/ 6 h 109"/>
                <a:gd name="T10" fmla="*/ 3 w 141"/>
                <a:gd name="T11" fmla="*/ 0 h 109"/>
                <a:gd name="T12" fmla="*/ 0 w 141"/>
                <a:gd name="T13" fmla="*/ 72 h 109"/>
                <a:gd name="T14" fmla="*/ 12 w 141"/>
                <a:gd name="T15" fmla="*/ 80 h 109"/>
                <a:gd name="T16" fmla="*/ 26 w 141"/>
                <a:gd name="T17" fmla="*/ 73 h 109"/>
                <a:gd name="T18" fmla="*/ 31 w 141"/>
                <a:gd name="T19" fmla="*/ 65 h 109"/>
                <a:gd name="T20" fmla="*/ 39 w 141"/>
                <a:gd name="T21" fmla="*/ 62 h 109"/>
                <a:gd name="T22" fmla="*/ 49 w 141"/>
                <a:gd name="T23" fmla="*/ 63 h 109"/>
                <a:gd name="T24" fmla="*/ 71 w 141"/>
                <a:gd name="T25" fmla="*/ 76 h 109"/>
                <a:gd name="T26" fmla="*/ 79 w 141"/>
                <a:gd name="T27" fmla="*/ 87 h 109"/>
                <a:gd name="T28" fmla="*/ 96 w 141"/>
                <a:gd name="T29" fmla="*/ 94 h 109"/>
                <a:gd name="T30" fmla="*/ 117 w 141"/>
                <a:gd name="T31" fmla="*/ 100 h 109"/>
                <a:gd name="T32" fmla="*/ 119 w 141"/>
                <a:gd name="T33" fmla="*/ 96 h 109"/>
                <a:gd name="T34" fmla="*/ 119 w 141"/>
                <a:gd name="T35" fmla="*/ 94 h 109"/>
                <a:gd name="T36" fmla="*/ 117 w 141"/>
                <a:gd name="T37" fmla="*/ 89 h 109"/>
                <a:gd name="T38" fmla="*/ 89 w 141"/>
                <a:gd name="T39" fmla="*/ 64 h 109"/>
                <a:gd name="T40" fmla="*/ 75 w 141"/>
                <a:gd name="T41" fmla="*/ 55 h 109"/>
                <a:gd name="T42" fmla="*/ 89 w 141"/>
                <a:gd name="T43" fmla="*/ 50 h 109"/>
                <a:gd name="T44" fmla="*/ 84 w 141"/>
                <a:gd name="T45" fmla="*/ 43 h 109"/>
                <a:gd name="T46" fmla="*/ 78 w 141"/>
                <a:gd name="T47" fmla="*/ 40 h 109"/>
                <a:gd name="T48" fmla="*/ 74 w 141"/>
                <a:gd name="T49" fmla="*/ 38 h 109"/>
                <a:gd name="T50" fmla="*/ 72 w 141"/>
                <a:gd name="T51" fmla="*/ 36 h 10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1"/>
                <a:gd name="T79" fmla="*/ 0 h 109"/>
                <a:gd name="T80" fmla="*/ 141 w 141"/>
                <a:gd name="T81" fmla="*/ 109 h 10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1" h="109">
                  <a:moveTo>
                    <a:pt x="85" y="39"/>
                  </a:moveTo>
                  <a:lnTo>
                    <a:pt x="81" y="36"/>
                  </a:lnTo>
                  <a:lnTo>
                    <a:pt x="74" y="32"/>
                  </a:lnTo>
                  <a:lnTo>
                    <a:pt x="43" y="10"/>
                  </a:lnTo>
                  <a:lnTo>
                    <a:pt x="28" y="7"/>
                  </a:lnTo>
                  <a:lnTo>
                    <a:pt x="4" y="0"/>
                  </a:lnTo>
                  <a:lnTo>
                    <a:pt x="0" y="78"/>
                  </a:lnTo>
                  <a:lnTo>
                    <a:pt x="14" y="86"/>
                  </a:lnTo>
                  <a:lnTo>
                    <a:pt x="31" y="79"/>
                  </a:lnTo>
                  <a:lnTo>
                    <a:pt x="37" y="70"/>
                  </a:lnTo>
                  <a:lnTo>
                    <a:pt x="46" y="67"/>
                  </a:lnTo>
                  <a:lnTo>
                    <a:pt x="57" y="68"/>
                  </a:lnTo>
                  <a:lnTo>
                    <a:pt x="84" y="82"/>
                  </a:lnTo>
                  <a:lnTo>
                    <a:pt x="93" y="94"/>
                  </a:lnTo>
                  <a:lnTo>
                    <a:pt x="113" y="101"/>
                  </a:lnTo>
                  <a:lnTo>
                    <a:pt x="138" y="108"/>
                  </a:lnTo>
                  <a:lnTo>
                    <a:pt x="140" y="104"/>
                  </a:lnTo>
                  <a:lnTo>
                    <a:pt x="140" y="101"/>
                  </a:lnTo>
                  <a:lnTo>
                    <a:pt x="137" y="96"/>
                  </a:lnTo>
                  <a:lnTo>
                    <a:pt x="104" y="69"/>
                  </a:lnTo>
                  <a:lnTo>
                    <a:pt x="88" y="59"/>
                  </a:lnTo>
                  <a:lnTo>
                    <a:pt x="104" y="54"/>
                  </a:lnTo>
                  <a:lnTo>
                    <a:pt x="99" y="46"/>
                  </a:lnTo>
                  <a:lnTo>
                    <a:pt x="92" y="43"/>
                  </a:lnTo>
                  <a:lnTo>
                    <a:pt x="87" y="41"/>
                  </a:lnTo>
                  <a:lnTo>
                    <a:pt x="85" y="39"/>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1" name="Freeform 186">
              <a:extLst>
                <a:ext uri="{FF2B5EF4-FFF2-40B4-BE49-F238E27FC236}">
                  <a16:creationId xmlns:a16="http://schemas.microsoft.com/office/drawing/2014/main" id="{0346C145-A07A-46A1-8CF0-0CC98DB6AB78}"/>
                </a:ext>
              </a:extLst>
            </p:cNvPr>
            <p:cNvSpPr>
              <a:spLocks/>
            </p:cNvSpPr>
            <p:nvPr/>
          </p:nvSpPr>
          <p:spPr bwMode="auto">
            <a:xfrm>
              <a:off x="7461250" y="4719638"/>
              <a:ext cx="179388" cy="158750"/>
            </a:xfrm>
            <a:custGeom>
              <a:avLst/>
              <a:gdLst>
                <a:gd name="T0" fmla="*/ 112 w 132"/>
                <a:gd name="T1" fmla="*/ 25 h 108"/>
                <a:gd name="T2" fmla="*/ 89 w 132"/>
                <a:gd name="T3" fmla="*/ 14 h 108"/>
                <a:gd name="T4" fmla="*/ 76 w 132"/>
                <a:gd name="T5" fmla="*/ 12 h 108"/>
                <a:gd name="T6" fmla="*/ 66 w 132"/>
                <a:gd name="T7" fmla="*/ 18 h 108"/>
                <a:gd name="T8" fmla="*/ 65 w 132"/>
                <a:gd name="T9" fmla="*/ 27 h 108"/>
                <a:gd name="T10" fmla="*/ 62 w 132"/>
                <a:gd name="T11" fmla="*/ 34 h 108"/>
                <a:gd name="T12" fmla="*/ 57 w 132"/>
                <a:gd name="T13" fmla="*/ 38 h 108"/>
                <a:gd name="T14" fmla="*/ 45 w 132"/>
                <a:gd name="T15" fmla="*/ 37 h 108"/>
                <a:gd name="T16" fmla="*/ 40 w 132"/>
                <a:gd name="T17" fmla="*/ 35 h 108"/>
                <a:gd name="T18" fmla="*/ 36 w 132"/>
                <a:gd name="T19" fmla="*/ 30 h 108"/>
                <a:gd name="T20" fmla="*/ 27 w 132"/>
                <a:gd name="T21" fmla="*/ 11 h 108"/>
                <a:gd name="T22" fmla="*/ 20 w 132"/>
                <a:gd name="T23" fmla="*/ 3 h 108"/>
                <a:gd name="T24" fmla="*/ 11 w 132"/>
                <a:gd name="T25" fmla="*/ 0 h 108"/>
                <a:gd name="T26" fmla="*/ 2 w 132"/>
                <a:gd name="T27" fmla="*/ 4 h 108"/>
                <a:gd name="T28" fmla="*/ 0 w 132"/>
                <a:gd name="T29" fmla="*/ 6 h 108"/>
                <a:gd name="T30" fmla="*/ 1 w 132"/>
                <a:gd name="T31" fmla="*/ 12 h 108"/>
                <a:gd name="T32" fmla="*/ 5 w 132"/>
                <a:gd name="T33" fmla="*/ 19 h 108"/>
                <a:gd name="T34" fmla="*/ 11 w 132"/>
                <a:gd name="T35" fmla="*/ 30 h 108"/>
                <a:gd name="T36" fmla="*/ 14 w 132"/>
                <a:gd name="T37" fmla="*/ 42 h 108"/>
                <a:gd name="T38" fmla="*/ 18 w 132"/>
                <a:gd name="T39" fmla="*/ 44 h 108"/>
                <a:gd name="T40" fmla="*/ 21 w 132"/>
                <a:gd name="T41" fmla="*/ 45 h 108"/>
                <a:gd name="T42" fmla="*/ 31 w 132"/>
                <a:gd name="T43" fmla="*/ 44 h 108"/>
                <a:gd name="T44" fmla="*/ 38 w 132"/>
                <a:gd name="T45" fmla="*/ 47 h 108"/>
                <a:gd name="T46" fmla="*/ 54 w 132"/>
                <a:gd name="T47" fmla="*/ 52 h 108"/>
                <a:gd name="T48" fmla="*/ 66 w 132"/>
                <a:gd name="T49" fmla="*/ 53 h 108"/>
                <a:gd name="T50" fmla="*/ 80 w 132"/>
                <a:gd name="T51" fmla="*/ 67 h 108"/>
                <a:gd name="T52" fmla="*/ 90 w 132"/>
                <a:gd name="T53" fmla="*/ 83 h 108"/>
                <a:gd name="T54" fmla="*/ 104 w 132"/>
                <a:gd name="T55" fmla="*/ 96 h 108"/>
                <a:gd name="T56" fmla="*/ 108 w 132"/>
                <a:gd name="T57" fmla="*/ 99 h 108"/>
                <a:gd name="T58" fmla="*/ 112 w 132"/>
                <a:gd name="T59" fmla="*/ 25 h 1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2"/>
                <a:gd name="T91" fmla="*/ 0 h 108"/>
                <a:gd name="T92" fmla="*/ 132 w 132"/>
                <a:gd name="T93" fmla="*/ 108 h 10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2" h="108">
                  <a:moveTo>
                    <a:pt x="131" y="27"/>
                  </a:moveTo>
                  <a:lnTo>
                    <a:pt x="104" y="15"/>
                  </a:lnTo>
                  <a:lnTo>
                    <a:pt x="89" y="13"/>
                  </a:lnTo>
                  <a:lnTo>
                    <a:pt x="77" y="19"/>
                  </a:lnTo>
                  <a:lnTo>
                    <a:pt x="76" y="29"/>
                  </a:lnTo>
                  <a:lnTo>
                    <a:pt x="72" y="37"/>
                  </a:lnTo>
                  <a:lnTo>
                    <a:pt x="67" y="41"/>
                  </a:lnTo>
                  <a:lnTo>
                    <a:pt x="53" y="40"/>
                  </a:lnTo>
                  <a:lnTo>
                    <a:pt x="47" y="38"/>
                  </a:lnTo>
                  <a:lnTo>
                    <a:pt x="42" y="32"/>
                  </a:lnTo>
                  <a:lnTo>
                    <a:pt x="32" y="12"/>
                  </a:lnTo>
                  <a:lnTo>
                    <a:pt x="23" y="3"/>
                  </a:lnTo>
                  <a:lnTo>
                    <a:pt x="13" y="0"/>
                  </a:lnTo>
                  <a:lnTo>
                    <a:pt x="2" y="4"/>
                  </a:lnTo>
                  <a:lnTo>
                    <a:pt x="0" y="6"/>
                  </a:lnTo>
                  <a:lnTo>
                    <a:pt x="1" y="13"/>
                  </a:lnTo>
                  <a:lnTo>
                    <a:pt x="6" y="21"/>
                  </a:lnTo>
                  <a:lnTo>
                    <a:pt x="13" y="32"/>
                  </a:lnTo>
                  <a:lnTo>
                    <a:pt x="16" y="45"/>
                  </a:lnTo>
                  <a:lnTo>
                    <a:pt x="21" y="48"/>
                  </a:lnTo>
                  <a:lnTo>
                    <a:pt x="24" y="49"/>
                  </a:lnTo>
                  <a:lnTo>
                    <a:pt x="36" y="48"/>
                  </a:lnTo>
                  <a:lnTo>
                    <a:pt x="44" y="51"/>
                  </a:lnTo>
                  <a:lnTo>
                    <a:pt x="63" y="56"/>
                  </a:lnTo>
                  <a:lnTo>
                    <a:pt x="77" y="57"/>
                  </a:lnTo>
                  <a:lnTo>
                    <a:pt x="94" y="72"/>
                  </a:lnTo>
                  <a:lnTo>
                    <a:pt x="105" y="90"/>
                  </a:lnTo>
                  <a:lnTo>
                    <a:pt x="121" y="104"/>
                  </a:lnTo>
                  <a:lnTo>
                    <a:pt x="126" y="107"/>
                  </a:lnTo>
                  <a:lnTo>
                    <a:pt x="131" y="27"/>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2" name="Freeform 187">
              <a:extLst>
                <a:ext uri="{FF2B5EF4-FFF2-40B4-BE49-F238E27FC236}">
                  <a16:creationId xmlns:a16="http://schemas.microsoft.com/office/drawing/2014/main" id="{4B4A68C4-DB4E-4E8B-A0B6-643972EC9351}"/>
                </a:ext>
              </a:extLst>
            </p:cNvPr>
            <p:cNvSpPr>
              <a:spLocks/>
            </p:cNvSpPr>
            <p:nvPr/>
          </p:nvSpPr>
          <p:spPr bwMode="auto">
            <a:xfrm>
              <a:off x="7126288" y="4979988"/>
              <a:ext cx="744538" cy="596900"/>
            </a:xfrm>
            <a:custGeom>
              <a:avLst/>
              <a:gdLst>
                <a:gd name="T0" fmla="*/ 82 w 549"/>
                <a:gd name="T1" fmla="*/ 119 h 406"/>
                <a:gd name="T2" fmla="*/ 99 w 549"/>
                <a:gd name="T3" fmla="*/ 95 h 406"/>
                <a:gd name="T4" fmla="*/ 113 w 549"/>
                <a:gd name="T5" fmla="*/ 78 h 406"/>
                <a:gd name="T6" fmla="*/ 120 w 549"/>
                <a:gd name="T7" fmla="*/ 65 h 406"/>
                <a:gd name="T8" fmla="*/ 144 w 549"/>
                <a:gd name="T9" fmla="*/ 44 h 406"/>
                <a:gd name="T10" fmla="*/ 176 w 549"/>
                <a:gd name="T11" fmla="*/ 54 h 406"/>
                <a:gd name="T12" fmla="*/ 187 w 549"/>
                <a:gd name="T13" fmla="*/ 50 h 406"/>
                <a:gd name="T14" fmla="*/ 180 w 549"/>
                <a:gd name="T15" fmla="*/ 37 h 406"/>
                <a:gd name="T16" fmla="*/ 187 w 549"/>
                <a:gd name="T17" fmla="*/ 23 h 406"/>
                <a:gd name="T18" fmla="*/ 209 w 549"/>
                <a:gd name="T19" fmla="*/ 17 h 406"/>
                <a:gd name="T20" fmla="*/ 213 w 549"/>
                <a:gd name="T21" fmla="*/ 9 h 406"/>
                <a:gd name="T22" fmla="*/ 208 w 549"/>
                <a:gd name="T23" fmla="*/ 1 h 406"/>
                <a:gd name="T24" fmla="*/ 227 w 549"/>
                <a:gd name="T25" fmla="*/ 2 h 406"/>
                <a:gd name="T26" fmla="*/ 232 w 549"/>
                <a:gd name="T27" fmla="*/ 10 h 406"/>
                <a:gd name="T28" fmla="*/ 235 w 549"/>
                <a:gd name="T29" fmla="*/ 3 h 406"/>
                <a:gd name="T30" fmla="*/ 247 w 549"/>
                <a:gd name="T31" fmla="*/ 17 h 406"/>
                <a:gd name="T32" fmla="*/ 272 w 549"/>
                <a:gd name="T33" fmla="*/ 14 h 406"/>
                <a:gd name="T34" fmla="*/ 275 w 549"/>
                <a:gd name="T35" fmla="*/ 29 h 406"/>
                <a:gd name="T36" fmla="*/ 283 w 549"/>
                <a:gd name="T37" fmla="*/ 63 h 406"/>
                <a:gd name="T38" fmla="*/ 312 w 549"/>
                <a:gd name="T39" fmla="*/ 76 h 406"/>
                <a:gd name="T40" fmla="*/ 323 w 549"/>
                <a:gd name="T41" fmla="*/ 52 h 406"/>
                <a:gd name="T42" fmla="*/ 329 w 549"/>
                <a:gd name="T43" fmla="*/ 3 h 406"/>
                <a:gd name="T44" fmla="*/ 345 w 549"/>
                <a:gd name="T45" fmla="*/ 4 h 406"/>
                <a:gd name="T46" fmla="*/ 346 w 549"/>
                <a:gd name="T47" fmla="*/ 30 h 406"/>
                <a:gd name="T48" fmla="*/ 358 w 549"/>
                <a:gd name="T49" fmla="*/ 37 h 406"/>
                <a:gd name="T50" fmla="*/ 370 w 549"/>
                <a:gd name="T51" fmla="*/ 56 h 406"/>
                <a:gd name="T52" fmla="*/ 391 w 549"/>
                <a:gd name="T53" fmla="*/ 95 h 406"/>
                <a:gd name="T54" fmla="*/ 418 w 549"/>
                <a:gd name="T55" fmla="*/ 132 h 406"/>
                <a:gd name="T56" fmla="*/ 462 w 549"/>
                <a:gd name="T57" fmla="*/ 179 h 406"/>
                <a:gd name="T58" fmla="*/ 462 w 549"/>
                <a:gd name="T59" fmla="*/ 259 h 406"/>
                <a:gd name="T60" fmla="*/ 442 w 549"/>
                <a:gd name="T61" fmla="*/ 286 h 406"/>
                <a:gd name="T62" fmla="*/ 429 w 549"/>
                <a:gd name="T63" fmla="*/ 311 h 406"/>
                <a:gd name="T64" fmla="*/ 428 w 549"/>
                <a:gd name="T65" fmla="*/ 344 h 406"/>
                <a:gd name="T66" fmla="*/ 399 w 549"/>
                <a:gd name="T67" fmla="*/ 367 h 406"/>
                <a:gd name="T68" fmla="*/ 366 w 549"/>
                <a:gd name="T69" fmla="*/ 364 h 406"/>
                <a:gd name="T70" fmla="*/ 342 w 549"/>
                <a:gd name="T71" fmla="*/ 364 h 406"/>
                <a:gd name="T72" fmla="*/ 312 w 549"/>
                <a:gd name="T73" fmla="*/ 347 h 406"/>
                <a:gd name="T74" fmla="*/ 290 w 549"/>
                <a:gd name="T75" fmla="*/ 306 h 406"/>
                <a:gd name="T76" fmla="*/ 249 w 549"/>
                <a:gd name="T77" fmla="*/ 289 h 406"/>
                <a:gd name="T78" fmla="*/ 202 w 549"/>
                <a:gd name="T79" fmla="*/ 269 h 406"/>
                <a:gd name="T80" fmla="*/ 164 w 549"/>
                <a:gd name="T81" fmla="*/ 280 h 406"/>
                <a:gd name="T82" fmla="*/ 121 w 549"/>
                <a:gd name="T83" fmla="*/ 304 h 406"/>
                <a:gd name="T84" fmla="*/ 102 w 549"/>
                <a:gd name="T85" fmla="*/ 312 h 406"/>
                <a:gd name="T86" fmla="*/ 68 w 549"/>
                <a:gd name="T87" fmla="*/ 312 h 406"/>
                <a:gd name="T88" fmla="*/ 47 w 549"/>
                <a:gd name="T89" fmla="*/ 323 h 406"/>
                <a:gd name="T90" fmla="*/ 29 w 549"/>
                <a:gd name="T91" fmla="*/ 317 h 406"/>
                <a:gd name="T92" fmla="*/ 21 w 549"/>
                <a:gd name="T93" fmla="*/ 317 h 406"/>
                <a:gd name="T94" fmla="*/ 15 w 549"/>
                <a:gd name="T95" fmla="*/ 305 h 406"/>
                <a:gd name="T96" fmla="*/ 24 w 549"/>
                <a:gd name="T97" fmla="*/ 267 h 406"/>
                <a:gd name="T98" fmla="*/ 3 w 549"/>
                <a:gd name="T99" fmla="*/ 212 h 406"/>
                <a:gd name="T100" fmla="*/ 7 w 549"/>
                <a:gd name="T101" fmla="*/ 188 h 406"/>
                <a:gd name="T102" fmla="*/ 0 w 549"/>
                <a:gd name="T103" fmla="*/ 153 h 40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49"/>
                <a:gd name="T157" fmla="*/ 0 h 406"/>
                <a:gd name="T158" fmla="*/ 549 w 549"/>
                <a:gd name="T159" fmla="*/ 406 h 40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49" h="406">
                  <a:moveTo>
                    <a:pt x="32" y="136"/>
                  </a:moveTo>
                  <a:lnTo>
                    <a:pt x="64" y="135"/>
                  </a:lnTo>
                  <a:lnTo>
                    <a:pt x="96" y="129"/>
                  </a:lnTo>
                  <a:lnTo>
                    <a:pt x="108" y="119"/>
                  </a:lnTo>
                  <a:lnTo>
                    <a:pt x="114" y="110"/>
                  </a:lnTo>
                  <a:lnTo>
                    <a:pt x="116" y="103"/>
                  </a:lnTo>
                  <a:lnTo>
                    <a:pt x="120" y="90"/>
                  </a:lnTo>
                  <a:lnTo>
                    <a:pt x="125" y="85"/>
                  </a:lnTo>
                  <a:lnTo>
                    <a:pt x="132" y="84"/>
                  </a:lnTo>
                  <a:lnTo>
                    <a:pt x="138" y="84"/>
                  </a:lnTo>
                  <a:lnTo>
                    <a:pt x="139" y="76"/>
                  </a:lnTo>
                  <a:lnTo>
                    <a:pt x="141" y="70"/>
                  </a:lnTo>
                  <a:lnTo>
                    <a:pt x="147" y="68"/>
                  </a:lnTo>
                  <a:lnTo>
                    <a:pt x="157" y="55"/>
                  </a:lnTo>
                  <a:lnTo>
                    <a:pt x="168" y="47"/>
                  </a:lnTo>
                  <a:lnTo>
                    <a:pt x="182" y="47"/>
                  </a:lnTo>
                  <a:lnTo>
                    <a:pt x="197" y="55"/>
                  </a:lnTo>
                  <a:lnTo>
                    <a:pt x="206" y="58"/>
                  </a:lnTo>
                  <a:lnTo>
                    <a:pt x="212" y="59"/>
                  </a:lnTo>
                  <a:lnTo>
                    <a:pt x="217" y="56"/>
                  </a:lnTo>
                  <a:lnTo>
                    <a:pt x="219" y="54"/>
                  </a:lnTo>
                  <a:lnTo>
                    <a:pt x="217" y="50"/>
                  </a:lnTo>
                  <a:lnTo>
                    <a:pt x="211" y="45"/>
                  </a:lnTo>
                  <a:lnTo>
                    <a:pt x="211" y="40"/>
                  </a:lnTo>
                  <a:lnTo>
                    <a:pt x="217" y="38"/>
                  </a:lnTo>
                  <a:lnTo>
                    <a:pt x="219" y="31"/>
                  </a:lnTo>
                  <a:lnTo>
                    <a:pt x="219" y="25"/>
                  </a:lnTo>
                  <a:lnTo>
                    <a:pt x="222" y="22"/>
                  </a:lnTo>
                  <a:lnTo>
                    <a:pt x="228" y="19"/>
                  </a:lnTo>
                  <a:lnTo>
                    <a:pt x="245" y="18"/>
                  </a:lnTo>
                  <a:lnTo>
                    <a:pt x="248" y="15"/>
                  </a:lnTo>
                  <a:lnTo>
                    <a:pt x="250" y="12"/>
                  </a:lnTo>
                  <a:lnTo>
                    <a:pt x="249" y="10"/>
                  </a:lnTo>
                  <a:lnTo>
                    <a:pt x="238" y="10"/>
                  </a:lnTo>
                  <a:lnTo>
                    <a:pt x="239" y="4"/>
                  </a:lnTo>
                  <a:lnTo>
                    <a:pt x="243" y="1"/>
                  </a:lnTo>
                  <a:lnTo>
                    <a:pt x="248" y="0"/>
                  </a:lnTo>
                  <a:lnTo>
                    <a:pt x="262" y="0"/>
                  </a:lnTo>
                  <a:lnTo>
                    <a:pt x="266" y="2"/>
                  </a:lnTo>
                  <a:lnTo>
                    <a:pt x="264" y="7"/>
                  </a:lnTo>
                  <a:lnTo>
                    <a:pt x="262" y="9"/>
                  </a:lnTo>
                  <a:lnTo>
                    <a:pt x="271" y="11"/>
                  </a:lnTo>
                  <a:lnTo>
                    <a:pt x="272" y="10"/>
                  </a:lnTo>
                  <a:lnTo>
                    <a:pt x="274" y="7"/>
                  </a:lnTo>
                  <a:lnTo>
                    <a:pt x="275" y="3"/>
                  </a:lnTo>
                  <a:lnTo>
                    <a:pt x="277" y="2"/>
                  </a:lnTo>
                  <a:lnTo>
                    <a:pt x="280" y="6"/>
                  </a:lnTo>
                  <a:lnTo>
                    <a:pt x="289" y="18"/>
                  </a:lnTo>
                  <a:lnTo>
                    <a:pt x="301" y="13"/>
                  </a:lnTo>
                  <a:lnTo>
                    <a:pt x="311" y="13"/>
                  </a:lnTo>
                  <a:lnTo>
                    <a:pt x="318" y="15"/>
                  </a:lnTo>
                  <a:lnTo>
                    <a:pt x="324" y="20"/>
                  </a:lnTo>
                  <a:lnTo>
                    <a:pt x="326" y="29"/>
                  </a:lnTo>
                  <a:lnTo>
                    <a:pt x="322" y="31"/>
                  </a:lnTo>
                  <a:lnTo>
                    <a:pt x="312" y="41"/>
                  </a:lnTo>
                  <a:lnTo>
                    <a:pt x="308" y="52"/>
                  </a:lnTo>
                  <a:lnTo>
                    <a:pt x="331" y="68"/>
                  </a:lnTo>
                  <a:lnTo>
                    <a:pt x="355" y="82"/>
                  </a:lnTo>
                  <a:lnTo>
                    <a:pt x="360" y="83"/>
                  </a:lnTo>
                  <a:lnTo>
                    <a:pt x="365" y="82"/>
                  </a:lnTo>
                  <a:lnTo>
                    <a:pt x="369" y="77"/>
                  </a:lnTo>
                  <a:lnTo>
                    <a:pt x="375" y="68"/>
                  </a:lnTo>
                  <a:lnTo>
                    <a:pt x="378" y="56"/>
                  </a:lnTo>
                  <a:lnTo>
                    <a:pt x="382" y="41"/>
                  </a:lnTo>
                  <a:lnTo>
                    <a:pt x="385" y="11"/>
                  </a:lnTo>
                  <a:lnTo>
                    <a:pt x="385" y="3"/>
                  </a:lnTo>
                  <a:lnTo>
                    <a:pt x="388" y="0"/>
                  </a:lnTo>
                  <a:lnTo>
                    <a:pt x="395" y="0"/>
                  </a:lnTo>
                  <a:lnTo>
                    <a:pt x="404" y="4"/>
                  </a:lnTo>
                  <a:lnTo>
                    <a:pt x="406" y="12"/>
                  </a:lnTo>
                  <a:lnTo>
                    <a:pt x="406" y="22"/>
                  </a:lnTo>
                  <a:lnTo>
                    <a:pt x="405" y="32"/>
                  </a:lnTo>
                  <a:lnTo>
                    <a:pt x="406" y="38"/>
                  </a:lnTo>
                  <a:lnTo>
                    <a:pt x="409" y="41"/>
                  </a:lnTo>
                  <a:lnTo>
                    <a:pt x="419" y="40"/>
                  </a:lnTo>
                  <a:lnTo>
                    <a:pt x="424" y="42"/>
                  </a:lnTo>
                  <a:lnTo>
                    <a:pt x="426" y="49"/>
                  </a:lnTo>
                  <a:lnTo>
                    <a:pt x="433" y="61"/>
                  </a:lnTo>
                  <a:lnTo>
                    <a:pt x="439" y="67"/>
                  </a:lnTo>
                  <a:lnTo>
                    <a:pt x="447" y="90"/>
                  </a:lnTo>
                  <a:lnTo>
                    <a:pt x="458" y="103"/>
                  </a:lnTo>
                  <a:lnTo>
                    <a:pt x="470" y="112"/>
                  </a:lnTo>
                  <a:lnTo>
                    <a:pt x="489" y="135"/>
                  </a:lnTo>
                  <a:lnTo>
                    <a:pt x="489" y="142"/>
                  </a:lnTo>
                  <a:lnTo>
                    <a:pt x="524" y="168"/>
                  </a:lnTo>
                  <a:lnTo>
                    <a:pt x="534" y="180"/>
                  </a:lnTo>
                  <a:lnTo>
                    <a:pt x="541" y="193"/>
                  </a:lnTo>
                  <a:lnTo>
                    <a:pt x="545" y="208"/>
                  </a:lnTo>
                  <a:lnTo>
                    <a:pt x="548" y="270"/>
                  </a:lnTo>
                  <a:lnTo>
                    <a:pt x="541" y="280"/>
                  </a:lnTo>
                  <a:lnTo>
                    <a:pt x="535" y="286"/>
                  </a:lnTo>
                  <a:lnTo>
                    <a:pt x="525" y="292"/>
                  </a:lnTo>
                  <a:lnTo>
                    <a:pt x="517" y="309"/>
                  </a:lnTo>
                  <a:lnTo>
                    <a:pt x="512" y="321"/>
                  </a:lnTo>
                  <a:lnTo>
                    <a:pt x="507" y="330"/>
                  </a:lnTo>
                  <a:lnTo>
                    <a:pt x="502" y="336"/>
                  </a:lnTo>
                  <a:lnTo>
                    <a:pt x="494" y="342"/>
                  </a:lnTo>
                  <a:lnTo>
                    <a:pt x="496" y="355"/>
                  </a:lnTo>
                  <a:lnTo>
                    <a:pt x="501" y="371"/>
                  </a:lnTo>
                  <a:lnTo>
                    <a:pt x="500" y="375"/>
                  </a:lnTo>
                  <a:lnTo>
                    <a:pt x="495" y="381"/>
                  </a:lnTo>
                  <a:lnTo>
                    <a:pt x="467" y="396"/>
                  </a:lnTo>
                  <a:lnTo>
                    <a:pt x="447" y="405"/>
                  </a:lnTo>
                  <a:lnTo>
                    <a:pt x="441" y="402"/>
                  </a:lnTo>
                  <a:lnTo>
                    <a:pt x="428" y="393"/>
                  </a:lnTo>
                  <a:lnTo>
                    <a:pt x="421" y="388"/>
                  </a:lnTo>
                  <a:lnTo>
                    <a:pt x="414" y="393"/>
                  </a:lnTo>
                  <a:lnTo>
                    <a:pt x="400" y="393"/>
                  </a:lnTo>
                  <a:lnTo>
                    <a:pt x="393" y="390"/>
                  </a:lnTo>
                  <a:lnTo>
                    <a:pt x="372" y="389"/>
                  </a:lnTo>
                  <a:lnTo>
                    <a:pt x="365" y="375"/>
                  </a:lnTo>
                  <a:lnTo>
                    <a:pt x="358" y="364"/>
                  </a:lnTo>
                  <a:lnTo>
                    <a:pt x="356" y="351"/>
                  </a:lnTo>
                  <a:lnTo>
                    <a:pt x="340" y="330"/>
                  </a:lnTo>
                  <a:lnTo>
                    <a:pt x="315" y="330"/>
                  </a:lnTo>
                  <a:lnTo>
                    <a:pt x="295" y="316"/>
                  </a:lnTo>
                  <a:lnTo>
                    <a:pt x="291" y="312"/>
                  </a:lnTo>
                  <a:lnTo>
                    <a:pt x="282" y="304"/>
                  </a:lnTo>
                  <a:lnTo>
                    <a:pt x="264" y="295"/>
                  </a:lnTo>
                  <a:lnTo>
                    <a:pt x="236" y="290"/>
                  </a:lnTo>
                  <a:lnTo>
                    <a:pt x="219" y="293"/>
                  </a:lnTo>
                  <a:lnTo>
                    <a:pt x="204" y="297"/>
                  </a:lnTo>
                  <a:lnTo>
                    <a:pt x="192" y="302"/>
                  </a:lnTo>
                  <a:lnTo>
                    <a:pt x="153" y="322"/>
                  </a:lnTo>
                  <a:lnTo>
                    <a:pt x="145" y="322"/>
                  </a:lnTo>
                  <a:lnTo>
                    <a:pt x="142" y="328"/>
                  </a:lnTo>
                  <a:lnTo>
                    <a:pt x="139" y="334"/>
                  </a:lnTo>
                  <a:lnTo>
                    <a:pt x="133" y="337"/>
                  </a:lnTo>
                  <a:lnTo>
                    <a:pt x="119" y="337"/>
                  </a:lnTo>
                  <a:lnTo>
                    <a:pt x="110" y="336"/>
                  </a:lnTo>
                  <a:lnTo>
                    <a:pt x="84" y="335"/>
                  </a:lnTo>
                  <a:lnTo>
                    <a:pt x="80" y="337"/>
                  </a:lnTo>
                  <a:lnTo>
                    <a:pt x="73" y="344"/>
                  </a:lnTo>
                  <a:lnTo>
                    <a:pt x="66" y="348"/>
                  </a:lnTo>
                  <a:lnTo>
                    <a:pt x="55" y="349"/>
                  </a:lnTo>
                  <a:lnTo>
                    <a:pt x="40" y="348"/>
                  </a:lnTo>
                  <a:lnTo>
                    <a:pt x="35" y="346"/>
                  </a:lnTo>
                  <a:lnTo>
                    <a:pt x="34" y="342"/>
                  </a:lnTo>
                  <a:lnTo>
                    <a:pt x="35" y="338"/>
                  </a:lnTo>
                  <a:lnTo>
                    <a:pt x="32" y="338"/>
                  </a:lnTo>
                  <a:lnTo>
                    <a:pt x="25" y="342"/>
                  </a:lnTo>
                  <a:lnTo>
                    <a:pt x="22" y="339"/>
                  </a:lnTo>
                  <a:lnTo>
                    <a:pt x="17" y="336"/>
                  </a:lnTo>
                  <a:lnTo>
                    <a:pt x="17" y="329"/>
                  </a:lnTo>
                  <a:lnTo>
                    <a:pt x="26" y="324"/>
                  </a:lnTo>
                  <a:lnTo>
                    <a:pt x="32" y="298"/>
                  </a:lnTo>
                  <a:lnTo>
                    <a:pt x="28" y="288"/>
                  </a:lnTo>
                  <a:lnTo>
                    <a:pt x="23" y="275"/>
                  </a:lnTo>
                  <a:lnTo>
                    <a:pt x="11" y="247"/>
                  </a:lnTo>
                  <a:lnTo>
                    <a:pt x="4" y="229"/>
                  </a:lnTo>
                  <a:lnTo>
                    <a:pt x="4" y="217"/>
                  </a:lnTo>
                  <a:lnTo>
                    <a:pt x="8" y="210"/>
                  </a:lnTo>
                  <a:lnTo>
                    <a:pt x="8" y="203"/>
                  </a:lnTo>
                  <a:lnTo>
                    <a:pt x="4" y="191"/>
                  </a:lnTo>
                  <a:lnTo>
                    <a:pt x="0" y="176"/>
                  </a:lnTo>
                  <a:lnTo>
                    <a:pt x="0" y="165"/>
                  </a:lnTo>
                  <a:lnTo>
                    <a:pt x="4" y="159"/>
                  </a:lnTo>
                  <a:lnTo>
                    <a:pt x="32" y="136"/>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3" name="Freeform 188">
              <a:extLst>
                <a:ext uri="{FF2B5EF4-FFF2-40B4-BE49-F238E27FC236}">
                  <a16:creationId xmlns:a16="http://schemas.microsoft.com/office/drawing/2014/main" id="{6710E755-662C-4326-AA53-1AEE0C36DA97}"/>
                </a:ext>
              </a:extLst>
            </p:cNvPr>
            <p:cNvSpPr>
              <a:spLocks/>
            </p:cNvSpPr>
            <p:nvPr/>
          </p:nvSpPr>
          <p:spPr bwMode="auto">
            <a:xfrm>
              <a:off x="7385050" y="4665663"/>
              <a:ext cx="28575" cy="53975"/>
            </a:xfrm>
            <a:custGeom>
              <a:avLst/>
              <a:gdLst>
                <a:gd name="T0" fmla="*/ 9 w 21"/>
                <a:gd name="T1" fmla="*/ 0 h 36"/>
                <a:gd name="T2" fmla="*/ 15 w 21"/>
                <a:gd name="T3" fmla="*/ 4 h 36"/>
                <a:gd name="T4" fmla="*/ 17 w 21"/>
                <a:gd name="T5" fmla="*/ 15 h 36"/>
                <a:gd name="T6" fmla="*/ 15 w 21"/>
                <a:gd name="T7" fmla="*/ 27 h 36"/>
                <a:gd name="T8" fmla="*/ 9 w 21"/>
                <a:gd name="T9" fmla="*/ 33 h 36"/>
                <a:gd name="T10" fmla="*/ 1 w 21"/>
                <a:gd name="T11" fmla="*/ 27 h 36"/>
                <a:gd name="T12" fmla="*/ 0 w 21"/>
                <a:gd name="T13" fmla="*/ 15 h 36"/>
                <a:gd name="T14" fmla="*/ 1 w 21"/>
                <a:gd name="T15" fmla="*/ 4 h 36"/>
                <a:gd name="T16" fmla="*/ 9 w 21"/>
                <a:gd name="T17" fmla="*/ 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36"/>
                <a:gd name="T29" fmla="*/ 21 w 2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36">
                  <a:moveTo>
                    <a:pt x="10" y="0"/>
                  </a:moveTo>
                  <a:lnTo>
                    <a:pt x="17" y="4"/>
                  </a:lnTo>
                  <a:lnTo>
                    <a:pt x="20" y="16"/>
                  </a:lnTo>
                  <a:lnTo>
                    <a:pt x="17" y="29"/>
                  </a:lnTo>
                  <a:lnTo>
                    <a:pt x="10" y="35"/>
                  </a:lnTo>
                  <a:lnTo>
                    <a:pt x="1" y="29"/>
                  </a:lnTo>
                  <a:lnTo>
                    <a:pt x="0" y="16"/>
                  </a:lnTo>
                  <a:lnTo>
                    <a:pt x="1" y="4"/>
                  </a:lnTo>
                  <a:lnTo>
                    <a:pt x="10"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4" name="Freeform 189">
              <a:extLst>
                <a:ext uri="{FF2B5EF4-FFF2-40B4-BE49-F238E27FC236}">
                  <a16:creationId xmlns:a16="http://schemas.microsoft.com/office/drawing/2014/main" id="{0717D4CF-153B-4F56-9A99-7D8879D4A589}"/>
                </a:ext>
              </a:extLst>
            </p:cNvPr>
            <p:cNvSpPr>
              <a:spLocks/>
            </p:cNvSpPr>
            <p:nvPr/>
          </p:nvSpPr>
          <p:spPr bwMode="auto">
            <a:xfrm>
              <a:off x="7453313" y="4641850"/>
              <a:ext cx="28575" cy="28575"/>
            </a:xfrm>
            <a:custGeom>
              <a:avLst/>
              <a:gdLst>
                <a:gd name="T0" fmla="*/ 9 w 21"/>
                <a:gd name="T1" fmla="*/ 17 h 19"/>
                <a:gd name="T2" fmla="*/ 15 w 21"/>
                <a:gd name="T3" fmla="*/ 15 h 19"/>
                <a:gd name="T4" fmla="*/ 17 w 21"/>
                <a:gd name="T5" fmla="*/ 9 h 19"/>
                <a:gd name="T6" fmla="*/ 15 w 21"/>
                <a:gd name="T7" fmla="*/ 3 h 19"/>
                <a:gd name="T8" fmla="*/ 9 w 21"/>
                <a:gd name="T9" fmla="*/ 0 h 19"/>
                <a:gd name="T10" fmla="*/ 3 w 21"/>
                <a:gd name="T11" fmla="*/ 3 h 19"/>
                <a:gd name="T12" fmla="*/ 0 w 21"/>
                <a:gd name="T13" fmla="*/ 9 h 19"/>
                <a:gd name="T14" fmla="*/ 3 w 21"/>
                <a:gd name="T15" fmla="*/ 15 h 19"/>
                <a:gd name="T16" fmla="*/ 9 w 21"/>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10" y="18"/>
                  </a:moveTo>
                  <a:lnTo>
                    <a:pt x="17" y="16"/>
                  </a:lnTo>
                  <a:lnTo>
                    <a:pt x="20" y="9"/>
                  </a:lnTo>
                  <a:lnTo>
                    <a:pt x="17" y="3"/>
                  </a:lnTo>
                  <a:lnTo>
                    <a:pt x="10" y="0"/>
                  </a:lnTo>
                  <a:lnTo>
                    <a:pt x="3" y="3"/>
                  </a:lnTo>
                  <a:lnTo>
                    <a:pt x="0" y="9"/>
                  </a:lnTo>
                  <a:lnTo>
                    <a:pt x="3" y="16"/>
                  </a:lnTo>
                  <a:lnTo>
                    <a:pt x="10"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5" name="Freeform 190">
              <a:extLst>
                <a:ext uri="{FF2B5EF4-FFF2-40B4-BE49-F238E27FC236}">
                  <a16:creationId xmlns:a16="http://schemas.microsoft.com/office/drawing/2014/main" id="{9A523DFC-BA0A-4A83-93B2-46219DAF01CD}"/>
                </a:ext>
              </a:extLst>
            </p:cNvPr>
            <p:cNvSpPr>
              <a:spLocks/>
            </p:cNvSpPr>
            <p:nvPr/>
          </p:nvSpPr>
          <p:spPr bwMode="auto">
            <a:xfrm>
              <a:off x="7481888" y="4584700"/>
              <a:ext cx="26988" cy="28575"/>
            </a:xfrm>
            <a:custGeom>
              <a:avLst/>
              <a:gdLst>
                <a:gd name="T0" fmla="*/ 7 w 20"/>
                <a:gd name="T1" fmla="*/ 17 h 19"/>
                <a:gd name="T2" fmla="*/ 13 w 20"/>
                <a:gd name="T3" fmla="*/ 14 h 19"/>
                <a:gd name="T4" fmla="*/ 16 w 20"/>
                <a:gd name="T5" fmla="*/ 10 h 19"/>
                <a:gd name="T6" fmla="*/ 13 w 20"/>
                <a:gd name="T7" fmla="*/ 2 h 19"/>
                <a:gd name="T8" fmla="*/ 7 w 20"/>
                <a:gd name="T9" fmla="*/ 0 h 19"/>
                <a:gd name="T10" fmla="*/ 2 w 20"/>
                <a:gd name="T11" fmla="*/ 2 h 19"/>
                <a:gd name="T12" fmla="*/ 0 w 20"/>
                <a:gd name="T13" fmla="*/ 10 h 19"/>
                <a:gd name="T14" fmla="*/ 2 w 20"/>
                <a:gd name="T15" fmla="*/ 14 h 19"/>
                <a:gd name="T16" fmla="*/ 7 w 20"/>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8" y="18"/>
                  </a:moveTo>
                  <a:lnTo>
                    <a:pt x="15" y="15"/>
                  </a:lnTo>
                  <a:lnTo>
                    <a:pt x="19" y="11"/>
                  </a:lnTo>
                  <a:lnTo>
                    <a:pt x="15" y="2"/>
                  </a:lnTo>
                  <a:lnTo>
                    <a:pt x="8" y="0"/>
                  </a:lnTo>
                  <a:lnTo>
                    <a:pt x="2" y="2"/>
                  </a:lnTo>
                  <a:lnTo>
                    <a:pt x="0" y="11"/>
                  </a:lnTo>
                  <a:lnTo>
                    <a:pt x="2" y="15"/>
                  </a:lnTo>
                  <a:lnTo>
                    <a:pt x="8"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6" name="Freeform 191">
              <a:extLst>
                <a:ext uri="{FF2B5EF4-FFF2-40B4-BE49-F238E27FC236}">
                  <a16:creationId xmlns:a16="http://schemas.microsoft.com/office/drawing/2014/main" id="{EF5C40FD-1A05-4EDA-8FC6-ABCFCF6D846C}"/>
                </a:ext>
              </a:extLst>
            </p:cNvPr>
            <p:cNvSpPr>
              <a:spLocks/>
            </p:cNvSpPr>
            <p:nvPr/>
          </p:nvSpPr>
          <p:spPr bwMode="auto">
            <a:xfrm>
              <a:off x="7540625" y="4530725"/>
              <a:ext cx="26988" cy="28575"/>
            </a:xfrm>
            <a:custGeom>
              <a:avLst/>
              <a:gdLst>
                <a:gd name="T0" fmla="*/ 8 w 21"/>
                <a:gd name="T1" fmla="*/ 17 h 19"/>
                <a:gd name="T2" fmla="*/ 12 w 21"/>
                <a:gd name="T3" fmla="*/ 15 h 19"/>
                <a:gd name="T4" fmla="*/ 16 w 21"/>
                <a:gd name="T5" fmla="*/ 9 h 19"/>
                <a:gd name="T6" fmla="*/ 12 w 21"/>
                <a:gd name="T7" fmla="*/ 3 h 19"/>
                <a:gd name="T8" fmla="*/ 8 w 21"/>
                <a:gd name="T9" fmla="*/ 0 h 19"/>
                <a:gd name="T10" fmla="*/ 2 w 21"/>
                <a:gd name="T11" fmla="*/ 3 h 19"/>
                <a:gd name="T12" fmla="*/ 0 w 21"/>
                <a:gd name="T13" fmla="*/ 9 h 19"/>
                <a:gd name="T14" fmla="*/ 8 w 21"/>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9"/>
                <a:gd name="T26" fmla="*/ 21 w 2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9">
                  <a:moveTo>
                    <a:pt x="10" y="18"/>
                  </a:moveTo>
                  <a:lnTo>
                    <a:pt x="15" y="16"/>
                  </a:lnTo>
                  <a:lnTo>
                    <a:pt x="20" y="9"/>
                  </a:lnTo>
                  <a:lnTo>
                    <a:pt x="15" y="3"/>
                  </a:lnTo>
                  <a:lnTo>
                    <a:pt x="10" y="0"/>
                  </a:lnTo>
                  <a:lnTo>
                    <a:pt x="3" y="3"/>
                  </a:lnTo>
                  <a:lnTo>
                    <a:pt x="0" y="9"/>
                  </a:lnTo>
                  <a:lnTo>
                    <a:pt x="10"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7" name="Freeform 192">
              <a:extLst>
                <a:ext uri="{FF2B5EF4-FFF2-40B4-BE49-F238E27FC236}">
                  <a16:creationId xmlns:a16="http://schemas.microsoft.com/office/drawing/2014/main" id="{2252237D-6638-4813-BD06-32F1A382E115}"/>
                </a:ext>
              </a:extLst>
            </p:cNvPr>
            <p:cNvSpPr>
              <a:spLocks/>
            </p:cNvSpPr>
            <p:nvPr/>
          </p:nvSpPr>
          <p:spPr bwMode="auto">
            <a:xfrm>
              <a:off x="7399338" y="4757738"/>
              <a:ext cx="41275" cy="28575"/>
            </a:xfrm>
            <a:custGeom>
              <a:avLst/>
              <a:gdLst>
                <a:gd name="T0" fmla="*/ 13 w 31"/>
                <a:gd name="T1" fmla="*/ 17 h 20"/>
                <a:gd name="T2" fmla="*/ 21 w 31"/>
                <a:gd name="T3" fmla="*/ 13 h 20"/>
                <a:gd name="T4" fmla="*/ 25 w 31"/>
                <a:gd name="T5" fmla="*/ 7 h 20"/>
                <a:gd name="T6" fmla="*/ 23 w 31"/>
                <a:gd name="T7" fmla="*/ 5 h 20"/>
                <a:gd name="T8" fmla="*/ 21 w 31"/>
                <a:gd name="T9" fmla="*/ 3 h 20"/>
                <a:gd name="T10" fmla="*/ 13 w 31"/>
                <a:gd name="T11" fmla="*/ 0 h 20"/>
                <a:gd name="T12" fmla="*/ 3 w 31"/>
                <a:gd name="T13" fmla="*/ 3 h 20"/>
                <a:gd name="T14" fmla="*/ 0 w 31"/>
                <a:gd name="T15" fmla="*/ 7 h 20"/>
                <a:gd name="T16" fmla="*/ 3 w 31"/>
                <a:gd name="T17" fmla="*/ 13 h 20"/>
                <a:gd name="T18" fmla="*/ 13 w 31"/>
                <a:gd name="T19" fmla="*/ 17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20"/>
                <a:gd name="T32" fmla="*/ 31 w 31"/>
                <a:gd name="T33" fmla="*/ 20 h 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20">
                  <a:moveTo>
                    <a:pt x="15" y="19"/>
                  </a:moveTo>
                  <a:lnTo>
                    <a:pt x="25" y="15"/>
                  </a:lnTo>
                  <a:lnTo>
                    <a:pt x="30" y="8"/>
                  </a:lnTo>
                  <a:lnTo>
                    <a:pt x="28" y="5"/>
                  </a:lnTo>
                  <a:lnTo>
                    <a:pt x="25" y="3"/>
                  </a:lnTo>
                  <a:lnTo>
                    <a:pt x="15" y="0"/>
                  </a:lnTo>
                  <a:lnTo>
                    <a:pt x="3" y="3"/>
                  </a:lnTo>
                  <a:lnTo>
                    <a:pt x="0" y="8"/>
                  </a:lnTo>
                  <a:lnTo>
                    <a:pt x="3" y="15"/>
                  </a:lnTo>
                  <a:lnTo>
                    <a:pt x="15" y="19"/>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8" name="Freeform 193">
              <a:extLst>
                <a:ext uri="{FF2B5EF4-FFF2-40B4-BE49-F238E27FC236}">
                  <a16:creationId xmlns:a16="http://schemas.microsoft.com/office/drawing/2014/main" id="{AD22ED33-0CAD-4584-9311-AE04A6FA195E}"/>
                </a:ext>
              </a:extLst>
            </p:cNvPr>
            <p:cNvSpPr>
              <a:spLocks/>
            </p:cNvSpPr>
            <p:nvPr/>
          </p:nvSpPr>
          <p:spPr bwMode="auto">
            <a:xfrm>
              <a:off x="7316788" y="4749800"/>
              <a:ext cx="57150" cy="28575"/>
            </a:xfrm>
            <a:custGeom>
              <a:avLst/>
              <a:gdLst>
                <a:gd name="T0" fmla="*/ 18 w 42"/>
                <a:gd name="T1" fmla="*/ 17 h 19"/>
                <a:gd name="T2" fmla="*/ 29 w 42"/>
                <a:gd name="T3" fmla="*/ 12 h 19"/>
                <a:gd name="T4" fmla="*/ 35 w 42"/>
                <a:gd name="T5" fmla="*/ 9 h 19"/>
                <a:gd name="T6" fmla="*/ 29 w 42"/>
                <a:gd name="T7" fmla="*/ 2 h 19"/>
                <a:gd name="T8" fmla="*/ 18 w 42"/>
                <a:gd name="T9" fmla="*/ 0 h 19"/>
                <a:gd name="T10" fmla="*/ 5 w 42"/>
                <a:gd name="T11" fmla="*/ 2 h 19"/>
                <a:gd name="T12" fmla="*/ 0 w 42"/>
                <a:gd name="T13" fmla="*/ 9 h 19"/>
                <a:gd name="T14" fmla="*/ 5 w 42"/>
                <a:gd name="T15" fmla="*/ 12 h 19"/>
                <a:gd name="T16" fmla="*/ 18 w 42"/>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19"/>
                <a:gd name="T29" fmla="*/ 42 w 42"/>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19">
                  <a:moveTo>
                    <a:pt x="21" y="18"/>
                  </a:moveTo>
                  <a:lnTo>
                    <a:pt x="34" y="13"/>
                  </a:lnTo>
                  <a:lnTo>
                    <a:pt x="41" y="9"/>
                  </a:lnTo>
                  <a:lnTo>
                    <a:pt x="34" y="2"/>
                  </a:lnTo>
                  <a:lnTo>
                    <a:pt x="21" y="0"/>
                  </a:lnTo>
                  <a:lnTo>
                    <a:pt x="6" y="2"/>
                  </a:lnTo>
                  <a:lnTo>
                    <a:pt x="0" y="9"/>
                  </a:lnTo>
                  <a:lnTo>
                    <a:pt x="6" y="13"/>
                  </a:lnTo>
                  <a:lnTo>
                    <a:pt x="21"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79" name="Freeform 194">
              <a:extLst>
                <a:ext uri="{FF2B5EF4-FFF2-40B4-BE49-F238E27FC236}">
                  <a16:creationId xmlns:a16="http://schemas.microsoft.com/office/drawing/2014/main" id="{CA5FF8D7-5E0C-456A-81BF-8FA7CF44C750}"/>
                </a:ext>
              </a:extLst>
            </p:cNvPr>
            <p:cNvSpPr>
              <a:spLocks/>
            </p:cNvSpPr>
            <p:nvPr/>
          </p:nvSpPr>
          <p:spPr bwMode="auto">
            <a:xfrm>
              <a:off x="7367588" y="4779963"/>
              <a:ext cx="31750" cy="26988"/>
            </a:xfrm>
            <a:custGeom>
              <a:avLst/>
              <a:gdLst>
                <a:gd name="T0" fmla="*/ 10 w 23"/>
                <a:gd name="T1" fmla="*/ 16 h 19"/>
                <a:gd name="T2" fmla="*/ 16 w 23"/>
                <a:gd name="T3" fmla="*/ 14 h 19"/>
                <a:gd name="T4" fmla="*/ 19 w 23"/>
                <a:gd name="T5" fmla="*/ 8 h 19"/>
                <a:gd name="T6" fmla="*/ 16 w 23"/>
                <a:gd name="T7" fmla="*/ 3 h 19"/>
                <a:gd name="T8" fmla="*/ 10 w 23"/>
                <a:gd name="T9" fmla="*/ 0 h 19"/>
                <a:gd name="T10" fmla="*/ 2 w 23"/>
                <a:gd name="T11" fmla="*/ 3 h 19"/>
                <a:gd name="T12" fmla="*/ 0 w 23"/>
                <a:gd name="T13" fmla="*/ 8 h 19"/>
                <a:gd name="T14" fmla="*/ 2 w 23"/>
                <a:gd name="T15" fmla="*/ 14 h 19"/>
                <a:gd name="T16" fmla="*/ 10 w 23"/>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9"/>
                <a:gd name="T29" fmla="*/ 23 w 23"/>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9">
                  <a:moveTo>
                    <a:pt x="11" y="18"/>
                  </a:moveTo>
                  <a:lnTo>
                    <a:pt x="18" y="16"/>
                  </a:lnTo>
                  <a:lnTo>
                    <a:pt x="22" y="9"/>
                  </a:lnTo>
                  <a:lnTo>
                    <a:pt x="18" y="3"/>
                  </a:lnTo>
                  <a:lnTo>
                    <a:pt x="11" y="0"/>
                  </a:lnTo>
                  <a:lnTo>
                    <a:pt x="2" y="3"/>
                  </a:lnTo>
                  <a:lnTo>
                    <a:pt x="0" y="9"/>
                  </a:lnTo>
                  <a:lnTo>
                    <a:pt x="2" y="16"/>
                  </a:lnTo>
                  <a:lnTo>
                    <a:pt x="11"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0" name="Freeform 195">
              <a:extLst>
                <a:ext uri="{FF2B5EF4-FFF2-40B4-BE49-F238E27FC236}">
                  <a16:creationId xmlns:a16="http://schemas.microsoft.com/office/drawing/2014/main" id="{5F8FEB67-4EDF-4BF5-88F0-83629B777579}"/>
                </a:ext>
              </a:extLst>
            </p:cNvPr>
            <p:cNvSpPr>
              <a:spLocks/>
            </p:cNvSpPr>
            <p:nvPr/>
          </p:nvSpPr>
          <p:spPr bwMode="auto">
            <a:xfrm>
              <a:off x="7324725" y="4776788"/>
              <a:ext cx="26988" cy="26988"/>
            </a:xfrm>
            <a:custGeom>
              <a:avLst/>
              <a:gdLst>
                <a:gd name="T0" fmla="*/ 6 w 20"/>
                <a:gd name="T1" fmla="*/ 16 h 19"/>
                <a:gd name="T2" fmla="*/ 13 w 20"/>
                <a:gd name="T3" fmla="*/ 13 h 19"/>
                <a:gd name="T4" fmla="*/ 16 w 20"/>
                <a:gd name="T5" fmla="*/ 10 h 19"/>
                <a:gd name="T6" fmla="*/ 13 w 20"/>
                <a:gd name="T7" fmla="*/ 2 h 19"/>
                <a:gd name="T8" fmla="*/ 6 w 20"/>
                <a:gd name="T9" fmla="*/ 0 h 19"/>
                <a:gd name="T10" fmla="*/ 0 w 20"/>
                <a:gd name="T11" fmla="*/ 10 h 19"/>
                <a:gd name="T12" fmla="*/ 3 w 20"/>
                <a:gd name="T13" fmla="*/ 13 h 19"/>
                <a:gd name="T14" fmla="*/ 6 w 20"/>
                <a:gd name="T15" fmla="*/ 16 h 19"/>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9"/>
                <a:gd name="T26" fmla="*/ 20 w 20"/>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9">
                  <a:moveTo>
                    <a:pt x="7" y="18"/>
                  </a:moveTo>
                  <a:lnTo>
                    <a:pt x="15" y="15"/>
                  </a:lnTo>
                  <a:lnTo>
                    <a:pt x="19" y="11"/>
                  </a:lnTo>
                  <a:lnTo>
                    <a:pt x="15" y="2"/>
                  </a:lnTo>
                  <a:lnTo>
                    <a:pt x="7" y="0"/>
                  </a:lnTo>
                  <a:lnTo>
                    <a:pt x="0" y="11"/>
                  </a:lnTo>
                  <a:lnTo>
                    <a:pt x="3" y="15"/>
                  </a:lnTo>
                  <a:lnTo>
                    <a:pt x="7"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1" name="Freeform 196">
              <a:extLst>
                <a:ext uri="{FF2B5EF4-FFF2-40B4-BE49-F238E27FC236}">
                  <a16:creationId xmlns:a16="http://schemas.microsoft.com/office/drawing/2014/main" id="{1A4627BE-ED28-4A67-8D56-50DA57D93659}"/>
                </a:ext>
              </a:extLst>
            </p:cNvPr>
            <p:cNvSpPr>
              <a:spLocks/>
            </p:cNvSpPr>
            <p:nvPr/>
          </p:nvSpPr>
          <p:spPr bwMode="auto">
            <a:xfrm>
              <a:off x="7224713" y="4668838"/>
              <a:ext cx="122238" cy="144463"/>
            </a:xfrm>
            <a:custGeom>
              <a:avLst/>
              <a:gdLst>
                <a:gd name="T0" fmla="*/ 9 w 90"/>
                <a:gd name="T1" fmla="*/ 85 h 98"/>
                <a:gd name="T2" fmla="*/ 9 w 90"/>
                <a:gd name="T3" fmla="*/ 62 h 98"/>
                <a:gd name="T4" fmla="*/ 10 w 90"/>
                <a:gd name="T5" fmla="*/ 51 h 98"/>
                <a:gd name="T6" fmla="*/ 2 w 90"/>
                <a:gd name="T7" fmla="*/ 47 h 98"/>
                <a:gd name="T8" fmla="*/ 7 w 90"/>
                <a:gd name="T9" fmla="*/ 28 h 98"/>
                <a:gd name="T10" fmla="*/ 8 w 90"/>
                <a:gd name="T11" fmla="*/ 19 h 98"/>
                <a:gd name="T12" fmla="*/ 14 w 90"/>
                <a:gd name="T13" fmla="*/ 15 h 98"/>
                <a:gd name="T14" fmla="*/ 22 w 90"/>
                <a:gd name="T15" fmla="*/ 6 h 98"/>
                <a:gd name="T16" fmla="*/ 38 w 90"/>
                <a:gd name="T17" fmla="*/ 0 h 98"/>
                <a:gd name="T18" fmla="*/ 62 w 90"/>
                <a:gd name="T19" fmla="*/ 4 h 98"/>
                <a:gd name="T20" fmla="*/ 69 w 90"/>
                <a:gd name="T21" fmla="*/ 6 h 98"/>
                <a:gd name="T22" fmla="*/ 74 w 90"/>
                <a:gd name="T23" fmla="*/ 8 h 98"/>
                <a:gd name="T24" fmla="*/ 71 w 90"/>
                <a:gd name="T25" fmla="*/ 19 h 98"/>
                <a:gd name="T26" fmla="*/ 62 w 90"/>
                <a:gd name="T27" fmla="*/ 19 h 98"/>
                <a:gd name="T28" fmla="*/ 45 w 90"/>
                <a:gd name="T29" fmla="*/ 6 h 98"/>
                <a:gd name="T30" fmla="*/ 33 w 90"/>
                <a:gd name="T31" fmla="*/ 8 h 98"/>
                <a:gd name="T32" fmla="*/ 21 w 90"/>
                <a:gd name="T33" fmla="*/ 22 h 98"/>
                <a:gd name="T34" fmla="*/ 19 w 90"/>
                <a:gd name="T35" fmla="*/ 31 h 98"/>
                <a:gd name="T36" fmla="*/ 21 w 90"/>
                <a:gd name="T37" fmla="*/ 35 h 98"/>
                <a:gd name="T38" fmla="*/ 38 w 90"/>
                <a:gd name="T39" fmla="*/ 31 h 98"/>
                <a:gd name="T40" fmla="*/ 44 w 90"/>
                <a:gd name="T41" fmla="*/ 27 h 98"/>
                <a:gd name="T42" fmla="*/ 49 w 90"/>
                <a:gd name="T43" fmla="*/ 31 h 98"/>
                <a:gd name="T44" fmla="*/ 45 w 90"/>
                <a:gd name="T45" fmla="*/ 35 h 98"/>
                <a:gd name="T46" fmla="*/ 28 w 90"/>
                <a:gd name="T47" fmla="*/ 44 h 98"/>
                <a:gd name="T48" fmla="*/ 33 w 90"/>
                <a:gd name="T49" fmla="*/ 47 h 98"/>
                <a:gd name="T50" fmla="*/ 40 w 90"/>
                <a:gd name="T51" fmla="*/ 56 h 98"/>
                <a:gd name="T52" fmla="*/ 53 w 90"/>
                <a:gd name="T53" fmla="*/ 71 h 98"/>
                <a:gd name="T54" fmla="*/ 41 w 90"/>
                <a:gd name="T55" fmla="*/ 85 h 98"/>
                <a:gd name="T56" fmla="*/ 31 w 90"/>
                <a:gd name="T57" fmla="*/ 72 h 98"/>
                <a:gd name="T58" fmla="*/ 29 w 90"/>
                <a:gd name="T59" fmla="*/ 58 h 98"/>
                <a:gd name="T60" fmla="*/ 21 w 90"/>
                <a:gd name="T61" fmla="*/ 53 h 98"/>
                <a:gd name="T62" fmla="*/ 15 w 90"/>
                <a:gd name="T63" fmla="*/ 83 h 9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0"/>
                <a:gd name="T97" fmla="*/ 0 h 98"/>
                <a:gd name="T98" fmla="*/ 90 w 90"/>
                <a:gd name="T99" fmla="*/ 98 h 9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0" h="98">
                  <a:moveTo>
                    <a:pt x="17" y="89"/>
                  </a:moveTo>
                  <a:lnTo>
                    <a:pt x="11" y="91"/>
                  </a:lnTo>
                  <a:lnTo>
                    <a:pt x="9" y="82"/>
                  </a:lnTo>
                  <a:lnTo>
                    <a:pt x="11" y="67"/>
                  </a:lnTo>
                  <a:lnTo>
                    <a:pt x="12" y="59"/>
                  </a:lnTo>
                  <a:lnTo>
                    <a:pt x="12" y="55"/>
                  </a:lnTo>
                  <a:lnTo>
                    <a:pt x="8" y="54"/>
                  </a:lnTo>
                  <a:lnTo>
                    <a:pt x="2" y="51"/>
                  </a:lnTo>
                  <a:lnTo>
                    <a:pt x="0" y="45"/>
                  </a:lnTo>
                  <a:lnTo>
                    <a:pt x="8" y="30"/>
                  </a:lnTo>
                  <a:lnTo>
                    <a:pt x="8" y="24"/>
                  </a:lnTo>
                  <a:lnTo>
                    <a:pt x="9" y="20"/>
                  </a:lnTo>
                  <a:lnTo>
                    <a:pt x="14" y="16"/>
                  </a:lnTo>
                  <a:lnTo>
                    <a:pt x="16" y="16"/>
                  </a:lnTo>
                  <a:lnTo>
                    <a:pt x="21" y="14"/>
                  </a:lnTo>
                  <a:lnTo>
                    <a:pt x="26" y="6"/>
                  </a:lnTo>
                  <a:lnTo>
                    <a:pt x="34" y="3"/>
                  </a:lnTo>
                  <a:lnTo>
                    <a:pt x="44" y="0"/>
                  </a:lnTo>
                  <a:lnTo>
                    <a:pt x="54" y="0"/>
                  </a:lnTo>
                  <a:lnTo>
                    <a:pt x="73" y="4"/>
                  </a:lnTo>
                  <a:lnTo>
                    <a:pt x="77" y="6"/>
                  </a:lnTo>
                  <a:lnTo>
                    <a:pt x="81" y="6"/>
                  </a:lnTo>
                  <a:lnTo>
                    <a:pt x="82" y="4"/>
                  </a:lnTo>
                  <a:lnTo>
                    <a:pt x="87" y="9"/>
                  </a:lnTo>
                  <a:lnTo>
                    <a:pt x="89" y="14"/>
                  </a:lnTo>
                  <a:lnTo>
                    <a:pt x="83" y="20"/>
                  </a:lnTo>
                  <a:lnTo>
                    <a:pt x="77" y="22"/>
                  </a:lnTo>
                  <a:lnTo>
                    <a:pt x="73" y="20"/>
                  </a:lnTo>
                  <a:lnTo>
                    <a:pt x="64" y="12"/>
                  </a:lnTo>
                  <a:lnTo>
                    <a:pt x="53" y="6"/>
                  </a:lnTo>
                  <a:lnTo>
                    <a:pt x="46" y="6"/>
                  </a:lnTo>
                  <a:lnTo>
                    <a:pt x="38" y="9"/>
                  </a:lnTo>
                  <a:lnTo>
                    <a:pt x="26" y="18"/>
                  </a:lnTo>
                  <a:lnTo>
                    <a:pt x="24" y="24"/>
                  </a:lnTo>
                  <a:lnTo>
                    <a:pt x="23" y="29"/>
                  </a:lnTo>
                  <a:lnTo>
                    <a:pt x="22" y="33"/>
                  </a:lnTo>
                  <a:lnTo>
                    <a:pt x="21" y="37"/>
                  </a:lnTo>
                  <a:lnTo>
                    <a:pt x="24" y="38"/>
                  </a:lnTo>
                  <a:lnTo>
                    <a:pt x="38" y="36"/>
                  </a:lnTo>
                  <a:lnTo>
                    <a:pt x="44" y="33"/>
                  </a:lnTo>
                  <a:lnTo>
                    <a:pt x="47" y="31"/>
                  </a:lnTo>
                  <a:lnTo>
                    <a:pt x="52" y="29"/>
                  </a:lnTo>
                  <a:lnTo>
                    <a:pt x="56" y="29"/>
                  </a:lnTo>
                  <a:lnTo>
                    <a:pt x="57" y="33"/>
                  </a:lnTo>
                  <a:lnTo>
                    <a:pt x="56" y="36"/>
                  </a:lnTo>
                  <a:lnTo>
                    <a:pt x="53" y="38"/>
                  </a:lnTo>
                  <a:lnTo>
                    <a:pt x="34" y="45"/>
                  </a:lnTo>
                  <a:lnTo>
                    <a:pt x="33" y="47"/>
                  </a:lnTo>
                  <a:lnTo>
                    <a:pt x="34" y="49"/>
                  </a:lnTo>
                  <a:lnTo>
                    <a:pt x="38" y="51"/>
                  </a:lnTo>
                  <a:lnTo>
                    <a:pt x="43" y="55"/>
                  </a:lnTo>
                  <a:lnTo>
                    <a:pt x="47" y="60"/>
                  </a:lnTo>
                  <a:lnTo>
                    <a:pt x="50" y="69"/>
                  </a:lnTo>
                  <a:lnTo>
                    <a:pt x="62" y="76"/>
                  </a:lnTo>
                  <a:lnTo>
                    <a:pt x="65" y="90"/>
                  </a:lnTo>
                  <a:lnTo>
                    <a:pt x="48" y="92"/>
                  </a:lnTo>
                  <a:lnTo>
                    <a:pt x="38" y="97"/>
                  </a:lnTo>
                  <a:lnTo>
                    <a:pt x="36" y="78"/>
                  </a:lnTo>
                  <a:lnTo>
                    <a:pt x="35" y="64"/>
                  </a:lnTo>
                  <a:lnTo>
                    <a:pt x="34" y="62"/>
                  </a:lnTo>
                  <a:lnTo>
                    <a:pt x="28" y="56"/>
                  </a:lnTo>
                  <a:lnTo>
                    <a:pt x="24" y="57"/>
                  </a:lnTo>
                  <a:lnTo>
                    <a:pt x="24" y="78"/>
                  </a:lnTo>
                  <a:lnTo>
                    <a:pt x="17" y="89"/>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2" name="Freeform 197">
              <a:extLst>
                <a:ext uri="{FF2B5EF4-FFF2-40B4-BE49-F238E27FC236}">
                  <a16:creationId xmlns:a16="http://schemas.microsoft.com/office/drawing/2014/main" id="{0D58451E-15C9-4D79-AD7C-DE8E69A0E18D}"/>
                </a:ext>
              </a:extLst>
            </p:cNvPr>
            <p:cNvSpPr>
              <a:spLocks/>
            </p:cNvSpPr>
            <p:nvPr/>
          </p:nvSpPr>
          <p:spPr bwMode="auto">
            <a:xfrm>
              <a:off x="7151688" y="4860925"/>
              <a:ext cx="31750" cy="26988"/>
            </a:xfrm>
            <a:custGeom>
              <a:avLst/>
              <a:gdLst>
                <a:gd name="T0" fmla="*/ 9 w 23"/>
                <a:gd name="T1" fmla="*/ 0 h 19"/>
                <a:gd name="T2" fmla="*/ 17 w 23"/>
                <a:gd name="T3" fmla="*/ 3 h 19"/>
                <a:gd name="T4" fmla="*/ 19 w 23"/>
                <a:gd name="T5" fmla="*/ 9 h 19"/>
                <a:gd name="T6" fmla="*/ 17 w 23"/>
                <a:gd name="T7" fmla="*/ 14 h 19"/>
                <a:gd name="T8" fmla="*/ 9 w 23"/>
                <a:gd name="T9" fmla="*/ 16 h 19"/>
                <a:gd name="T10" fmla="*/ 2 w 23"/>
                <a:gd name="T11" fmla="*/ 14 h 19"/>
                <a:gd name="T12" fmla="*/ 0 w 23"/>
                <a:gd name="T13" fmla="*/ 9 h 19"/>
                <a:gd name="T14" fmla="*/ 2 w 23"/>
                <a:gd name="T15" fmla="*/ 3 h 19"/>
                <a:gd name="T16" fmla="*/ 9 w 23"/>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9"/>
                <a:gd name="T29" fmla="*/ 23 w 23"/>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9">
                  <a:moveTo>
                    <a:pt x="10" y="0"/>
                  </a:moveTo>
                  <a:lnTo>
                    <a:pt x="19" y="3"/>
                  </a:lnTo>
                  <a:lnTo>
                    <a:pt x="22" y="10"/>
                  </a:lnTo>
                  <a:lnTo>
                    <a:pt x="19" y="16"/>
                  </a:lnTo>
                  <a:lnTo>
                    <a:pt x="10" y="18"/>
                  </a:lnTo>
                  <a:lnTo>
                    <a:pt x="2" y="16"/>
                  </a:lnTo>
                  <a:lnTo>
                    <a:pt x="0" y="10"/>
                  </a:lnTo>
                  <a:lnTo>
                    <a:pt x="2" y="3"/>
                  </a:lnTo>
                  <a:lnTo>
                    <a:pt x="10"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3" name="Freeform 198">
              <a:extLst>
                <a:ext uri="{FF2B5EF4-FFF2-40B4-BE49-F238E27FC236}">
                  <a16:creationId xmlns:a16="http://schemas.microsoft.com/office/drawing/2014/main" id="{C330F674-EDC7-417A-9D88-0068BEF542D4}"/>
                </a:ext>
              </a:extLst>
            </p:cNvPr>
            <p:cNvSpPr>
              <a:spLocks/>
            </p:cNvSpPr>
            <p:nvPr/>
          </p:nvSpPr>
          <p:spPr bwMode="auto">
            <a:xfrm>
              <a:off x="7202488" y="4867275"/>
              <a:ext cx="26988" cy="28575"/>
            </a:xfrm>
            <a:custGeom>
              <a:avLst/>
              <a:gdLst>
                <a:gd name="T0" fmla="*/ 8 w 20"/>
                <a:gd name="T1" fmla="*/ 0 h 19"/>
                <a:gd name="T2" fmla="*/ 14 w 20"/>
                <a:gd name="T3" fmla="*/ 2 h 19"/>
                <a:gd name="T4" fmla="*/ 16 w 20"/>
                <a:gd name="T5" fmla="*/ 9 h 19"/>
                <a:gd name="T6" fmla="*/ 14 w 20"/>
                <a:gd name="T7" fmla="*/ 14 h 19"/>
                <a:gd name="T8" fmla="*/ 8 w 20"/>
                <a:gd name="T9" fmla="*/ 17 h 19"/>
                <a:gd name="T10" fmla="*/ 3 w 20"/>
                <a:gd name="T11" fmla="*/ 14 h 19"/>
                <a:gd name="T12" fmla="*/ 0 w 20"/>
                <a:gd name="T13" fmla="*/ 9 h 19"/>
                <a:gd name="T14" fmla="*/ 3 w 20"/>
                <a:gd name="T15" fmla="*/ 2 h 19"/>
                <a:gd name="T16" fmla="*/ 8 w 20"/>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9" y="0"/>
                  </a:moveTo>
                  <a:lnTo>
                    <a:pt x="16" y="2"/>
                  </a:lnTo>
                  <a:lnTo>
                    <a:pt x="19" y="10"/>
                  </a:lnTo>
                  <a:lnTo>
                    <a:pt x="16" y="15"/>
                  </a:lnTo>
                  <a:lnTo>
                    <a:pt x="9" y="18"/>
                  </a:lnTo>
                  <a:lnTo>
                    <a:pt x="3" y="15"/>
                  </a:lnTo>
                  <a:lnTo>
                    <a:pt x="0" y="10"/>
                  </a:lnTo>
                  <a:lnTo>
                    <a:pt x="3" y="2"/>
                  </a:lnTo>
                  <a:lnTo>
                    <a:pt x="9"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4" name="Freeform 199">
              <a:extLst>
                <a:ext uri="{FF2B5EF4-FFF2-40B4-BE49-F238E27FC236}">
                  <a16:creationId xmlns:a16="http://schemas.microsoft.com/office/drawing/2014/main" id="{DA21353F-A608-47BF-A17C-1AB331497E62}"/>
                </a:ext>
              </a:extLst>
            </p:cNvPr>
            <p:cNvSpPr>
              <a:spLocks/>
            </p:cNvSpPr>
            <p:nvPr/>
          </p:nvSpPr>
          <p:spPr bwMode="auto">
            <a:xfrm>
              <a:off x="7232650" y="4883150"/>
              <a:ext cx="26988" cy="34925"/>
            </a:xfrm>
            <a:custGeom>
              <a:avLst/>
              <a:gdLst>
                <a:gd name="T0" fmla="*/ 8 w 20"/>
                <a:gd name="T1" fmla="*/ 0 h 23"/>
                <a:gd name="T2" fmla="*/ 3 w 20"/>
                <a:gd name="T3" fmla="*/ 4 h 23"/>
                <a:gd name="T4" fmla="*/ 0 w 20"/>
                <a:gd name="T5" fmla="*/ 11 h 23"/>
                <a:gd name="T6" fmla="*/ 3 w 20"/>
                <a:gd name="T7" fmla="*/ 17 h 23"/>
                <a:gd name="T8" fmla="*/ 8 w 20"/>
                <a:gd name="T9" fmla="*/ 21 h 23"/>
                <a:gd name="T10" fmla="*/ 14 w 20"/>
                <a:gd name="T11" fmla="*/ 17 h 23"/>
                <a:gd name="T12" fmla="*/ 16 w 20"/>
                <a:gd name="T13" fmla="*/ 11 h 23"/>
                <a:gd name="T14" fmla="*/ 14 w 20"/>
                <a:gd name="T15" fmla="*/ 4 h 23"/>
                <a:gd name="T16" fmla="*/ 8 w 20"/>
                <a:gd name="T17" fmla="*/ 0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3"/>
                <a:gd name="T29" fmla="*/ 20 w 20"/>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3">
                  <a:moveTo>
                    <a:pt x="9" y="0"/>
                  </a:moveTo>
                  <a:lnTo>
                    <a:pt x="3" y="4"/>
                  </a:lnTo>
                  <a:lnTo>
                    <a:pt x="0" y="11"/>
                  </a:lnTo>
                  <a:lnTo>
                    <a:pt x="3" y="18"/>
                  </a:lnTo>
                  <a:lnTo>
                    <a:pt x="9" y="22"/>
                  </a:lnTo>
                  <a:lnTo>
                    <a:pt x="17" y="18"/>
                  </a:lnTo>
                  <a:lnTo>
                    <a:pt x="19" y="11"/>
                  </a:lnTo>
                  <a:lnTo>
                    <a:pt x="17" y="4"/>
                  </a:lnTo>
                  <a:lnTo>
                    <a:pt x="9"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5" name="Freeform 200">
              <a:extLst>
                <a:ext uri="{FF2B5EF4-FFF2-40B4-BE49-F238E27FC236}">
                  <a16:creationId xmlns:a16="http://schemas.microsoft.com/office/drawing/2014/main" id="{382BCECE-0C39-4E30-BC00-E477B54192D5}"/>
                </a:ext>
              </a:extLst>
            </p:cNvPr>
            <p:cNvSpPr>
              <a:spLocks/>
            </p:cNvSpPr>
            <p:nvPr/>
          </p:nvSpPr>
          <p:spPr bwMode="auto">
            <a:xfrm>
              <a:off x="7242175" y="4859338"/>
              <a:ext cx="55563" cy="26988"/>
            </a:xfrm>
            <a:custGeom>
              <a:avLst/>
              <a:gdLst>
                <a:gd name="T0" fmla="*/ 17 w 42"/>
                <a:gd name="T1" fmla="*/ 16 h 19"/>
                <a:gd name="T2" fmla="*/ 28 w 42"/>
                <a:gd name="T3" fmla="*/ 13 h 19"/>
                <a:gd name="T4" fmla="*/ 34 w 42"/>
                <a:gd name="T5" fmla="*/ 7 h 19"/>
                <a:gd name="T6" fmla="*/ 28 w 42"/>
                <a:gd name="T7" fmla="*/ 2 h 19"/>
                <a:gd name="T8" fmla="*/ 17 w 42"/>
                <a:gd name="T9" fmla="*/ 0 h 19"/>
                <a:gd name="T10" fmla="*/ 4 w 42"/>
                <a:gd name="T11" fmla="*/ 2 h 19"/>
                <a:gd name="T12" fmla="*/ 0 w 42"/>
                <a:gd name="T13" fmla="*/ 7 h 19"/>
                <a:gd name="T14" fmla="*/ 4 w 42"/>
                <a:gd name="T15" fmla="*/ 13 h 19"/>
                <a:gd name="T16" fmla="*/ 17 w 42"/>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19"/>
                <a:gd name="T29" fmla="*/ 42 w 42"/>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19">
                  <a:moveTo>
                    <a:pt x="20" y="18"/>
                  </a:moveTo>
                  <a:lnTo>
                    <a:pt x="33" y="14"/>
                  </a:lnTo>
                  <a:lnTo>
                    <a:pt x="41" y="8"/>
                  </a:lnTo>
                  <a:lnTo>
                    <a:pt x="33" y="2"/>
                  </a:lnTo>
                  <a:lnTo>
                    <a:pt x="20" y="0"/>
                  </a:lnTo>
                  <a:lnTo>
                    <a:pt x="5" y="2"/>
                  </a:lnTo>
                  <a:lnTo>
                    <a:pt x="0" y="8"/>
                  </a:lnTo>
                  <a:lnTo>
                    <a:pt x="5" y="14"/>
                  </a:lnTo>
                  <a:lnTo>
                    <a:pt x="20" y="18"/>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6" name="Freeform 201">
              <a:extLst>
                <a:ext uri="{FF2B5EF4-FFF2-40B4-BE49-F238E27FC236}">
                  <a16:creationId xmlns:a16="http://schemas.microsoft.com/office/drawing/2014/main" id="{578B2359-624C-4D79-A7DF-9DC36CB07ADF}"/>
                </a:ext>
              </a:extLst>
            </p:cNvPr>
            <p:cNvSpPr>
              <a:spLocks/>
            </p:cNvSpPr>
            <p:nvPr/>
          </p:nvSpPr>
          <p:spPr bwMode="auto">
            <a:xfrm>
              <a:off x="6778625" y="4610100"/>
              <a:ext cx="198438" cy="215900"/>
            </a:xfrm>
            <a:custGeom>
              <a:avLst/>
              <a:gdLst>
                <a:gd name="T0" fmla="*/ 0 w 146"/>
                <a:gd name="T1" fmla="*/ 0 h 147"/>
                <a:gd name="T2" fmla="*/ 4 w 146"/>
                <a:gd name="T3" fmla="*/ 2 h 147"/>
                <a:gd name="T4" fmla="*/ 14 w 146"/>
                <a:gd name="T5" fmla="*/ 2 h 147"/>
                <a:gd name="T6" fmla="*/ 22 w 146"/>
                <a:gd name="T7" fmla="*/ 0 h 147"/>
                <a:gd name="T8" fmla="*/ 27 w 146"/>
                <a:gd name="T9" fmla="*/ 2 h 147"/>
                <a:gd name="T10" fmla="*/ 33 w 146"/>
                <a:gd name="T11" fmla="*/ 6 h 147"/>
                <a:gd name="T12" fmla="*/ 37 w 146"/>
                <a:gd name="T13" fmla="*/ 16 h 147"/>
                <a:gd name="T14" fmla="*/ 37 w 146"/>
                <a:gd name="T15" fmla="*/ 18 h 147"/>
                <a:gd name="T16" fmla="*/ 60 w 146"/>
                <a:gd name="T17" fmla="*/ 37 h 147"/>
                <a:gd name="T18" fmla="*/ 62 w 146"/>
                <a:gd name="T19" fmla="*/ 35 h 147"/>
                <a:gd name="T20" fmla="*/ 100 w 146"/>
                <a:gd name="T21" fmla="*/ 66 h 147"/>
                <a:gd name="T22" fmla="*/ 95 w 146"/>
                <a:gd name="T23" fmla="*/ 68 h 147"/>
                <a:gd name="T24" fmla="*/ 93 w 146"/>
                <a:gd name="T25" fmla="*/ 69 h 147"/>
                <a:gd name="T26" fmla="*/ 96 w 146"/>
                <a:gd name="T27" fmla="*/ 74 h 147"/>
                <a:gd name="T28" fmla="*/ 104 w 146"/>
                <a:gd name="T29" fmla="*/ 80 h 147"/>
                <a:gd name="T30" fmla="*/ 104 w 146"/>
                <a:gd name="T31" fmla="*/ 90 h 147"/>
                <a:gd name="T32" fmla="*/ 115 w 146"/>
                <a:gd name="T33" fmla="*/ 90 h 147"/>
                <a:gd name="T34" fmla="*/ 124 w 146"/>
                <a:gd name="T35" fmla="*/ 105 h 147"/>
                <a:gd name="T36" fmla="*/ 122 w 146"/>
                <a:gd name="T37" fmla="*/ 107 h 147"/>
                <a:gd name="T38" fmla="*/ 124 w 146"/>
                <a:gd name="T39" fmla="*/ 116 h 147"/>
                <a:gd name="T40" fmla="*/ 124 w 146"/>
                <a:gd name="T41" fmla="*/ 122 h 147"/>
                <a:gd name="T42" fmla="*/ 124 w 146"/>
                <a:gd name="T43" fmla="*/ 127 h 147"/>
                <a:gd name="T44" fmla="*/ 122 w 146"/>
                <a:gd name="T45" fmla="*/ 130 h 147"/>
                <a:gd name="T46" fmla="*/ 121 w 146"/>
                <a:gd name="T47" fmla="*/ 133 h 147"/>
                <a:gd name="T48" fmla="*/ 116 w 146"/>
                <a:gd name="T49" fmla="*/ 135 h 147"/>
                <a:gd name="T50" fmla="*/ 111 w 146"/>
                <a:gd name="T51" fmla="*/ 135 h 147"/>
                <a:gd name="T52" fmla="*/ 93 w 146"/>
                <a:gd name="T53" fmla="*/ 129 h 147"/>
                <a:gd name="T54" fmla="*/ 75 w 146"/>
                <a:gd name="T55" fmla="*/ 105 h 147"/>
                <a:gd name="T56" fmla="*/ 51 w 146"/>
                <a:gd name="T57" fmla="*/ 71 h 147"/>
                <a:gd name="T58" fmla="*/ 47 w 146"/>
                <a:gd name="T59" fmla="*/ 61 h 147"/>
                <a:gd name="T60" fmla="*/ 39 w 146"/>
                <a:gd name="T61" fmla="*/ 56 h 147"/>
                <a:gd name="T62" fmla="*/ 36 w 146"/>
                <a:gd name="T63" fmla="*/ 47 h 147"/>
                <a:gd name="T64" fmla="*/ 29 w 146"/>
                <a:gd name="T65" fmla="*/ 38 h 147"/>
                <a:gd name="T66" fmla="*/ 13 w 146"/>
                <a:gd name="T67" fmla="*/ 14 h 147"/>
                <a:gd name="T68" fmla="*/ 3 w 146"/>
                <a:gd name="T69" fmla="*/ 9 h 147"/>
                <a:gd name="T70" fmla="*/ 0 w 146"/>
                <a:gd name="T71" fmla="*/ 4 h 147"/>
                <a:gd name="T72" fmla="*/ 0 w 146"/>
                <a:gd name="T73" fmla="*/ 0 h 1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6"/>
                <a:gd name="T112" fmla="*/ 0 h 147"/>
                <a:gd name="T113" fmla="*/ 146 w 146"/>
                <a:gd name="T114" fmla="*/ 147 h 1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6" h="147">
                  <a:moveTo>
                    <a:pt x="0" y="0"/>
                  </a:moveTo>
                  <a:lnTo>
                    <a:pt x="5" y="2"/>
                  </a:lnTo>
                  <a:lnTo>
                    <a:pt x="16" y="2"/>
                  </a:lnTo>
                  <a:lnTo>
                    <a:pt x="26" y="0"/>
                  </a:lnTo>
                  <a:lnTo>
                    <a:pt x="32" y="2"/>
                  </a:lnTo>
                  <a:lnTo>
                    <a:pt x="39" y="6"/>
                  </a:lnTo>
                  <a:lnTo>
                    <a:pt x="43" y="17"/>
                  </a:lnTo>
                  <a:lnTo>
                    <a:pt x="43" y="19"/>
                  </a:lnTo>
                  <a:lnTo>
                    <a:pt x="70" y="40"/>
                  </a:lnTo>
                  <a:lnTo>
                    <a:pt x="72" y="38"/>
                  </a:lnTo>
                  <a:lnTo>
                    <a:pt x="117" y="71"/>
                  </a:lnTo>
                  <a:lnTo>
                    <a:pt x="111" y="73"/>
                  </a:lnTo>
                  <a:lnTo>
                    <a:pt x="109" y="75"/>
                  </a:lnTo>
                  <a:lnTo>
                    <a:pt x="112" y="80"/>
                  </a:lnTo>
                  <a:lnTo>
                    <a:pt x="121" y="86"/>
                  </a:lnTo>
                  <a:lnTo>
                    <a:pt x="121" y="97"/>
                  </a:lnTo>
                  <a:lnTo>
                    <a:pt x="134" y="97"/>
                  </a:lnTo>
                  <a:lnTo>
                    <a:pt x="145" y="113"/>
                  </a:lnTo>
                  <a:lnTo>
                    <a:pt x="142" y="116"/>
                  </a:lnTo>
                  <a:lnTo>
                    <a:pt x="145" y="125"/>
                  </a:lnTo>
                  <a:lnTo>
                    <a:pt x="145" y="132"/>
                  </a:lnTo>
                  <a:lnTo>
                    <a:pt x="145" y="137"/>
                  </a:lnTo>
                  <a:lnTo>
                    <a:pt x="143" y="141"/>
                  </a:lnTo>
                  <a:lnTo>
                    <a:pt x="141" y="144"/>
                  </a:lnTo>
                  <a:lnTo>
                    <a:pt x="136" y="146"/>
                  </a:lnTo>
                  <a:lnTo>
                    <a:pt x="130" y="146"/>
                  </a:lnTo>
                  <a:lnTo>
                    <a:pt x="109" y="139"/>
                  </a:lnTo>
                  <a:lnTo>
                    <a:pt x="88" y="113"/>
                  </a:lnTo>
                  <a:lnTo>
                    <a:pt x="59" y="77"/>
                  </a:lnTo>
                  <a:lnTo>
                    <a:pt x="55" y="66"/>
                  </a:lnTo>
                  <a:lnTo>
                    <a:pt x="45" y="60"/>
                  </a:lnTo>
                  <a:lnTo>
                    <a:pt x="42" y="51"/>
                  </a:lnTo>
                  <a:lnTo>
                    <a:pt x="34" y="41"/>
                  </a:lnTo>
                  <a:lnTo>
                    <a:pt x="15" y="15"/>
                  </a:lnTo>
                  <a:lnTo>
                    <a:pt x="4" y="10"/>
                  </a:lnTo>
                  <a:lnTo>
                    <a:pt x="0" y="4"/>
                  </a:lnTo>
                  <a:lnTo>
                    <a:pt x="0" y="0"/>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7" name="Freeform 202">
              <a:extLst>
                <a:ext uri="{FF2B5EF4-FFF2-40B4-BE49-F238E27FC236}">
                  <a16:creationId xmlns:a16="http://schemas.microsoft.com/office/drawing/2014/main" id="{783A83E2-9048-4FFA-B6D8-6120677C4DE1}"/>
                </a:ext>
              </a:extLst>
            </p:cNvPr>
            <p:cNvSpPr>
              <a:spLocks/>
            </p:cNvSpPr>
            <p:nvPr/>
          </p:nvSpPr>
          <p:spPr bwMode="auto">
            <a:xfrm>
              <a:off x="6972300" y="4829175"/>
              <a:ext cx="166688" cy="50800"/>
            </a:xfrm>
            <a:custGeom>
              <a:avLst/>
              <a:gdLst>
                <a:gd name="T0" fmla="*/ 44 w 123"/>
                <a:gd name="T1" fmla="*/ 21 h 34"/>
                <a:gd name="T2" fmla="*/ 20 w 123"/>
                <a:gd name="T3" fmla="*/ 20 h 34"/>
                <a:gd name="T4" fmla="*/ 0 w 123"/>
                <a:gd name="T5" fmla="*/ 10 h 34"/>
                <a:gd name="T6" fmla="*/ 1 w 123"/>
                <a:gd name="T7" fmla="*/ 3 h 34"/>
                <a:gd name="T8" fmla="*/ 8 w 123"/>
                <a:gd name="T9" fmla="*/ 1 h 34"/>
                <a:gd name="T10" fmla="*/ 22 w 123"/>
                <a:gd name="T11" fmla="*/ 0 h 34"/>
                <a:gd name="T12" fmla="*/ 50 w 123"/>
                <a:gd name="T13" fmla="*/ 7 h 34"/>
                <a:gd name="T14" fmla="*/ 59 w 123"/>
                <a:gd name="T15" fmla="*/ 6 h 34"/>
                <a:gd name="T16" fmla="*/ 67 w 123"/>
                <a:gd name="T17" fmla="*/ 6 h 34"/>
                <a:gd name="T18" fmla="*/ 75 w 123"/>
                <a:gd name="T19" fmla="*/ 7 h 34"/>
                <a:gd name="T20" fmla="*/ 102 w 123"/>
                <a:gd name="T21" fmla="*/ 18 h 34"/>
                <a:gd name="T22" fmla="*/ 104 w 123"/>
                <a:gd name="T23" fmla="*/ 24 h 34"/>
                <a:gd name="T24" fmla="*/ 104 w 123"/>
                <a:gd name="T25" fmla="*/ 28 h 34"/>
                <a:gd name="T26" fmla="*/ 98 w 123"/>
                <a:gd name="T27" fmla="*/ 31 h 34"/>
                <a:gd name="T28" fmla="*/ 65 w 123"/>
                <a:gd name="T29" fmla="*/ 26 h 34"/>
                <a:gd name="T30" fmla="*/ 44 w 123"/>
                <a:gd name="T31" fmla="*/ 21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34"/>
                <a:gd name="T50" fmla="*/ 123 w 123"/>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34">
                  <a:moveTo>
                    <a:pt x="52" y="22"/>
                  </a:moveTo>
                  <a:lnTo>
                    <a:pt x="23" y="21"/>
                  </a:lnTo>
                  <a:lnTo>
                    <a:pt x="0" y="11"/>
                  </a:lnTo>
                  <a:lnTo>
                    <a:pt x="1" y="3"/>
                  </a:lnTo>
                  <a:lnTo>
                    <a:pt x="9" y="1"/>
                  </a:lnTo>
                  <a:lnTo>
                    <a:pt x="26" y="0"/>
                  </a:lnTo>
                  <a:lnTo>
                    <a:pt x="59" y="7"/>
                  </a:lnTo>
                  <a:lnTo>
                    <a:pt x="69" y="6"/>
                  </a:lnTo>
                  <a:lnTo>
                    <a:pt x="79" y="6"/>
                  </a:lnTo>
                  <a:lnTo>
                    <a:pt x="88" y="7"/>
                  </a:lnTo>
                  <a:lnTo>
                    <a:pt x="119" y="19"/>
                  </a:lnTo>
                  <a:lnTo>
                    <a:pt x="122" y="26"/>
                  </a:lnTo>
                  <a:lnTo>
                    <a:pt x="122" y="30"/>
                  </a:lnTo>
                  <a:lnTo>
                    <a:pt x="115" y="33"/>
                  </a:lnTo>
                  <a:lnTo>
                    <a:pt x="76" y="28"/>
                  </a:lnTo>
                  <a:lnTo>
                    <a:pt x="52" y="22"/>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sp>
          <p:nvSpPr>
            <p:cNvPr id="88" name="Freeform 203">
              <a:extLst>
                <a:ext uri="{FF2B5EF4-FFF2-40B4-BE49-F238E27FC236}">
                  <a16:creationId xmlns:a16="http://schemas.microsoft.com/office/drawing/2014/main" id="{9DDE6565-ED25-47F2-84F2-AF6FB3DB690E}"/>
                </a:ext>
              </a:extLst>
            </p:cNvPr>
            <p:cNvSpPr>
              <a:spLocks/>
            </p:cNvSpPr>
            <p:nvPr/>
          </p:nvSpPr>
          <p:spPr bwMode="auto">
            <a:xfrm>
              <a:off x="7304088" y="4862513"/>
              <a:ext cx="87313" cy="42863"/>
            </a:xfrm>
            <a:custGeom>
              <a:avLst/>
              <a:gdLst>
                <a:gd name="T0" fmla="*/ 14 w 65"/>
                <a:gd name="T1" fmla="*/ 23 h 29"/>
                <a:gd name="T2" fmla="*/ 0 w 65"/>
                <a:gd name="T3" fmla="*/ 26 h 29"/>
                <a:gd name="T4" fmla="*/ 1 w 65"/>
                <a:gd name="T5" fmla="*/ 18 h 29"/>
                <a:gd name="T6" fmla="*/ 9 w 65"/>
                <a:gd name="T7" fmla="*/ 10 h 29"/>
                <a:gd name="T8" fmla="*/ 16 w 65"/>
                <a:gd name="T9" fmla="*/ 6 h 29"/>
                <a:gd name="T10" fmla="*/ 23 w 65"/>
                <a:gd name="T11" fmla="*/ 5 h 29"/>
                <a:gd name="T12" fmla="*/ 30 w 65"/>
                <a:gd name="T13" fmla="*/ 5 h 29"/>
                <a:gd name="T14" fmla="*/ 36 w 65"/>
                <a:gd name="T15" fmla="*/ 3 h 29"/>
                <a:gd name="T16" fmla="*/ 44 w 65"/>
                <a:gd name="T17" fmla="*/ 0 h 29"/>
                <a:gd name="T18" fmla="*/ 49 w 65"/>
                <a:gd name="T19" fmla="*/ 0 h 29"/>
                <a:gd name="T20" fmla="*/ 52 w 65"/>
                <a:gd name="T21" fmla="*/ 1 h 29"/>
                <a:gd name="T22" fmla="*/ 54 w 65"/>
                <a:gd name="T23" fmla="*/ 3 h 29"/>
                <a:gd name="T24" fmla="*/ 49 w 65"/>
                <a:gd name="T25" fmla="*/ 6 h 29"/>
                <a:gd name="T26" fmla="*/ 44 w 65"/>
                <a:gd name="T27" fmla="*/ 9 h 29"/>
                <a:gd name="T28" fmla="*/ 37 w 65"/>
                <a:gd name="T29" fmla="*/ 12 h 29"/>
                <a:gd name="T30" fmla="*/ 14 w 65"/>
                <a:gd name="T31" fmla="*/ 23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5"/>
                <a:gd name="T49" fmla="*/ 0 h 29"/>
                <a:gd name="T50" fmla="*/ 65 w 65"/>
                <a:gd name="T51" fmla="*/ 29 h 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5" h="29">
                  <a:moveTo>
                    <a:pt x="17" y="25"/>
                  </a:moveTo>
                  <a:lnTo>
                    <a:pt x="0" y="28"/>
                  </a:lnTo>
                  <a:lnTo>
                    <a:pt x="1" y="19"/>
                  </a:lnTo>
                  <a:lnTo>
                    <a:pt x="11" y="11"/>
                  </a:lnTo>
                  <a:lnTo>
                    <a:pt x="19" y="6"/>
                  </a:lnTo>
                  <a:lnTo>
                    <a:pt x="27" y="5"/>
                  </a:lnTo>
                  <a:lnTo>
                    <a:pt x="35" y="5"/>
                  </a:lnTo>
                  <a:lnTo>
                    <a:pt x="43" y="3"/>
                  </a:lnTo>
                  <a:lnTo>
                    <a:pt x="52" y="0"/>
                  </a:lnTo>
                  <a:lnTo>
                    <a:pt x="58" y="0"/>
                  </a:lnTo>
                  <a:lnTo>
                    <a:pt x="61" y="1"/>
                  </a:lnTo>
                  <a:lnTo>
                    <a:pt x="64" y="3"/>
                  </a:lnTo>
                  <a:lnTo>
                    <a:pt x="58" y="6"/>
                  </a:lnTo>
                  <a:lnTo>
                    <a:pt x="52" y="10"/>
                  </a:lnTo>
                  <a:lnTo>
                    <a:pt x="44" y="13"/>
                  </a:lnTo>
                  <a:lnTo>
                    <a:pt x="17" y="25"/>
                  </a:lnTo>
                </a:path>
              </a:pathLst>
            </a:custGeom>
            <a:grpFill/>
            <a:ln w="6350" cap="rnd" cmpd="sng">
              <a:solidFill>
                <a:srgbClr val="FFFFFF"/>
              </a:solidFill>
              <a:prstDash val="solid"/>
              <a:round/>
              <a:headEnd type="none" w="sm" len="sm"/>
              <a:tailEnd type="none" w="sm" len="sm"/>
            </a:ln>
          </p:spPr>
          <p:txBody>
            <a:body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sz="1700" b="0" i="0" u="none" strike="noStrike" kern="0" cap="none" spc="0" normalizeH="0" baseline="0" noProof="0" dirty="0">
                <a:ln>
                  <a:noFill/>
                </a:ln>
                <a:solidFill>
                  <a:srgbClr val="808080"/>
                </a:solidFill>
                <a:effectLst/>
                <a:uLnTx/>
                <a:uFillTx/>
                <a:latin typeface="EYInterstate Light" panose="02000506000000020004" pitchFamily="2" charset="0"/>
                <a:ea typeface="+mn-ea"/>
                <a:cs typeface="Arial" charset="0"/>
              </a:endParaRPr>
            </a:p>
          </p:txBody>
        </p:sp>
      </p:grpSp>
      <p:cxnSp>
        <p:nvCxnSpPr>
          <p:cNvPr id="89" name="Straight Connector 88">
            <a:extLst>
              <a:ext uri="{FF2B5EF4-FFF2-40B4-BE49-F238E27FC236}">
                <a16:creationId xmlns:a16="http://schemas.microsoft.com/office/drawing/2014/main" id="{25C18DBD-0ED1-4E16-A13C-9A1FE906DA2F}"/>
              </a:ext>
            </a:extLst>
          </p:cNvPr>
          <p:cNvCxnSpPr>
            <a:cxnSpLocks/>
          </p:cNvCxnSpPr>
          <p:nvPr/>
        </p:nvCxnSpPr>
        <p:spPr>
          <a:xfrm flipH="1">
            <a:off x="7294363" y="1962539"/>
            <a:ext cx="3399926" cy="1334326"/>
          </a:xfrm>
          <a:prstGeom prst="line">
            <a:avLst/>
          </a:prstGeom>
          <a:noFill/>
          <a:ln w="9525" cap="flat" cmpd="sng" algn="ctr">
            <a:solidFill>
              <a:srgbClr val="808080"/>
            </a:solidFill>
            <a:prstDash val="solid"/>
            <a:tailEnd type="oval"/>
          </a:ln>
          <a:effectLst/>
        </p:spPr>
      </p:cxnSp>
      <p:cxnSp>
        <p:nvCxnSpPr>
          <p:cNvPr id="90" name="Straight Connector 89">
            <a:extLst>
              <a:ext uri="{FF2B5EF4-FFF2-40B4-BE49-F238E27FC236}">
                <a16:creationId xmlns:a16="http://schemas.microsoft.com/office/drawing/2014/main" id="{3097F293-873F-4F2A-85E1-5FC7B4C99432}"/>
              </a:ext>
            </a:extLst>
          </p:cNvPr>
          <p:cNvCxnSpPr>
            <a:cxnSpLocks/>
          </p:cNvCxnSpPr>
          <p:nvPr/>
        </p:nvCxnSpPr>
        <p:spPr>
          <a:xfrm flipH="1">
            <a:off x="7465661" y="3068291"/>
            <a:ext cx="3005380" cy="239425"/>
          </a:xfrm>
          <a:prstGeom prst="line">
            <a:avLst/>
          </a:prstGeom>
          <a:noFill/>
          <a:ln w="9525" cap="flat" cmpd="sng" algn="ctr">
            <a:solidFill>
              <a:srgbClr val="808080"/>
            </a:solidFill>
            <a:prstDash val="solid"/>
            <a:tailEnd type="oval"/>
          </a:ln>
          <a:effectLst/>
        </p:spPr>
      </p:cxnSp>
      <p:cxnSp>
        <p:nvCxnSpPr>
          <p:cNvPr id="91" name="Straight Connector 90">
            <a:extLst>
              <a:ext uri="{FF2B5EF4-FFF2-40B4-BE49-F238E27FC236}">
                <a16:creationId xmlns:a16="http://schemas.microsoft.com/office/drawing/2014/main" id="{9D269358-2FE7-4BD0-898A-6A04F88A35F9}"/>
              </a:ext>
            </a:extLst>
          </p:cNvPr>
          <p:cNvCxnSpPr>
            <a:cxnSpLocks/>
          </p:cNvCxnSpPr>
          <p:nvPr/>
        </p:nvCxnSpPr>
        <p:spPr>
          <a:xfrm flipH="1" flipV="1">
            <a:off x="6903237" y="3755290"/>
            <a:ext cx="4346512" cy="750613"/>
          </a:xfrm>
          <a:prstGeom prst="line">
            <a:avLst/>
          </a:prstGeom>
          <a:noFill/>
          <a:ln w="9525" cap="flat" cmpd="sng" algn="ctr">
            <a:solidFill>
              <a:srgbClr val="808080"/>
            </a:solidFill>
            <a:prstDash val="solid"/>
            <a:tailEnd type="oval"/>
          </a:ln>
          <a:effectLst/>
        </p:spPr>
      </p:cxnSp>
      <p:pic>
        <p:nvPicPr>
          <p:cNvPr id="92" name="Picture 2" descr="Image result for hk flag">
            <a:extLst>
              <a:ext uri="{FF2B5EF4-FFF2-40B4-BE49-F238E27FC236}">
                <a16:creationId xmlns:a16="http://schemas.microsoft.com/office/drawing/2014/main" id="{EA7F84DA-EE6B-4951-8288-892D0CFF393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97792" y="1465351"/>
            <a:ext cx="558196" cy="372055"/>
          </a:xfrm>
          <a:prstGeom prst="rect">
            <a:avLst/>
          </a:prstGeom>
          <a:noFill/>
          <a:extLst>
            <a:ext uri="{909E8E84-426E-40DD-AFC4-6F175D3DCCD1}">
              <a14:hiddenFill xmlns:a14="http://schemas.microsoft.com/office/drawing/2010/main">
                <a:solidFill>
                  <a:srgbClr val="FFFFFF"/>
                </a:solidFill>
              </a14:hiddenFill>
            </a:ext>
          </a:extLst>
        </p:spPr>
      </p:pic>
      <p:cxnSp>
        <p:nvCxnSpPr>
          <p:cNvPr id="93" name="Straight Connector 92">
            <a:extLst>
              <a:ext uri="{FF2B5EF4-FFF2-40B4-BE49-F238E27FC236}">
                <a16:creationId xmlns:a16="http://schemas.microsoft.com/office/drawing/2014/main" id="{4A4188B7-3777-412C-B69A-D1BAC7EDD7F8}"/>
              </a:ext>
            </a:extLst>
          </p:cNvPr>
          <p:cNvCxnSpPr>
            <a:cxnSpLocks/>
          </p:cNvCxnSpPr>
          <p:nvPr/>
        </p:nvCxnSpPr>
        <p:spPr>
          <a:xfrm>
            <a:off x="4371174" y="2565808"/>
            <a:ext cx="947919" cy="554693"/>
          </a:xfrm>
          <a:prstGeom prst="line">
            <a:avLst/>
          </a:prstGeom>
          <a:noFill/>
          <a:ln w="9525" cap="flat" cmpd="sng" algn="ctr">
            <a:solidFill>
              <a:srgbClr val="808080"/>
            </a:solidFill>
            <a:prstDash val="solid"/>
            <a:tailEnd type="oval"/>
          </a:ln>
          <a:effectLst/>
        </p:spPr>
      </p:cxnSp>
      <p:pic>
        <p:nvPicPr>
          <p:cNvPr id="94" name="Picture 22">
            <a:extLst>
              <a:ext uri="{FF2B5EF4-FFF2-40B4-BE49-F238E27FC236}">
                <a16:creationId xmlns:a16="http://schemas.microsoft.com/office/drawing/2014/main" id="{CAFD85C0-ECE7-4938-A163-68C888EA5C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1425922" y="4519013"/>
            <a:ext cx="274320" cy="18288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5" name="Chart 94">
            <a:extLst>
              <a:ext uri="{FF2B5EF4-FFF2-40B4-BE49-F238E27FC236}">
                <a16:creationId xmlns:a16="http://schemas.microsoft.com/office/drawing/2014/main" id="{1431AA1E-A299-44E4-89AA-0A33CA021ADD}"/>
              </a:ext>
            </a:extLst>
          </p:cNvPr>
          <p:cNvGraphicFramePr>
            <a:graphicFrameLocks/>
          </p:cNvGraphicFramePr>
          <p:nvPr>
            <p:extLst>
              <p:ext uri="{D42A27DB-BD31-4B8C-83A1-F6EECF244321}">
                <p14:modId xmlns:p14="http://schemas.microsoft.com/office/powerpoint/2010/main" val="884743499"/>
              </p:ext>
            </p:extLst>
          </p:nvPr>
        </p:nvGraphicFramePr>
        <p:xfrm>
          <a:off x="9881322" y="668705"/>
          <a:ext cx="2424605" cy="1962535"/>
        </p:xfrm>
        <a:graphic>
          <a:graphicData uri="http://schemas.openxmlformats.org/drawingml/2006/chart">
            <c:chart xmlns:c="http://schemas.openxmlformats.org/drawingml/2006/chart" xmlns:r="http://schemas.openxmlformats.org/officeDocument/2006/relationships" r:id="rId4"/>
          </a:graphicData>
        </a:graphic>
      </p:graphicFrame>
      <p:pic>
        <p:nvPicPr>
          <p:cNvPr id="97" name="Picture 17" descr="Image result for indonesia flag">
            <a:extLst>
              <a:ext uri="{FF2B5EF4-FFF2-40B4-BE49-F238E27FC236}">
                <a16:creationId xmlns:a16="http://schemas.microsoft.com/office/drawing/2014/main" id="{AD573962-543C-4777-A669-E3694987405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31156" y="5517473"/>
            <a:ext cx="274320" cy="182026"/>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98" name="Picture 2" descr="South Korea flag icon - country flags">
            <a:extLst>
              <a:ext uri="{FF2B5EF4-FFF2-40B4-BE49-F238E27FC236}">
                <a16:creationId xmlns:a16="http://schemas.microsoft.com/office/drawing/2014/main" id="{677A1E92-7DAE-4167-BD28-71A449E2A0F1}"/>
              </a:ext>
            </a:extLst>
          </p:cNvPr>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0507" y="1402504"/>
            <a:ext cx="274320" cy="182880"/>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99" name="Picture 10">
            <a:extLst>
              <a:ext uri="{FF2B5EF4-FFF2-40B4-BE49-F238E27FC236}">
                <a16:creationId xmlns:a16="http://schemas.microsoft.com/office/drawing/2014/main" id="{038ED59E-3E83-4B5E-8A8E-3CE3665489F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46514" y="1818479"/>
            <a:ext cx="273415" cy="18288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8">
            <a:extLst>
              <a:ext uri="{FF2B5EF4-FFF2-40B4-BE49-F238E27FC236}">
                <a16:creationId xmlns:a16="http://schemas.microsoft.com/office/drawing/2014/main" id="{30BE326A-EB72-4EF8-A4B7-EA5E1395AFC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09381" y="2200371"/>
            <a:ext cx="27432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0">
            <a:extLst>
              <a:ext uri="{FF2B5EF4-FFF2-40B4-BE49-F238E27FC236}">
                <a16:creationId xmlns:a16="http://schemas.microsoft.com/office/drawing/2014/main" id="{F4F4D0C3-1DCE-4F7E-9EC4-E794F8631F7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41504" y="3660887"/>
            <a:ext cx="274320" cy="137160"/>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22" descr="Taiwan - Wikipedia">
            <a:extLst>
              <a:ext uri="{FF2B5EF4-FFF2-40B4-BE49-F238E27FC236}">
                <a16:creationId xmlns:a16="http://schemas.microsoft.com/office/drawing/2014/main" id="{1E388080-E342-45C9-B3F3-CBEB8EC0A16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626847" y="2949739"/>
            <a:ext cx="274320" cy="18254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3" name="Chart 102">
            <a:extLst>
              <a:ext uri="{FF2B5EF4-FFF2-40B4-BE49-F238E27FC236}">
                <a16:creationId xmlns:a16="http://schemas.microsoft.com/office/drawing/2014/main" id="{9ACC8D7F-F8A0-4C6B-BB25-9A9B34FF5B80}"/>
              </a:ext>
            </a:extLst>
          </p:cNvPr>
          <p:cNvGraphicFramePr>
            <a:graphicFrameLocks/>
          </p:cNvGraphicFramePr>
          <p:nvPr/>
        </p:nvGraphicFramePr>
        <p:xfrm>
          <a:off x="10185422" y="2336771"/>
          <a:ext cx="1188720" cy="1463040"/>
        </p:xfrm>
        <a:graphic>
          <a:graphicData uri="http://schemas.openxmlformats.org/drawingml/2006/chart">
            <c:chart xmlns:c="http://schemas.openxmlformats.org/drawingml/2006/chart" xmlns:r="http://schemas.openxmlformats.org/officeDocument/2006/relationships" r:id="rId11"/>
          </a:graphicData>
        </a:graphic>
      </p:graphicFrame>
      <p:cxnSp>
        <p:nvCxnSpPr>
          <p:cNvPr id="104" name="Straight Connector 103">
            <a:extLst>
              <a:ext uri="{FF2B5EF4-FFF2-40B4-BE49-F238E27FC236}">
                <a16:creationId xmlns:a16="http://schemas.microsoft.com/office/drawing/2014/main" id="{1417DF0C-DCB3-483D-BC53-652F1F0E2719}"/>
              </a:ext>
            </a:extLst>
          </p:cNvPr>
          <p:cNvCxnSpPr>
            <a:cxnSpLocks/>
          </p:cNvCxnSpPr>
          <p:nvPr/>
        </p:nvCxnSpPr>
        <p:spPr>
          <a:xfrm flipH="1">
            <a:off x="7851637" y="1628110"/>
            <a:ext cx="1546050" cy="855270"/>
          </a:xfrm>
          <a:prstGeom prst="line">
            <a:avLst/>
          </a:prstGeom>
          <a:noFill/>
          <a:ln w="9525" cap="flat" cmpd="sng" algn="ctr">
            <a:solidFill>
              <a:srgbClr val="808080"/>
            </a:solidFill>
            <a:prstDash val="solid"/>
            <a:headEnd type="none"/>
            <a:tailEnd type="oval"/>
          </a:ln>
          <a:effectLst/>
        </p:spPr>
      </p:cxnSp>
      <p:graphicFrame>
        <p:nvGraphicFramePr>
          <p:cNvPr id="105" name="Chart 104">
            <a:extLst>
              <a:ext uri="{FF2B5EF4-FFF2-40B4-BE49-F238E27FC236}">
                <a16:creationId xmlns:a16="http://schemas.microsoft.com/office/drawing/2014/main" id="{E6E1B769-0246-46F9-B948-C571C2D0B604}"/>
              </a:ext>
            </a:extLst>
          </p:cNvPr>
          <p:cNvGraphicFramePr>
            <a:graphicFrameLocks/>
          </p:cNvGraphicFramePr>
          <p:nvPr>
            <p:extLst>
              <p:ext uri="{D42A27DB-BD31-4B8C-83A1-F6EECF244321}">
                <p14:modId xmlns:p14="http://schemas.microsoft.com/office/powerpoint/2010/main" val="4111900199"/>
              </p:ext>
            </p:extLst>
          </p:nvPr>
        </p:nvGraphicFramePr>
        <p:xfrm>
          <a:off x="6105641" y="1173615"/>
          <a:ext cx="1188720" cy="14630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07" name="Chart 106">
            <a:extLst>
              <a:ext uri="{FF2B5EF4-FFF2-40B4-BE49-F238E27FC236}">
                <a16:creationId xmlns:a16="http://schemas.microsoft.com/office/drawing/2014/main" id="{CA6EAF6F-02A8-439B-BB32-1150FA35BABD}"/>
              </a:ext>
            </a:extLst>
          </p:cNvPr>
          <p:cNvGraphicFramePr>
            <a:graphicFrameLocks/>
          </p:cNvGraphicFramePr>
          <p:nvPr>
            <p:extLst>
              <p:ext uri="{D42A27DB-BD31-4B8C-83A1-F6EECF244321}">
                <p14:modId xmlns:p14="http://schemas.microsoft.com/office/powerpoint/2010/main" val="1546408346"/>
              </p:ext>
            </p:extLst>
          </p:nvPr>
        </p:nvGraphicFramePr>
        <p:xfrm>
          <a:off x="8607866" y="2999500"/>
          <a:ext cx="1188720" cy="146304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08" name="Chart 107">
            <a:extLst>
              <a:ext uri="{FF2B5EF4-FFF2-40B4-BE49-F238E27FC236}">
                <a16:creationId xmlns:a16="http://schemas.microsoft.com/office/drawing/2014/main" id="{203B8173-5CF0-4FD6-B29F-270836C2FBAB}"/>
              </a:ext>
            </a:extLst>
          </p:cNvPr>
          <p:cNvGraphicFramePr>
            <a:graphicFrameLocks/>
          </p:cNvGraphicFramePr>
          <p:nvPr>
            <p:extLst>
              <p:ext uri="{D42A27DB-BD31-4B8C-83A1-F6EECF244321}">
                <p14:modId xmlns:p14="http://schemas.microsoft.com/office/powerpoint/2010/main" val="1060742525"/>
              </p:ext>
            </p:extLst>
          </p:nvPr>
        </p:nvGraphicFramePr>
        <p:xfrm>
          <a:off x="9123651" y="774420"/>
          <a:ext cx="1188720" cy="1463040"/>
        </p:xfrm>
        <a:graphic>
          <a:graphicData uri="http://schemas.openxmlformats.org/drawingml/2006/chart">
            <c:chart xmlns:c="http://schemas.openxmlformats.org/drawingml/2006/chart" xmlns:r="http://schemas.openxmlformats.org/officeDocument/2006/relationships" r:id="rId14"/>
          </a:graphicData>
        </a:graphic>
      </p:graphicFrame>
      <p:cxnSp>
        <p:nvCxnSpPr>
          <p:cNvPr id="109" name="Straight Connector 108">
            <a:extLst>
              <a:ext uri="{FF2B5EF4-FFF2-40B4-BE49-F238E27FC236}">
                <a16:creationId xmlns:a16="http://schemas.microsoft.com/office/drawing/2014/main" id="{B556A65B-FD09-4C0F-88A9-9E54A81394FC}"/>
              </a:ext>
            </a:extLst>
          </p:cNvPr>
          <p:cNvCxnSpPr>
            <a:cxnSpLocks/>
          </p:cNvCxnSpPr>
          <p:nvPr/>
        </p:nvCxnSpPr>
        <p:spPr>
          <a:xfrm flipH="1" flipV="1">
            <a:off x="7208605" y="4420760"/>
            <a:ext cx="3601185" cy="1051158"/>
          </a:xfrm>
          <a:prstGeom prst="line">
            <a:avLst/>
          </a:prstGeom>
          <a:noFill/>
          <a:ln w="9525" cap="flat" cmpd="sng" algn="ctr">
            <a:solidFill>
              <a:srgbClr val="808080"/>
            </a:solidFill>
            <a:prstDash val="solid"/>
            <a:tailEnd type="oval"/>
          </a:ln>
          <a:effectLst/>
        </p:spPr>
      </p:cxnSp>
      <p:graphicFrame>
        <p:nvGraphicFramePr>
          <p:cNvPr id="110" name="Chart 109">
            <a:extLst>
              <a:ext uri="{FF2B5EF4-FFF2-40B4-BE49-F238E27FC236}">
                <a16:creationId xmlns:a16="http://schemas.microsoft.com/office/drawing/2014/main" id="{FAD3492C-11D7-48A5-BEB9-DEDC08851360}"/>
              </a:ext>
            </a:extLst>
          </p:cNvPr>
          <p:cNvGraphicFramePr>
            <a:graphicFrameLocks/>
          </p:cNvGraphicFramePr>
          <p:nvPr/>
        </p:nvGraphicFramePr>
        <p:xfrm>
          <a:off x="10471041" y="4863807"/>
          <a:ext cx="1188720" cy="146304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11" name="Chart 110">
            <a:extLst>
              <a:ext uri="{FF2B5EF4-FFF2-40B4-BE49-F238E27FC236}">
                <a16:creationId xmlns:a16="http://schemas.microsoft.com/office/drawing/2014/main" id="{B8611FC6-E266-488A-9F42-BF790F22967D}"/>
              </a:ext>
            </a:extLst>
          </p:cNvPr>
          <p:cNvGraphicFramePr>
            <a:graphicFrameLocks/>
          </p:cNvGraphicFramePr>
          <p:nvPr/>
        </p:nvGraphicFramePr>
        <p:xfrm>
          <a:off x="10974326" y="3875217"/>
          <a:ext cx="1188720" cy="1463040"/>
        </p:xfrm>
        <a:graphic>
          <a:graphicData uri="http://schemas.openxmlformats.org/drawingml/2006/chart">
            <c:chart xmlns:c="http://schemas.openxmlformats.org/drawingml/2006/chart" xmlns:r="http://schemas.openxmlformats.org/officeDocument/2006/relationships" r:id="rId16"/>
          </a:graphicData>
        </a:graphic>
      </p:graphicFrame>
      <p:cxnSp>
        <p:nvCxnSpPr>
          <p:cNvPr id="113" name="Straight Connector 112">
            <a:extLst>
              <a:ext uri="{FF2B5EF4-FFF2-40B4-BE49-F238E27FC236}">
                <a16:creationId xmlns:a16="http://schemas.microsoft.com/office/drawing/2014/main" id="{BF69BA16-BD40-4C22-AF06-9C119C6F0ED1}"/>
              </a:ext>
            </a:extLst>
          </p:cNvPr>
          <p:cNvCxnSpPr>
            <a:cxnSpLocks/>
          </p:cNvCxnSpPr>
          <p:nvPr/>
        </p:nvCxnSpPr>
        <p:spPr>
          <a:xfrm flipV="1">
            <a:off x="4457092" y="4420761"/>
            <a:ext cx="2315952" cy="964551"/>
          </a:xfrm>
          <a:prstGeom prst="line">
            <a:avLst/>
          </a:prstGeom>
          <a:noFill/>
          <a:ln w="9525" cap="flat" cmpd="sng" algn="ctr">
            <a:solidFill>
              <a:srgbClr val="808080"/>
            </a:solidFill>
            <a:prstDash val="solid"/>
            <a:tailEnd type="oval"/>
          </a:ln>
          <a:effectLst/>
        </p:spPr>
      </p:cxnSp>
      <p:graphicFrame>
        <p:nvGraphicFramePr>
          <p:cNvPr id="114" name="Chart 113">
            <a:extLst>
              <a:ext uri="{FF2B5EF4-FFF2-40B4-BE49-F238E27FC236}">
                <a16:creationId xmlns:a16="http://schemas.microsoft.com/office/drawing/2014/main" id="{5AF41B39-1D78-483E-8F76-66BE1CD184CD}"/>
              </a:ext>
            </a:extLst>
          </p:cNvPr>
          <p:cNvGraphicFramePr>
            <a:graphicFrameLocks/>
          </p:cNvGraphicFramePr>
          <p:nvPr>
            <p:extLst>
              <p:ext uri="{D42A27DB-BD31-4B8C-83A1-F6EECF244321}">
                <p14:modId xmlns:p14="http://schemas.microsoft.com/office/powerpoint/2010/main" val="2906238859"/>
              </p:ext>
            </p:extLst>
          </p:nvPr>
        </p:nvGraphicFramePr>
        <p:xfrm>
          <a:off x="1308636" y="4021884"/>
          <a:ext cx="4958113" cy="3259357"/>
        </p:xfrm>
        <a:graphic>
          <a:graphicData uri="http://schemas.openxmlformats.org/drawingml/2006/chart">
            <c:chart xmlns:c="http://schemas.openxmlformats.org/drawingml/2006/chart" xmlns:r="http://schemas.openxmlformats.org/officeDocument/2006/relationships" r:id="rId17"/>
          </a:graphicData>
        </a:graphic>
      </p:graphicFrame>
      <p:cxnSp>
        <p:nvCxnSpPr>
          <p:cNvPr id="115" name="Straight Connector 114">
            <a:extLst>
              <a:ext uri="{FF2B5EF4-FFF2-40B4-BE49-F238E27FC236}">
                <a16:creationId xmlns:a16="http://schemas.microsoft.com/office/drawing/2014/main" id="{C8FE7C7D-2F7B-4112-9E13-186DF92C491C}"/>
              </a:ext>
            </a:extLst>
          </p:cNvPr>
          <p:cNvCxnSpPr>
            <a:cxnSpLocks/>
          </p:cNvCxnSpPr>
          <p:nvPr/>
        </p:nvCxnSpPr>
        <p:spPr>
          <a:xfrm flipV="1">
            <a:off x="5523167" y="4186803"/>
            <a:ext cx="1059791" cy="285890"/>
          </a:xfrm>
          <a:prstGeom prst="line">
            <a:avLst/>
          </a:prstGeom>
          <a:noFill/>
          <a:ln w="9525" cap="flat" cmpd="sng" algn="ctr">
            <a:solidFill>
              <a:srgbClr val="808080"/>
            </a:solidFill>
            <a:prstDash val="solid"/>
            <a:tailEnd type="oval"/>
          </a:ln>
          <a:effectLst/>
        </p:spPr>
      </p:cxnSp>
      <p:graphicFrame>
        <p:nvGraphicFramePr>
          <p:cNvPr id="116" name="Chart 115">
            <a:extLst>
              <a:ext uri="{FF2B5EF4-FFF2-40B4-BE49-F238E27FC236}">
                <a16:creationId xmlns:a16="http://schemas.microsoft.com/office/drawing/2014/main" id="{AC98A61D-E503-478F-A5A7-2C6789DE6B7F}"/>
              </a:ext>
            </a:extLst>
          </p:cNvPr>
          <p:cNvGraphicFramePr>
            <a:graphicFrameLocks/>
          </p:cNvGraphicFramePr>
          <p:nvPr>
            <p:extLst>
              <p:ext uri="{D42A27DB-BD31-4B8C-83A1-F6EECF244321}">
                <p14:modId xmlns:p14="http://schemas.microsoft.com/office/powerpoint/2010/main" val="3710233571"/>
              </p:ext>
            </p:extLst>
          </p:nvPr>
        </p:nvGraphicFramePr>
        <p:xfrm>
          <a:off x="4606955" y="3836736"/>
          <a:ext cx="1188720" cy="1463040"/>
        </p:xfrm>
        <a:graphic>
          <a:graphicData uri="http://schemas.openxmlformats.org/drawingml/2006/chart">
            <c:chart xmlns:c="http://schemas.openxmlformats.org/drawingml/2006/chart" xmlns:r="http://schemas.openxmlformats.org/officeDocument/2006/relationships" r:id="rId18"/>
          </a:graphicData>
        </a:graphic>
      </p:graphicFrame>
      <p:cxnSp>
        <p:nvCxnSpPr>
          <p:cNvPr id="117" name="Straight Connector 116">
            <a:extLst>
              <a:ext uri="{FF2B5EF4-FFF2-40B4-BE49-F238E27FC236}">
                <a16:creationId xmlns:a16="http://schemas.microsoft.com/office/drawing/2014/main" id="{CE29D692-6D4E-4674-A26B-2A8B0F3D0740}"/>
              </a:ext>
            </a:extLst>
          </p:cNvPr>
          <p:cNvCxnSpPr>
            <a:cxnSpLocks/>
          </p:cNvCxnSpPr>
          <p:nvPr/>
        </p:nvCxnSpPr>
        <p:spPr>
          <a:xfrm flipV="1">
            <a:off x="3170330" y="3708474"/>
            <a:ext cx="3329884" cy="510713"/>
          </a:xfrm>
          <a:prstGeom prst="line">
            <a:avLst/>
          </a:prstGeom>
          <a:noFill/>
          <a:ln w="9525" cap="flat" cmpd="sng" algn="ctr">
            <a:solidFill>
              <a:srgbClr val="808080"/>
            </a:solidFill>
            <a:prstDash val="solid"/>
            <a:tailEnd type="oval"/>
          </a:ln>
          <a:effectLst/>
        </p:spPr>
      </p:cxnSp>
      <p:graphicFrame>
        <p:nvGraphicFramePr>
          <p:cNvPr id="118" name="Chart 117">
            <a:extLst>
              <a:ext uri="{FF2B5EF4-FFF2-40B4-BE49-F238E27FC236}">
                <a16:creationId xmlns:a16="http://schemas.microsoft.com/office/drawing/2014/main" id="{6519BCE0-BD18-44C2-8C3C-0DF17C8DB536}"/>
              </a:ext>
            </a:extLst>
          </p:cNvPr>
          <p:cNvGraphicFramePr>
            <a:graphicFrameLocks/>
          </p:cNvGraphicFramePr>
          <p:nvPr>
            <p:extLst>
              <p:ext uri="{D42A27DB-BD31-4B8C-83A1-F6EECF244321}">
                <p14:modId xmlns:p14="http://schemas.microsoft.com/office/powerpoint/2010/main" val="3127496513"/>
              </p:ext>
            </p:extLst>
          </p:nvPr>
        </p:nvGraphicFramePr>
        <p:xfrm>
          <a:off x="1143238" y="3021439"/>
          <a:ext cx="2928849" cy="2459082"/>
        </p:xfrm>
        <a:graphic>
          <a:graphicData uri="http://schemas.openxmlformats.org/drawingml/2006/chart">
            <c:chart xmlns:c="http://schemas.openxmlformats.org/drawingml/2006/chart" xmlns:r="http://schemas.openxmlformats.org/officeDocument/2006/relationships" r:id="rId19"/>
          </a:graphicData>
        </a:graphic>
      </p:graphicFrame>
      <p:pic>
        <p:nvPicPr>
          <p:cNvPr id="119" name="Picture 12">
            <a:extLst>
              <a:ext uri="{FF2B5EF4-FFF2-40B4-BE49-F238E27FC236}">
                <a16:creationId xmlns:a16="http://schemas.microsoft.com/office/drawing/2014/main" id="{D540728C-A5C0-4191-80F2-507981F63311}"/>
              </a:ext>
            </a:extLst>
          </p:cNvPr>
          <p:cNvPicPr>
            <a:picLocks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524207" y="3183667"/>
            <a:ext cx="274320" cy="182880"/>
          </a:xfrm>
          <a:prstGeom prst="rect">
            <a:avLst/>
          </a:prstGeom>
          <a:noFill/>
          <a:extLst>
            <a:ext uri="{909E8E84-426E-40DD-AFC4-6F175D3DCCD1}">
              <a14:hiddenFill xmlns:a14="http://schemas.microsoft.com/office/drawing/2010/main">
                <a:solidFill>
                  <a:srgbClr val="FFFFFF"/>
                </a:solidFill>
              </a14:hiddenFill>
            </a:ext>
          </a:extLst>
        </p:spPr>
      </p:pic>
      <p:cxnSp>
        <p:nvCxnSpPr>
          <p:cNvPr id="120" name="Straight Connector 119">
            <a:extLst>
              <a:ext uri="{FF2B5EF4-FFF2-40B4-BE49-F238E27FC236}">
                <a16:creationId xmlns:a16="http://schemas.microsoft.com/office/drawing/2014/main" id="{6A37A005-B2C3-44CA-B237-9F40AF93458B}"/>
              </a:ext>
            </a:extLst>
          </p:cNvPr>
          <p:cNvCxnSpPr>
            <a:cxnSpLocks/>
          </p:cNvCxnSpPr>
          <p:nvPr/>
        </p:nvCxnSpPr>
        <p:spPr>
          <a:xfrm flipH="1" flipV="1">
            <a:off x="3974238" y="3220615"/>
            <a:ext cx="1559546" cy="853922"/>
          </a:xfrm>
          <a:prstGeom prst="line">
            <a:avLst/>
          </a:prstGeom>
          <a:noFill/>
          <a:ln w="9525" cap="flat" cmpd="sng" algn="ctr">
            <a:solidFill>
              <a:srgbClr val="808080"/>
            </a:solidFill>
            <a:prstDash val="solid"/>
            <a:headEnd type="oval"/>
            <a:tailEnd type="none"/>
          </a:ln>
          <a:effectLst/>
        </p:spPr>
      </p:cxnSp>
      <p:graphicFrame>
        <p:nvGraphicFramePr>
          <p:cNvPr id="121" name="Chart 120">
            <a:extLst>
              <a:ext uri="{FF2B5EF4-FFF2-40B4-BE49-F238E27FC236}">
                <a16:creationId xmlns:a16="http://schemas.microsoft.com/office/drawing/2014/main" id="{2BD496C8-CEED-4A48-9BF6-F4E4786B0AC9}"/>
              </a:ext>
            </a:extLst>
          </p:cNvPr>
          <p:cNvGraphicFramePr>
            <a:graphicFrameLocks/>
          </p:cNvGraphicFramePr>
          <p:nvPr/>
        </p:nvGraphicFramePr>
        <p:xfrm>
          <a:off x="3093387" y="2543587"/>
          <a:ext cx="1188720" cy="1463040"/>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122" name="Chart 121">
            <a:extLst>
              <a:ext uri="{FF2B5EF4-FFF2-40B4-BE49-F238E27FC236}">
                <a16:creationId xmlns:a16="http://schemas.microsoft.com/office/drawing/2014/main" id="{62BF2B0E-5840-4073-93DE-153B4A415E72}"/>
              </a:ext>
            </a:extLst>
          </p:cNvPr>
          <p:cNvGraphicFramePr>
            <a:graphicFrameLocks/>
          </p:cNvGraphicFramePr>
          <p:nvPr/>
        </p:nvGraphicFramePr>
        <p:xfrm>
          <a:off x="3480157" y="1575066"/>
          <a:ext cx="1188720" cy="1463040"/>
        </p:xfrm>
        <a:graphic>
          <a:graphicData uri="http://schemas.openxmlformats.org/drawingml/2006/chart">
            <c:chart xmlns:c="http://schemas.openxmlformats.org/drawingml/2006/chart" xmlns:r="http://schemas.openxmlformats.org/officeDocument/2006/relationships" r:id="rId22"/>
          </a:graphicData>
        </a:graphic>
      </p:graphicFrame>
      <p:pic>
        <p:nvPicPr>
          <p:cNvPr id="123" name="Picture 8" descr="Flag of Malaysia image and meaning Malaysian flag - country flags">
            <a:extLst>
              <a:ext uri="{FF2B5EF4-FFF2-40B4-BE49-F238E27FC236}">
                <a16:creationId xmlns:a16="http://schemas.microsoft.com/office/drawing/2014/main" id="{A656D65E-9247-4FE4-BEF1-820DADB63EEC}"/>
              </a:ext>
            </a:extLst>
          </p:cNvPr>
          <p:cNvPicPr>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038694" y="4494831"/>
            <a:ext cx="27432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6" descr="Flag of Thailand image and meaning Thai flag - country flags">
            <a:extLst>
              <a:ext uri="{FF2B5EF4-FFF2-40B4-BE49-F238E27FC236}">
                <a16:creationId xmlns:a16="http://schemas.microsoft.com/office/drawing/2014/main" id="{45EAAE18-7420-425A-9DD1-DD6911236141}"/>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304590" y="4104765"/>
            <a:ext cx="457200" cy="304246"/>
          </a:xfrm>
          <a:prstGeom prst="rect">
            <a:avLst/>
          </a:prstGeom>
          <a:noFill/>
          <a:extLst>
            <a:ext uri="{909E8E84-426E-40DD-AFC4-6F175D3DCCD1}">
              <a14:hiddenFill xmlns:a14="http://schemas.microsoft.com/office/drawing/2010/main">
                <a:solidFill>
                  <a:srgbClr val="FFFFFF"/>
                </a:solidFill>
              </a14:hiddenFill>
            </a:ext>
          </a:extLst>
        </p:spPr>
      </p:pic>
      <p:pic>
        <p:nvPicPr>
          <p:cNvPr id="125" name="Graphic 124" descr="User">
            <a:extLst>
              <a:ext uri="{FF2B5EF4-FFF2-40B4-BE49-F238E27FC236}">
                <a16:creationId xmlns:a16="http://schemas.microsoft.com/office/drawing/2014/main" id="{9C29148D-66D8-4AE1-92C9-E2252A2C80C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8432" y="1964388"/>
            <a:ext cx="365760" cy="365760"/>
          </a:xfrm>
          <a:prstGeom prst="rect">
            <a:avLst/>
          </a:prstGeom>
        </p:spPr>
      </p:pic>
      <p:sp>
        <p:nvSpPr>
          <p:cNvPr id="126" name="TextBox 125">
            <a:extLst>
              <a:ext uri="{FF2B5EF4-FFF2-40B4-BE49-F238E27FC236}">
                <a16:creationId xmlns:a16="http://schemas.microsoft.com/office/drawing/2014/main" id="{B3F9811A-307C-42DE-A9B8-E166EF7C1629}"/>
              </a:ext>
            </a:extLst>
          </p:cNvPr>
          <p:cNvSpPr txBox="1"/>
          <p:nvPr/>
        </p:nvSpPr>
        <p:spPr>
          <a:xfrm>
            <a:off x="1297596" y="2037238"/>
            <a:ext cx="1508416" cy="220060"/>
          </a:xfrm>
          <a:prstGeom prst="rect">
            <a:avLst/>
          </a:prstGeom>
          <a:noFill/>
        </p:spPr>
        <p:txBody>
          <a:bodyPr wrap="square" lIns="0" tIns="36576" rIns="0" bIns="0" rtlCol="0">
            <a:spAutoFit/>
          </a:bodyPr>
          <a:lstStyle/>
          <a:p>
            <a:pPr marL="0" marR="0" lvl="0" indent="0" algn="l" defTabSz="914400" rtl="0" eaLnBrk="0" fontAlgn="base" latinLnBrk="0" hangingPunct="0">
              <a:lnSpc>
                <a:spcPct val="85000"/>
              </a:lnSpc>
              <a:spcBef>
                <a:spcPct val="0"/>
              </a:spcBef>
              <a:spcAft>
                <a:spcPts val="600"/>
              </a:spcAft>
              <a:buClr>
                <a:srgbClr val="FFE600"/>
              </a:buClr>
              <a:buSzPct val="70000"/>
              <a:buFontTx/>
              <a:buNone/>
              <a:tabLst/>
              <a:defRPr/>
            </a:pPr>
            <a:r>
              <a:rPr kumimoji="0" lang="en-US" sz="1400" b="0" i="0" u="none" strike="noStrike" kern="1200" cap="none" spc="0" normalizeH="0" baseline="0" noProof="0" dirty="0">
                <a:ln>
                  <a:noFill/>
                </a:ln>
                <a:solidFill>
                  <a:srgbClr val="333333"/>
                </a:solidFill>
                <a:effectLst/>
                <a:uLnTx/>
                <a:uFillTx/>
                <a:latin typeface="EYInterstate Light" panose="02000506000000020004" pitchFamily="2" charset="0"/>
                <a:cs typeface="Arial" charset="0"/>
              </a:rPr>
              <a:t>User Experience</a:t>
            </a:r>
          </a:p>
        </p:txBody>
      </p:sp>
      <p:pic>
        <p:nvPicPr>
          <p:cNvPr id="127" name="Graphic 126" descr="User">
            <a:extLst>
              <a:ext uri="{FF2B5EF4-FFF2-40B4-BE49-F238E27FC236}">
                <a16:creationId xmlns:a16="http://schemas.microsoft.com/office/drawing/2014/main" id="{EF19A989-7ABD-400B-B338-49B54F9CC46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68432" y="2388142"/>
            <a:ext cx="365760" cy="365760"/>
          </a:xfrm>
          <a:prstGeom prst="rect">
            <a:avLst/>
          </a:prstGeom>
        </p:spPr>
      </p:pic>
      <p:sp>
        <p:nvSpPr>
          <p:cNvPr id="128" name="TextBox 127">
            <a:extLst>
              <a:ext uri="{FF2B5EF4-FFF2-40B4-BE49-F238E27FC236}">
                <a16:creationId xmlns:a16="http://schemas.microsoft.com/office/drawing/2014/main" id="{E9466EA3-6E67-465B-B10F-D196F676D41C}"/>
              </a:ext>
            </a:extLst>
          </p:cNvPr>
          <p:cNvSpPr txBox="1"/>
          <p:nvPr/>
        </p:nvSpPr>
        <p:spPr>
          <a:xfrm>
            <a:off x="1286274" y="2460992"/>
            <a:ext cx="1508416" cy="220060"/>
          </a:xfrm>
          <a:prstGeom prst="rect">
            <a:avLst/>
          </a:prstGeom>
          <a:noFill/>
        </p:spPr>
        <p:txBody>
          <a:bodyPr wrap="square" lIns="0" tIns="36576" rIns="0" bIns="0" rtlCol="0">
            <a:spAutoFit/>
          </a:bodyPr>
          <a:lstStyle>
            <a:defPPr>
              <a:defRPr lang="en-US"/>
            </a:defPPr>
            <a:lvl1pPr>
              <a:lnSpc>
                <a:spcPct val="85000"/>
              </a:lnSpc>
              <a:spcAft>
                <a:spcPts val="600"/>
              </a:spcAft>
              <a:buClr>
                <a:schemeClr val="accent2"/>
              </a:buClr>
              <a:buSzPct val="70000"/>
              <a:defRPr sz="1400">
                <a:solidFill>
                  <a:srgbClr val="333333"/>
                </a:solidFill>
                <a:latin typeface="EYInterstate Light" panose="02000506000000020004" pitchFamily="2" charset="0"/>
              </a:defRPr>
            </a:lvl1pPr>
          </a:lstStyle>
          <a:p>
            <a:pPr marL="0" marR="0" lvl="0" indent="0" algn="l"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400" b="0" i="0" u="none" strike="noStrike" kern="0" cap="none" spc="0" normalizeH="0" baseline="0" noProof="0" dirty="0">
                <a:ln>
                  <a:noFill/>
                </a:ln>
                <a:solidFill>
                  <a:srgbClr val="333333"/>
                </a:solidFill>
                <a:effectLst/>
                <a:uLnTx/>
                <a:uFillTx/>
                <a:latin typeface="EYInterstate Light" panose="02000506000000020004" pitchFamily="2" charset="0"/>
                <a:cs typeface="Arial" charset="0"/>
              </a:rPr>
              <a:t>Data &amp; Analytics</a:t>
            </a:r>
          </a:p>
        </p:txBody>
      </p:sp>
      <p:pic>
        <p:nvPicPr>
          <p:cNvPr id="129" name="Graphic 128" descr="User">
            <a:extLst>
              <a:ext uri="{FF2B5EF4-FFF2-40B4-BE49-F238E27FC236}">
                <a16:creationId xmlns:a16="http://schemas.microsoft.com/office/drawing/2014/main" id="{E2765FBF-BB43-4ED6-9773-F6EB461428D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68432" y="2811896"/>
            <a:ext cx="365760" cy="365760"/>
          </a:xfrm>
          <a:prstGeom prst="rect">
            <a:avLst/>
          </a:prstGeom>
        </p:spPr>
      </p:pic>
      <p:sp>
        <p:nvSpPr>
          <p:cNvPr id="130" name="TextBox 129">
            <a:extLst>
              <a:ext uri="{FF2B5EF4-FFF2-40B4-BE49-F238E27FC236}">
                <a16:creationId xmlns:a16="http://schemas.microsoft.com/office/drawing/2014/main" id="{F3A11B02-2F8D-4745-9F27-E565ED1112B8}"/>
              </a:ext>
            </a:extLst>
          </p:cNvPr>
          <p:cNvSpPr txBox="1"/>
          <p:nvPr/>
        </p:nvSpPr>
        <p:spPr>
          <a:xfrm>
            <a:off x="1297595" y="2884746"/>
            <a:ext cx="1818681" cy="220060"/>
          </a:xfrm>
          <a:prstGeom prst="rect">
            <a:avLst/>
          </a:prstGeom>
          <a:noFill/>
        </p:spPr>
        <p:txBody>
          <a:bodyPr wrap="square" lIns="0" tIns="36576" rIns="0" bIns="0" rtlCol="0">
            <a:spAutoFit/>
          </a:bodyPr>
          <a:lstStyle>
            <a:defPPr>
              <a:defRPr lang="en-US"/>
            </a:defPPr>
            <a:lvl1pPr>
              <a:lnSpc>
                <a:spcPct val="85000"/>
              </a:lnSpc>
              <a:spcAft>
                <a:spcPts val="600"/>
              </a:spcAft>
              <a:buClr>
                <a:schemeClr val="accent2"/>
              </a:buClr>
              <a:buSzPct val="70000"/>
              <a:defRPr sz="1400">
                <a:solidFill>
                  <a:srgbClr val="333333"/>
                </a:solidFill>
                <a:latin typeface="EYInterstate Light" panose="02000506000000020004" pitchFamily="2" charset="0"/>
              </a:defRPr>
            </a:lvl1pPr>
          </a:lstStyle>
          <a:p>
            <a:pPr marL="0" marR="0" lvl="0" indent="0" algn="l"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400" b="0" i="0" u="none" strike="noStrike" kern="0" cap="none" spc="0" normalizeH="0" baseline="0" noProof="0" dirty="0">
                <a:ln>
                  <a:noFill/>
                </a:ln>
                <a:solidFill>
                  <a:srgbClr val="333333"/>
                </a:solidFill>
                <a:effectLst/>
                <a:uLnTx/>
                <a:uFillTx/>
                <a:latin typeface="EYInterstate Light" panose="02000506000000020004" pitchFamily="2" charset="0"/>
                <a:cs typeface="Arial" charset="0"/>
              </a:rPr>
              <a:t>Digital Technologies*</a:t>
            </a:r>
          </a:p>
        </p:txBody>
      </p:sp>
      <p:sp>
        <p:nvSpPr>
          <p:cNvPr id="131" name="TextBox 130">
            <a:extLst>
              <a:ext uri="{FF2B5EF4-FFF2-40B4-BE49-F238E27FC236}">
                <a16:creationId xmlns:a16="http://schemas.microsoft.com/office/drawing/2014/main" id="{106B4DCA-6AFA-4C12-9028-AA0A4C2CABBE}"/>
              </a:ext>
            </a:extLst>
          </p:cNvPr>
          <p:cNvSpPr txBox="1"/>
          <p:nvPr/>
        </p:nvSpPr>
        <p:spPr>
          <a:xfrm>
            <a:off x="902956" y="1516203"/>
            <a:ext cx="2674776" cy="403187"/>
          </a:xfrm>
          <a:prstGeom prst="rect">
            <a:avLst/>
          </a:prstGeom>
          <a:noFill/>
        </p:spPr>
        <p:txBody>
          <a:bodyPr wrap="square" lIns="0" tIns="36576" rIns="0" bIns="0" rtlCol="0">
            <a:spAutoFit/>
          </a:bodyPr>
          <a:lstStyle/>
          <a:p>
            <a:pPr marL="0" marR="0" lvl="0" indent="0" algn="l" defTabSz="914083" rtl="0" eaLnBrk="1" fontAlgn="auto" latinLnBrk="0" hangingPunct="1">
              <a:lnSpc>
                <a:spcPct val="85000"/>
              </a:lnSpc>
              <a:spcBef>
                <a:spcPct val="20000"/>
              </a:spcBef>
              <a:spcAft>
                <a:spcPts val="600"/>
              </a:spcAft>
              <a:buClr>
                <a:srgbClr val="FFE600"/>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rPr>
              <a:t>Number of FTEs for our EY global technology team</a:t>
            </a:r>
            <a:endParaRPr kumimoji="0" lang="en-GB" sz="1400" b="1"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endParaRPr>
          </a:p>
        </p:txBody>
      </p:sp>
      <p:sp>
        <p:nvSpPr>
          <p:cNvPr id="132" name="TextBox 131">
            <a:extLst>
              <a:ext uri="{FF2B5EF4-FFF2-40B4-BE49-F238E27FC236}">
                <a16:creationId xmlns:a16="http://schemas.microsoft.com/office/drawing/2014/main" id="{09D7F711-966C-4F2C-8F93-B331611651DE}"/>
              </a:ext>
            </a:extLst>
          </p:cNvPr>
          <p:cNvSpPr txBox="1"/>
          <p:nvPr/>
        </p:nvSpPr>
        <p:spPr>
          <a:xfrm>
            <a:off x="10004366" y="6293567"/>
            <a:ext cx="2587545" cy="180819"/>
          </a:xfrm>
          <a:prstGeom prst="rect">
            <a:avLst/>
          </a:prstGeom>
          <a:noFill/>
        </p:spPr>
        <p:txBody>
          <a:bodyPr wrap="square" lIns="0" tIns="36576" rIns="0" bIns="0" rtlCol="0">
            <a:spAutoFit/>
          </a:bodyPr>
          <a:lstStyle/>
          <a:p>
            <a:pPr marL="0" marR="0" lvl="0" indent="0" algn="l" defTabSz="914083" rtl="0" eaLnBrk="1" fontAlgn="auto" latinLnBrk="0" hangingPunct="1">
              <a:lnSpc>
                <a:spcPct val="85000"/>
              </a:lnSpc>
              <a:spcBef>
                <a:spcPct val="20000"/>
              </a:spcBef>
              <a:spcAft>
                <a:spcPts val="600"/>
              </a:spcAft>
              <a:buClr>
                <a:srgbClr val="FFE600"/>
              </a:buClr>
              <a:buSzPct val="70000"/>
              <a:buFontTx/>
              <a:buNone/>
              <a:tabLst/>
              <a:defRPr/>
            </a:pPr>
            <a:r>
              <a:rPr kumimoji="0" lang="en-US" sz="105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Arial" charset="0"/>
              </a:rPr>
              <a:t>*Digital tech includes PM, BA, SA</a:t>
            </a:r>
            <a:endParaRPr kumimoji="0" lang="en-GB" sz="105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Arial" charset="0"/>
            </a:endParaRPr>
          </a:p>
        </p:txBody>
      </p:sp>
      <p:cxnSp>
        <p:nvCxnSpPr>
          <p:cNvPr id="133" name="Straight Connector 132">
            <a:extLst>
              <a:ext uri="{FF2B5EF4-FFF2-40B4-BE49-F238E27FC236}">
                <a16:creationId xmlns:a16="http://schemas.microsoft.com/office/drawing/2014/main" id="{23B9C3BA-2757-4B4C-B2E1-2FC092F971A4}"/>
              </a:ext>
            </a:extLst>
          </p:cNvPr>
          <p:cNvCxnSpPr>
            <a:cxnSpLocks/>
          </p:cNvCxnSpPr>
          <p:nvPr/>
        </p:nvCxnSpPr>
        <p:spPr>
          <a:xfrm flipH="1">
            <a:off x="6282949" y="2243767"/>
            <a:ext cx="341269" cy="1166509"/>
          </a:xfrm>
          <a:prstGeom prst="line">
            <a:avLst/>
          </a:prstGeom>
          <a:noFill/>
          <a:ln w="9525" cap="flat" cmpd="sng" algn="ctr">
            <a:solidFill>
              <a:srgbClr val="808080"/>
            </a:solidFill>
            <a:prstDash val="solid"/>
            <a:tailEnd type="oval"/>
          </a:ln>
          <a:effectLst/>
        </p:spPr>
      </p:cxnSp>
    </p:spTree>
    <p:extLst>
      <p:ext uri="{BB962C8B-B14F-4D97-AF65-F5344CB8AC3E}">
        <p14:creationId xmlns:p14="http://schemas.microsoft.com/office/powerpoint/2010/main" val="281937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hteck 257">
            <a:extLst>
              <a:ext uri="{FF2B5EF4-FFF2-40B4-BE49-F238E27FC236}">
                <a16:creationId xmlns:a16="http://schemas.microsoft.com/office/drawing/2014/main" id="{9DC39372-DA86-415F-BE16-6C792CDF67D6}"/>
              </a:ext>
            </a:extLst>
          </p:cNvPr>
          <p:cNvSpPr/>
          <p:nvPr/>
        </p:nvSpPr>
        <p:spPr bwMode="auto">
          <a:xfrm>
            <a:off x="820100" y="1833374"/>
            <a:ext cx="11030394" cy="1757986"/>
          </a:xfrm>
          <a:prstGeom prst="rect">
            <a:avLst/>
          </a:prstGeom>
          <a:solidFill>
            <a:schemeClr val="tx2">
              <a:lumMod val="95000"/>
            </a:schemeClr>
          </a:solidFill>
          <a:ln w="12700">
            <a:noFill/>
            <a:round/>
            <a:headEnd/>
            <a:tailEnd/>
          </a:ln>
          <a:effectLst/>
        </p:spPr>
        <p:txBody>
          <a:bodyPr rtlCol="0" anchor="ctr"/>
          <a:lstStyle/>
          <a:p>
            <a:pPr marL="0" marR="0" lvl="0" indent="0" algn="ctr" defTabSz="829361" rtl="0" eaLnBrk="1" fontAlgn="auto" latinLnBrk="0" hangingPunct="1">
              <a:lnSpc>
                <a:spcPct val="100000"/>
              </a:lnSpc>
              <a:spcBef>
                <a:spcPts val="0"/>
              </a:spcBef>
              <a:spcAft>
                <a:spcPts val="0"/>
              </a:spcAft>
              <a:buClrTx/>
              <a:buSzTx/>
              <a:buFontTx/>
              <a:buNone/>
              <a:tabLst/>
              <a:defRPr/>
            </a:pPr>
            <a:endParaRPr kumimoji="0" lang="de-DE" sz="1396" b="0" i="0" u="none" strike="noStrike" kern="0" cap="none" spc="0" normalizeH="0" baseline="0" noProof="0">
              <a:ln>
                <a:noFill/>
              </a:ln>
              <a:solidFill>
                <a:srgbClr val="000000"/>
              </a:solidFill>
              <a:effectLst/>
              <a:uLnTx/>
              <a:uFillTx/>
              <a:latin typeface="Arial"/>
              <a:ea typeface="+mn-ea"/>
              <a:cs typeface="Arial" charset="0"/>
            </a:endParaRPr>
          </a:p>
        </p:txBody>
      </p:sp>
      <p:sp>
        <p:nvSpPr>
          <p:cNvPr id="2" name="Title 1">
            <a:extLst>
              <a:ext uri="{FF2B5EF4-FFF2-40B4-BE49-F238E27FC236}">
                <a16:creationId xmlns:a16="http://schemas.microsoft.com/office/drawing/2014/main" id="{E6235501-69AF-469D-AD6C-84F52B51B2DD}"/>
              </a:ext>
            </a:extLst>
          </p:cNvPr>
          <p:cNvSpPr>
            <a:spLocks noGrp="1"/>
          </p:cNvSpPr>
          <p:nvPr>
            <p:ph type="title"/>
          </p:nvPr>
        </p:nvSpPr>
        <p:spPr>
          <a:xfrm>
            <a:off x="855875" y="551813"/>
            <a:ext cx="11080392" cy="672625"/>
          </a:xfrm>
        </p:spPr>
        <p:txBody>
          <a:bodyPr/>
          <a:lstStyle/>
          <a:p>
            <a:r>
              <a:rPr lang="en-US" dirty="0"/>
              <a:t>The EY and Microsoft alliance combines deep EY insights and experience in disruptive industry trends, new business models and evolving processes with </a:t>
            </a:r>
            <a:br>
              <a:rPr lang="en-US" dirty="0"/>
            </a:br>
            <a:r>
              <a:rPr lang="en-US" dirty="0"/>
              <a:t>scalable, enterprise cloud platform and digital technologies from Microsoft</a:t>
            </a:r>
          </a:p>
        </p:txBody>
      </p:sp>
      <p:sp>
        <p:nvSpPr>
          <p:cNvPr id="3" name="TextBox 73">
            <a:extLst>
              <a:ext uri="{FF2B5EF4-FFF2-40B4-BE49-F238E27FC236}">
                <a16:creationId xmlns:a16="http://schemas.microsoft.com/office/drawing/2014/main" id="{D8F6B544-CB0F-4489-B5F4-A1746452A4DA}"/>
              </a:ext>
            </a:extLst>
          </p:cNvPr>
          <p:cNvSpPr txBox="1"/>
          <p:nvPr/>
        </p:nvSpPr>
        <p:spPr>
          <a:xfrm>
            <a:off x="1516986" y="6166437"/>
            <a:ext cx="1794315" cy="61427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829361" rtl="0" eaLnBrk="1" fontAlgn="base" latinLnBrk="0" hangingPunct="1">
              <a:lnSpc>
                <a:spcPct val="100000"/>
              </a:lnSpc>
              <a:spcBef>
                <a:spcPts val="1088"/>
              </a:spcBef>
              <a:spcAft>
                <a:spcPct val="50000"/>
              </a:spcAft>
              <a:buClr>
                <a:srgbClr val="FFE600"/>
              </a:buClr>
              <a:buSzPct val="80000"/>
              <a:buFontTx/>
              <a:buNone/>
              <a:tabLst/>
              <a:defRPr/>
            </a:pPr>
            <a:r>
              <a:rPr kumimoji="0" lang="en-US" sz="998"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make it our business to understand your business and to keep our advice relevant to your needs</a:t>
            </a:r>
          </a:p>
        </p:txBody>
      </p:sp>
      <p:pic>
        <p:nvPicPr>
          <p:cNvPr id="4" name="Picture 3">
            <a:extLst>
              <a:ext uri="{FF2B5EF4-FFF2-40B4-BE49-F238E27FC236}">
                <a16:creationId xmlns:a16="http://schemas.microsoft.com/office/drawing/2014/main" id="{F0D34A1D-EC26-49AF-B8F5-FA7446F0DC77}"/>
              </a:ext>
            </a:extLst>
          </p:cNvPr>
          <p:cNvPicPr>
            <a:picLocks noChangeAspect="1"/>
          </p:cNvPicPr>
          <p:nvPr/>
        </p:nvPicPr>
        <p:blipFill>
          <a:blip r:embed="rId3"/>
          <a:stretch>
            <a:fillRect/>
          </a:stretch>
        </p:blipFill>
        <p:spPr>
          <a:xfrm>
            <a:off x="754661" y="6134376"/>
            <a:ext cx="582977" cy="582977"/>
          </a:xfrm>
          <a:prstGeom prst="rect">
            <a:avLst/>
          </a:prstGeom>
        </p:spPr>
      </p:pic>
      <p:sp>
        <p:nvSpPr>
          <p:cNvPr id="7" name="TextBox 72">
            <a:extLst>
              <a:ext uri="{FF2B5EF4-FFF2-40B4-BE49-F238E27FC236}">
                <a16:creationId xmlns:a16="http://schemas.microsoft.com/office/drawing/2014/main" id="{0D3F8A0E-FEE1-4E4E-86A4-1D75798AC3C7}"/>
              </a:ext>
            </a:extLst>
          </p:cNvPr>
          <p:cNvSpPr txBox="1"/>
          <p:nvPr/>
        </p:nvSpPr>
        <p:spPr>
          <a:xfrm>
            <a:off x="4363173" y="6162909"/>
            <a:ext cx="1412484" cy="46070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829361" rtl="0" eaLnBrk="1" fontAlgn="base" latinLnBrk="0" hangingPunct="1">
              <a:lnSpc>
                <a:spcPct val="100000"/>
              </a:lnSpc>
              <a:spcBef>
                <a:spcPts val="1088"/>
              </a:spcBef>
              <a:spcAft>
                <a:spcPct val="50000"/>
              </a:spcAft>
              <a:buClr>
                <a:srgbClr val="FFE600"/>
              </a:buClr>
              <a:buSzPct val="80000"/>
              <a:buFontTx/>
              <a:buNone/>
              <a:tabLst/>
              <a:defRPr/>
            </a:pPr>
            <a:r>
              <a:rPr kumimoji="0" lang="en-US" sz="998"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believe in taking an iterative &amp; incremental approach</a:t>
            </a:r>
            <a:endParaRPr kumimoji="0" sz="998"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endParaRPr>
          </a:p>
        </p:txBody>
      </p:sp>
      <p:pic>
        <p:nvPicPr>
          <p:cNvPr id="8" name="Graphic 7" descr="Research">
            <a:extLst>
              <a:ext uri="{FF2B5EF4-FFF2-40B4-BE49-F238E27FC236}">
                <a16:creationId xmlns:a16="http://schemas.microsoft.com/office/drawing/2014/main" id="{2C8413BF-3018-4106-8B36-C4C4C978669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70712" y="6179702"/>
            <a:ext cx="580547" cy="580547"/>
          </a:xfrm>
          <a:prstGeom prst="rect">
            <a:avLst/>
          </a:prstGeom>
        </p:spPr>
      </p:pic>
      <p:sp>
        <p:nvSpPr>
          <p:cNvPr id="9" name="TextBox 73">
            <a:extLst>
              <a:ext uri="{FF2B5EF4-FFF2-40B4-BE49-F238E27FC236}">
                <a16:creationId xmlns:a16="http://schemas.microsoft.com/office/drawing/2014/main" id="{91C4E575-D15F-4312-8ABF-034CF8D7EC5D}"/>
              </a:ext>
            </a:extLst>
          </p:cNvPr>
          <p:cNvSpPr txBox="1"/>
          <p:nvPr/>
        </p:nvSpPr>
        <p:spPr>
          <a:xfrm>
            <a:off x="6710310" y="6306187"/>
            <a:ext cx="927014" cy="30713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829361" rtl="0" eaLnBrk="1" fontAlgn="base" latinLnBrk="0" hangingPunct="1">
              <a:lnSpc>
                <a:spcPct val="100000"/>
              </a:lnSpc>
              <a:spcBef>
                <a:spcPts val="1088"/>
              </a:spcBef>
              <a:spcAft>
                <a:spcPct val="50000"/>
              </a:spcAft>
              <a:buClr>
                <a:srgbClr val="FFE600"/>
              </a:buClr>
              <a:buSzPct val="80000"/>
              <a:buFontTx/>
              <a:buNone/>
              <a:tabLst/>
              <a:defRPr/>
            </a:pPr>
            <a:r>
              <a:rPr kumimoji="0" lang="en-US" sz="998"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understand Cloud</a:t>
            </a:r>
          </a:p>
        </p:txBody>
      </p:sp>
      <p:sp>
        <p:nvSpPr>
          <p:cNvPr id="11" name="TextBox 75">
            <a:extLst>
              <a:ext uri="{FF2B5EF4-FFF2-40B4-BE49-F238E27FC236}">
                <a16:creationId xmlns:a16="http://schemas.microsoft.com/office/drawing/2014/main" id="{7855F301-1B23-445A-BA76-E6B0EBC3AD36}"/>
              </a:ext>
            </a:extLst>
          </p:cNvPr>
          <p:cNvSpPr txBox="1"/>
          <p:nvPr/>
        </p:nvSpPr>
        <p:spPr>
          <a:xfrm>
            <a:off x="8776897" y="6146117"/>
            <a:ext cx="1129041" cy="61427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829361" rtl="0" eaLnBrk="1" fontAlgn="base" latinLnBrk="0" hangingPunct="1">
              <a:lnSpc>
                <a:spcPct val="100000"/>
              </a:lnSpc>
              <a:spcBef>
                <a:spcPts val="1088"/>
              </a:spcBef>
              <a:spcAft>
                <a:spcPct val="50000"/>
              </a:spcAft>
              <a:buClr>
                <a:srgbClr val="FFE600"/>
              </a:buClr>
              <a:buSzPct val="80000"/>
              <a:buFontTx/>
              <a:buNone/>
              <a:tabLst/>
              <a:defRPr/>
            </a:pPr>
            <a:r>
              <a:rPr kumimoji="0" sz="998"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are built to deliver </a:t>
            </a:r>
            <a:r>
              <a:rPr kumimoji="0" lang="en-US" sz="998"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ith the best user experience</a:t>
            </a:r>
            <a:endParaRPr kumimoji="0" sz="998"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endParaRPr>
          </a:p>
        </p:txBody>
      </p:sp>
      <p:pic>
        <p:nvPicPr>
          <p:cNvPr id="12" name="Graphic 11" descr="Target">
            <a:extLst>
              <a:ext uri="{FF2B5EF4-FFF2-40B4-BE49-F238E27FC236}">
                <a16:creationId xmlns:a16="http://schemas.microsoft.com/office/drawing/2014/main" id="{7A6DD7AA-558F-4983-B979-AD7D167468E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10882" y="6148507"/>
            <a:ext cx="663483" cy="663483"/>
          </a:xfrm>
          <a:prstGeom prst="rect">
            <a:avLst/>
          </a:prstGeom>
        </p:spPr>
      </p:pic>
      <p:sp>
        <p:nvSpPr>
          <p:cNvPr id="13" name="TextBox 76">
            <a:extLst>
              <a:ext uri="{FF2B5EF4-FFF2-40B4-BE49-F238E27FC236}">
                <a16:creationId xmlns:a16="http://schemas.microsoft.com/office/drawing/2014/main" id="{8DC2F88B-154B-4C71-BE8C-1F3D8BB8B676}"/>
              </a:ext>
            </a:extLst>
          </p:cNvPr>
          <p:cNvSpPr txBox="1"/>
          <p:nvPr/>
        </p:nvSpPr>
        <p:spPr>
          <a:xfrm>
            <a:off x="10941044" y="6174443"/>
            <a:ext cx="1127567" cy="46070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ts val="1300"/>
              </a:lnSpc>
              <a:spcBef>
                <a:spcPts val="1200"/>
              </a:spcBef>
              <a:defRPr sz="1000">
                <a:solidFill>
                  <a:srgbClr val="333333"/>
                </a:solidFill>
                <a:latin typeface="EYInterstate Light"/>
                <a:ea typeface="EYInterstate Light"/>
                <a:cs typeface="EYInterstate Light"/>
                <a:sym typeface="EYInterstate Light"/>
              </a:defRPr>
            </a:lvl1pPr>
          </a:lstStyle>
          <a:p>
            <a:pPr marL="0" marR="0" lvl="0" indent="0" algn="l" defTabSz="829361" rtl="0" eaLnBrk="1" fontAlgn="base" latinLnBrk="0" hangingPunct="1">
              <a:lnSpc>
                <a:spcPct val="100000"/>
              </a:lnSpc>
              <a:spcBef>
                <a:spcPts val="1088"/>
              </a:spcBef>
              <a:spcAft>
                <a:spcPct val="50000"/>
              </a:spcAft>
              <a:buClr>
                <a:srgbClr val="FFE600"/>
              </a:buClr>
              <a:buSzPct val="80000"/>
              <a:buFontTx/>
              <a:buNone/>
              <a:tabLst/>
              <a:defRPr/>
            </a:pPr>
            <a:r>
              <a:rPr kumimoji="0" lang="en-US" sz="998"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rPr>
              <a:t>We are abreast of latest innovations in the market</a:t>
            </a:r>
            <a:endParaRPr kumimoji="0" sz="998" b="0" i="0" u="none" strike="noStrike" kern="1200" cap="none" spc="0" normalizeH="0" baseline="0" noProof="0" dirty="0">
              <a:ln>
                <a:noFill/>
              </a:ln>
              <a:solidFill>
                <a:srgbClr val="333333"/>
              </a:solidFill>
              <a:effectLst/>
              <a:uLnTx/>
              <a:uFillTx/>
              <a:latin typeface="EYInterstate Light" panose="02000506000000020004" pitchFamily="2" charset="0"/>
              <a:sym typeface="EYInterstate Light"/>
            </a:endParaRPr>
          </a:p>
        </p:txBody>
      </p:sp>
      <p:pic>
        <p:nvPicPr>
          <p:cNvPr id="14" name="Graphic 13" descr="Lightbulb and gear">
            <a:extLst>
              <a:ext uri="{FF2B5EF4-FFF2-40B4-BE49-F238E27FC236}">
                <a16:creationId xmlns:a16="http://schemas.microsoft.com/office/drawing/2014/main" id="{A544348E-8B57-4807-840D-6ECEAE331A0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88817" y="6135590"/>
            <a:ext cx="580547" cy="580547"/>
          </a:xfrm>
          <a:prstGeom prst="rect">
            <a:avLst/>
          </a:prstGeom>
        </p:spPr>
      </p:pic>
      <p:grpSp>
        <p:nvGrpSpPr>
          <p:cNvPr id="10" name="Group 9">
            <a:extLst>
              <a:ext uri="{FF2B5EF4-FFF2-40B4-BE49-F238E27FC236}">
                <a16:creationId xmlns:a16="http://schemas.microsoft.com/office/drawing/2014/main" id="{CE84A327-C178-4C2F-AFD9-4DEA84B2467B}"/>
              </a:ext>
            </a:extLst>
          </p:cNvPr>
          <p:cNvGrpSpPr/>
          <p:nvPr/>
        </p:nvGrpSpPr>
        <p:grpSpPr>
          <a:xfrm>
            <a:off x="1034371" y="1873491"/>
            <a:ext cx="2110552" cy="1618627"/>
            <a:chOff x="1137294" y="2065610"/>
            <a:chExt cx="2326981" cy="1784611"/>
          </a:xfrm>
        </p:grpSpPr>
        <p:grpSp>
          <p:nvGrpSpPr>
            <p:cNvPr id="16" name="Group 15">
              <a:extLst>
                <a:ext uri="{FF2B5EF4-FFF2-40B4-BE49-F238E27FC236}">
                  <a16:creationId xmlns:a16="http://schemas.microsoft.com/office/drawing/2014/main" id="{B192F4F3-D9B7-45C5-8DB3-926178225A54}"/>
                </a:ext>
              </a:extLst>
            </p:cNvPr>
            <p:cNvGrpSpPr/>
            <p:nvPr/>
          </p:nvGrpSpPr>
          <p:grpSpPr>
            <a:xfrm>
              <a:off x="1588138" y="2607030"/>
              <a:ext cx="1033654" cy="1243191"/>
              <a:chOff x="9566375" y="3528723"/>
              <a:chExt cx="398585" cy="435935"/>
            </a:xfrm>
            <a:solidFill>
              <a:srgbClr val="000000"/>
            </a:solidFill>
          </p:grpSpPr>
          <p:sp>
            <p:nvSpPr>
              <p:cNvPr id="18" name="Freeform 19">
                <a:extLst>
                  <a:ext uri="{FF2B5EF4-FFF2-40B4-BE49-F238E27FC236}">
                    <a16:creationId xmlns:a16="http://schemas.microsoft.com/office/drawing/2014/main" id="{467563C9-E63F-42B5-9032-D953C4F05D7C}"/>
                  </a:ext>
                </a:extLst>
              </p:cNvPr>
              <p:cNvSpPr>
                <a:spLocks noEditPoints="1"/>
              </p:cNvSpPr>
              <p:nvPr/>
            </p:nvSpPr>
            <p:spPr bwMode="auto">
              <a:xfrm>
                <a:off x="9679217" y="3528723"/>
                <a:ext cx="172898" cy="435926"/>
              </a:xfrm>
              <a:custGeom>
                <a:avLst/>
                <a:gdLst>
                  <a:gd name="T0" fmla="*/ 90 w 123"/>
                  <a:gd name="T1" fmla="*/ 160 h 309"/>
                  <a:gd name="T2" fmla="*/ 32 w 123"/>
                  <a:gd name="T3" fmla="*/ 160 h 309"/>
                  <a:gd name="T4" fmla="*/ 32 w 123"/>
                  <a:gd name="T5" fmla="*/ 104 h 309"/>
                  <a:gd name="T6" fmla="*/ 24 w 123"/>
                  <a:gd name="T7" fmla="*/ 104 h 309"/>
                  <a:gd name="T8" fmla="*/ 24 w 123"/>
                  <a:gd name="T9" fmla="*/ 160 h 309"/>
                  <a:gd name="T10" fmla="*/ 35 w 123"/>
                  <a:gd name="T11" fmla="*/ 309 h 309"/>
                  <a:gd name="T12" fmla="*/ 57 w 123"/>
                  <a:gd name="T13" fmla="*/ 309 h 309"/>
                  <a:gd name="T14" fmla="*/ 57 w 123"/>
                  <a:gd name="T15" fmla="*/ 191 h 309"/>
                  <a:gd name="T16" fmla="*/ 65 w 123"/>
                  <a:gd name="T17" fmla="*/ 191 h 309"/>
                  <a:gd name="T18" fmla="*/ 65 w 123"/>
                  <a:gd name="T19" fmla="*/ 309 h 309"/>
                  <a:gd name="T20" fmla="*/ 88 w 123"/>
                  <a:gd name="T21" fmla="*/ 309 h 309"/>
                  <a:gd name="T22" fmla="*/ 98 w 123"/>
                  <a:gd name="T23" fmla="*/ 161 h 309"/>
                  <a:gd name="T24" fmla="*/ 98 w 123"/>
                  <a:gd name="T25" fmla="*/ 104 h 309"/>
                  <a:gd name="T26" fmla="*/ 91 w 123"/>
                  <a:gd name="T27" fmla="*/ 104 h 309"/>
                  <a:gd name="T28" fmla="*/ 90 w 123"/>
                  <a:gd name="T29" fmla="*/ 160 h 309"/>
                  <a:gd name="T30" fmla="*/ 61 w 123"/>
                  <a:gd name="T31" fmla="*/ 52 h 309"/>
                  <a:gd name="T32" fmla="*/ 83 w 123"/>
                  <a:gd name="T33" fmla="*/ 26 h 309"/>
                  <a:gd name="T34" fmla="*/ 61 w 123"/>
                  <a:gd name="T35" fmla="*/ 0 h 309"/>
                  <a:gd name="T36" fmla="*/ 39 w 123"/>
                  <a:gd name="T37" fmla="*/ 26 h 309"/>
                  <a:gd name="T38" fmla="*/ 61 w 123"/>
                  <a:gd name="T39" fmla="*/ 52 h 309"/>
                  <a:gd name="T40" fmla="*/ 102 w 123"/>
                  <a:gd name="T41" fmla="*/ 186 h 309"/>
                  <a:gd name="T42" fmla="*/ 123 w 123"/>
                  <a:gd name="T43" fmla="*/ 186 h 309"/>
                  <a:gd name="T44" fmla="*/ 123 w 123"/>
                  <a:gd name="T45" fmla="*/ 93 h 309"/>
                  <a:gd name="T46" fmla="*/ 88 w 123"/>
                  <a:gd name="T47" fmla="*/ 58 h 309"/>
                  <a:gd name="T48" fmla="*/ 34 w 123"/>
                  <a:gd name="T49" fmla="*/ 58 h 309"/>
                  <a:gd name="T50" fmla="*/ 0 w 123"/>
                  <a:gd name="T51" fmla="*/ 93 h 309"/>
                  <a:gd name="T52" fmla="*/ 0 w 123"/>
                  <a:gd name="T53" fmla="*/ 186 h 309"/>
                  <a:gd name="T54" fmla="*/ 21 w 123"/>
                  <a:gd name="T55" fmla="*/ 186 h 309"/>
                  <a:gd name="T56" fmla="*/ 21 w 123"/>
                  <a:gd name="T57" fmla="*/ 178 h 309"/>
                  <a:gd name="T58" fmla="*/ 8 w 123"/>
                  <a:gd name="T59" fmla="*/ 178 h 309"/>
                  <a:gd name="T60" fmla="*/ 8 w 123"/>
                  <a:gd name="T61" fmla="*/ 93 h 309"/>
                  <a:gd name="T62" fmla="*/ 34 w 123"/>
                  <a:gd name="T63" fmla="*/ 66 h 309"/>
                  <a:gd name="T64" fmla="*/ 55 w 123"/>
                  <a:gd name="T65" fmla="*/ 66 h 309"/>
                  <a:gd name="T66" fmla="*/ 58 w 123"/>
                  <a:gd name="T67" fmla="*/ 71 h 309"/>
                  <a:gd name="T68" fmla="*/ 53 w 123"/>
                  <a:gd name="T69" fmla="*/ 146 h 309"/>
                  <a:gd name="T70" fmla="*/ 61 w 123"/>
                  <a:gd name="T71" fmla="*/ 156 h 309"/>
                  <a:gd name="T72" fmla="*/ 69 w 123"/>
                  <a:gd name="T73" fmla="*/ 146 h 309"/>
                  <a:gd name="T74" fmla="*/ 64 w 123"/>
                  <a:gd name="T75" fmla="*/ 71 h 309"/>
                  <a:gd name="T76" fmla="*/ 67 w 123"/>
                  <a:gd name="T77" fmla="*/ 66 h 309"/>
                  <a:gd name="T78" fmla="*/ 88 w 123"/>
                  <a:gd name="T79" fmla="*/ 66 h 309"/>
                  <a:gd name="T80" fmla="*/ 115 w 123"/>
                  <a:gd name="T81" fmla="*/ 93 h 309"/>
                  <a:gd name="T82" fmla="*/ 115 w 123"/>
                  <a:gd name="T83" fmla="*/ 178 h 309"/>
                  <a:gd name="T84" fmla="*/ 102 w 123"/>
                  <a:gd name="T85" fmla="*/ 178 h 309"/>
                  <a:gd name="T86" fmla="*/ 102 w 123"/>
                  <a:gd name="T87" fmla="*/ 18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309">
                    <a:moveTo>
                      <a:pt x="90" y="160"/>
                    </a:moveTo>
                    <a:cubicBezTo>
                      <a:pt x="32" y="160"/>
                      <a:pt x="32" y="160"/>
                      <a:pt x="32" y="160"/>
                    </a:cubicBezTo>
                    <a:cubicBezTo>
                      <a:pt x="32" y="104"/>
                      <a:pt x="32" y="104"/>
                      <a:pt x="32" y="104"/>
                    </a:cubicBezTo>
                    <a:cubicBezTo>
                      <a:pt x="24" y="104"/>
                      <a:pt x="24" y="104"/>
                      <a:pt x="24" y="104"/>
                    </a:cubicBezTo>
                    <a:cubicBezTo>
                      <a:pt x="24" y="160"/>
                      <a:pt x="24" y="160"/>
                      <a:pt x="24" y="160"/>
                    </a:cubicBezTo>
                    <a:cubicBezTo>
                      <a:pt x="35" y="309"/>
                      <a:pt x="35" y="309"/>
                      <a:pt x="35" y="309"/>
                    </a:cubicBezTo>
                    <a:cubicBezTo>
                      <a:pt x="57" y="309"/>
                      <a:pt x="57" y="309"/>
                      <a:pt x="57" y="309"/>
                    </a:cubicBezTo>
                    <a:cubicBezTo>
                      <a:pt x="57" y="191"/>
                      <a:pt x="57" y="191"/>
                      <a:pt x="57" y="191"/>
                    </a:cubicBezTo>
                    <a:cubicBezTo>
                      <a:pt x="65" y="191"/>
                      <a:pt x="65" y="191"/>
                      <a:pt x="65" y="191"/>
                    </a:cubicBezTo>
                    <a:cubicBezTo>
                      <a:pt x="65" y="309"/>
                      <a:pt x="65" y="309"/>
                      <a:pt x="65" y="309"/>
                    </a:cubicBezTo>
                    <a:cubicBezTo>
                      <a:pt x="88" y="309"/>
                      <a:pt x="88" y="309"/>
                      <a:pt x="88" y="309"/>
                    </a:cubicBezTo>
                    <a:cubicBezTo>
                      <a:pt x="98" y="161"/>
                      <a:pt x="98" y="161"/>
                      <a:pt x="98" y="161"/>
                    </a:cubicBezTo>
                    <a:cubicBezTo>
                      <a:pt x="98" y="104"/>
                      <a:pt x="98" y="104"/>
                      <a:pt x="98" y="104"/>
                    </a:cubicBezTo>
                    <a:cubicBezTo>
                      <a:pt x="91" y="104"/>
                      <a:pt x="91" y="104"/>
                      <a:pt x="91" y="104"/>
                    </a:cubicBezTo>
                    <a:lnTo>
                      <a:pt x="90" y="160"/>
                    </a:lnTo>
                    <a:close/>
                    <a:moveTo>
                      <a:pt x="61" y="52"/>
                    </a:moveTo>
                    <a:cubicBezTo>
                      <a:pt x="73" y="52"/>
                      <a:pt x="83" y="40"/>
                      <a:pt x="83" y="26"/>
                    </a:cubicBezTo>
                    <a:cubicBezTo>
                      <a:pt x="83" y="12"/>
                      <a:pt x="73" y="0"/>
                      <a:pt x="61" y="0"/>
                    </a:cubicBezTo>
                    <a:cubicBezTo>
                      <a:pt x="49" y="0"/>
                      <a:pt x="39" y="12"/>
                      <a:pt x="39" y="26"/>
                    </a:cubicBezTo>
                    <a:cubicBezTo>
                      <a:pt x="39" y="40"/>
                      <a:pt x="49" y="52"/>
                      <a:pt x="61" y="52"/>
                    </a:cubicBezTo>
                    <a:close/>
                    <a:moveTo>
                      <a:pt x="102" y="186"/>
                    </a:moveTo>
                    <a:cubicBezTo>
                      <a:pt x="123" y="186"/>
                      <a:pt x="123" y="186"/>
                      <a:pt x="123" y="186"/>
                    </a:cubicBezTo>
                    <a:cubicBezTo>
                      <a:pt x="123" y="93"/>
                      <a:pt x="123" y="93"/>
                      <a:pt x="123" y="93"/>
                    </a:cubicBezTo>
                    <a:cubicBezTo>
                      <a:pt x="123" y="76"/>
                      <a:pt x="109" y="58"/>
                      <a:pt x="88" y="58"/>
                    </a:cubicBezTo>
                    <a:cubicBezTo>
                      <a:pt x="34" y="58"/>
                      <a:pt x="34" y="58"/>
                      <a:pt x="34" y="58"/>
                    </a:cubicBezTo>
                    <a:cubicBezTo>
                      <a:pt x="15" y="58"/>
                      <a:pt x="0" y="74"/>
                      <a:pt x="0" y="93"/>
                    </a:cubicBezTo>
                    <a:cubicBezTo>
                      <a:pt x="0" y="186"/>
                      <a:pt x="0" y="186"/>
                      <a:pt x="0" y="186"/>
                    </a:cubicBezTo>
                    <a:cubicBezTo>
                      <a:pt x="21" y="186"/>
                      <a:pt x="21" y="186"/>
                      <a:pt x="21" y="186"/>
                    </a:cubicBezTo>
                    <a:cubicBezTo>
                      <a:pt x="21" y="178"/>
                      <a:pt x="21" y="178"/>
                      <a:pt x="21" y="178"/>
                    </a:cubicBezTo>
                    <a:cubicBezTo>
                      <a:pt x="8" y="178"/>
                      <a:pt x="8" y="178"/>
                      <a:pt x="8" y="178"/>
                    </a:cubicBezTo>
                    <a:cubicBezTo>
                      <a:pt x="8" y="93"/>
                      <a:pt x="8" y="93"/>
                      <a:pt x="8" y="93"/>
                    </a:cubicBezTo>
                    <a:cubicBezTo>
                      <a:pt x="8" y="78"/>
                      <a:pt x="20" y="66"/>
                      <a:pt x="34" y="66"/>
                    </a:cubicBezTo>
                    <a:cubicBezTo>
                      <a:pt x="55" y="66"/>
                      <a:pt x="55" y="66"/>
                      <a:pt x="55" y="66"/>
                    </a:cubicBezTo>
                    <a:cubicBezTo>
                      <a:pt x="55" y="68"/>
                      <a:pt x="56" y="70"/>
                      <a:pt x="58" y="71"/>
                    </a:cubicBezTo>
                    <a:cubicBezTo>
                      <a:pt x="53" y="146"/>
                      <a:pt x="53" y="146"/>
                      <a:pt x="53" y="146"/>
                    </a:cubicBezTo>
                    <a:cubicBezTo>
                      <a:pt x="61" y="156"/>
                      <a:pt x="61" y="156"/>
                      <a:pt x="61" y="156"/>
                    </a:cubicBezTo>
                    <a:cubicBezTo>
                      <a:pt x="69" y="146"/>
                      <a:pt x="69" y="146"/>
                      <a:pt x="69" y="146"/>
                    </a:cubicBezTo>
                    <a:cubicBezTo>
                      <a:pt x="64" y="71"/>
                      <a:pt x="64" y="71"/>
                      <a:pt x="64" y="71"/>
                    </a:cubicBezTo>
                    <a:cubicBezTo>
                      <a:pt x="66" y="70"/>
                      <a:pt x="67" y="68"/>
                      <a:pt x="67" y="66"/>
                    </a:cubicBezTo>
                    <a:cubicBezTo>
                      <a:pt x="88" y="66"/>
                      <a:pt x="88" y="66"/>
                      <a:pt x="88" y="66"/>
                    </a:cubicBezTo>
                    <a:cubicBezTo>
                      <a:pt x="104" y="66"/>
                      <a:pt x="115" y="80"/>
                      <a:pt x="115" y="93"/>
                    </a:cubicBezTo>
                    <a:cubicBezTo>
                      <a:pt x="115" y="178"/>
                      <a:pt x="115" y="178"/>
                      <a:pt x="115" y="178"/>
                    </a:cubicBezTo>
                    <a:cubicBezTo>
                      <a:pt x="102" y="178"/>
                      <a:pt x="102" y="178"/>
                      <a:pt x="102" y="178"/>
                    </a:cubicBezTo>
                    <a:lnTo>
                      <a:pt x="102" y="186"/>
                    </a:lnTo>
                    <a:close/>
                  </a:path>
                </a:pathLst>
              </a:custGeom>
              <a:grpFill/>
              <a:ln>
                <a:noFill/>
              </a:ln>
            </p:spPr>
            <p:txBody>
              <a:bodyPr vert="horz" wrap="square" lIns="70919" tIns="35459" rIns="70919" bIns="35459" numCol="1" anchor="t" anchorCtr="0" compatLnSpc="1">
                <a:prstTxWarp prst="textNoShape">
                  <a:avLst/>
                </a:prstTxWarp>
              </a:bodyPr>
              <a:lstStyle/>
              <a:p>
                <a:pPr marL="0" marR="0" lvl="0" indent="0" algn="l" defTabSz="829361" rtl="0" eaLnBrk="1" fontAlgn="auto" latinLnBrk="0" hangingPunct="1">
                  <a:lnSpc>
                    <a:spcPct val="100000"/>
                  </a:lnSpc>
                  <a:spcBef>
                    <a:spcPts val="0"/>
                  </a:spcBef>
                  <a:spcAft>
                    <a:spcPts val="0"/>
                  </a:spcAft>
                  <a:buClrTx/>
                  <a:buSzTx/>
                  <a:buFontTx/>
                  <a:buNone/>
                  <a:tabLst/>
                  <a:defRPr/>
                </a:pPr>
                <a:endParaRPr kumimoji="0" lang="en-IN" sz="1396" b="0" i="0" u="none" strike="noStrike" kern="0" cap="none" spc="0" normalizeH="0" baseline="0" noProof="0" dirty="0">
                  <a:ln>
                    <a:noFill/>
                  </a:ln>
                  <a:solidFill>
                    <a:srgbClr val="646464"/>
                  </a:solidFill>
                  <a:effectLst/>
                  <a:uLnTx/>
                  <a:uFillTx/>
                  <a:latin typeface="EYInterstate Light"/>
                  <a:ea typeface="+mn-ea"/>
                  <a:cs typeface="Arial" charset="0"/>
                </a:endParaRPr>
              </a:p>
            </p:txBody>
          </p:sp>
          <p:sp>
            <p:nvSpPr>
              <p:cNvPr id="19" name="Freeform 19">
                <a:extLst>
                  <a:ext uri="{FF2B5EF4-FFF2-40B4-BE49-F238E27FC236}">
                    <a16:creationId xmlns:a16="http://schemas.microsoft.com/office/drawing/2014/main" id="{12CB4791-A875-4CEE-AEEB-FD6B2ACA101A}"/>
                  </a:ext>
                </a:extLst>
              </p:cNvPr>
              <p:cNvSpPr>
                <a:spLocks noEditPoints="1"/>
              </p:cNvSpPr>
              <p:nvPr/>
            </p:nvSpPr>
            <p:spPr bwMode="auto">
              <a:xfrm>
                <a:off x="9852129" y="3680173"/>
                <a:ext cx="112831" cy="284480"/>
              </a:xfrm>
              <a:custGeom>
                <a:avLst/>
                <a:gdLst>
                  <a:gd name="T0" fmla="*/ 90 w 123"/>
                  <a:gd name="T1" fmla="*/ 160 h 309"/>
                  <a:gd name="T2" fmla="*/ 32 w 123"/>
                  <a:gd name="T3" fmla="*/ 160 h 309"/>
                  <a:gd name="T4" fmla="*/ 32 w 123"/>
                  <a:gd name="T5" fmla="*/ 104 h 309"/>
                  <a:gd name="T6" fmla="*/ 24 w 123"/>
                  <a:gd name="T7" fmla="*/ 104 h 309"/>
                  <a:gd name="T8" fmla="*/ 24 w 123"/>
                  <a:gd name="T9" fmla="*/ 160 h 309"/>
                  <a:gd name="T10" fmla="*/ 35 w 123"/>
                  <a:gd name="T11" fmla="*/ 309 h 309"/>
                  <a:gd name="T12" fmla="*/ 57 w 123"/>
                  <a:gd name="T13" fmla="*/ 309 h 309"/>
                  <a:gd name="T14" fmla="*/ 57 w 123"/>
                  <a:gd name="T15" fmla="*/ 191 h 309"/>
                  <a:gd name="T16" fmla="*/ 65 w 123"/>
                  <a:gd name="T17" fmla="*/ 191 h 309"/>
                  <a:gd name="T18" fmla="*/ 65 w 123"/>
                  <a:gd name="T19" fmla="*/ 309 h 309"/>
                  <a:gd name="T20" fmla="*/ 88 w 123"/>
                  <a:gd name="T21" fmla="*/ 309 h 309"/>
                  <a:gd name="T22" fmla="*/ 98 w 123"/>
                  <a:gd name="T23" fmla="*/ 161 h 309"/>
                  <a:gd name="T24" fmla="*/ 98 w 123"/>
                  <a:gd name="T25" fmla="*/ 104 h 309"/>
                  <a:gd name="T26" fmla="*/ 91 w 123"/>
                  <a:gd name="T27" fmla="*/ 104 h 309"/>
                  <a:gd name="T28" fmla="*/ 90 w 123"/>
                  <a:gd name="T29" fmla="*/ 160 h 309"/>
                  <a:gd name="T30" fmla="*/ 61 w 123"/>
                  <a:gd name="T31" fmla="*/ 52 h 309"/>
                  <a:gd name="T32" fmla="*/ 83 w 123"/>
                  <a:gd name="T33" fmla="*/ 26 h 309"/>
                  <a:gd name="T34" fmla="*/ 61 w 123"/>
                  <a:gd name="T35" fmla="*/ 0 h 309"/>
                  <a:gd name="T36" fmla="*/ 39 w 123"/>
                  <a:gd name="T37" fmla="*/ 26 h 309"/>
                  <a:gd name="T38" fmla="*/ 61 w 123"/>
                  <a:gd name="T39" fmla="*/ 52 h 309"/>
                  <a:gd name="T40" fmla="*/ 102 w 123"/>
                  <a:gd name="T41" fmla="*/ 186 h 309"/>
                  <a:gd name="T42" fmla="*/ 123 w 123"/>
                  <a:gd name="T43" fmla="*/ 186 h 309"/>
                  <a:gd name="T44" fmla="*/ 123 w 123"/>
                  <a:gd name="T45" fmla="*/ 93 h 309"/>
                  <a:gd name="T46" fmla="*/ 88 w 123"/>
                  <a:gd name="T47" fmla="*/ 58 h 309"/>
                  <a:gd name="T48" fmla="*/ 34 w 123"/>
                  <a:gd name="T49" fmla="*/ 58 h 309"/>
                  <a:gd name="T50" fmla="*/ 0 w 123"/>
                  <a:gd name="T51" fmla="*/ 93 h 309"/>
                  <a:gd name="T52" fmla="*/ 0 w 123"/>
                  <a:gd name="T53" fmla="*/ 186 h 309"/>
                  <a:gd name="T54" fmla="*/ 21 w 123"/>
                  <a:gd name="T55" fmla="*/ 186 h 309"/>
                  <a:gd name="T56" fmla="*/ 21 w 123"/>
                  <a:gd name="T57" fmla="*/ 178 h 309"/>
                  <a:gd name="T58" fmla="*/ 8 w 123"/>
                  <a:gd name="T59" fmla="*/ 178 h 309"/>
                  <a:gd name="T60" fmla="*/ 8 w 123"/>
                  <a:gd name="T61" fmla="*/ 93 h 309"/>
                  <a:gd name="T62" fmla="*/ 34 w 123"/>
                  <a:gd name="T63" fmla="*/ 66 h 309"/>
                  <a:gd name="T64" fmla="*/ 55 w 123"/>
                  <a:gd name="T65" fmla="*/ 66 h 309"/>
                  <a:gd name="T66" fmla="*/ 58 w 123"/>
                  <a:gd name="T67" fmla="*/ 71 h 309"/>
                  <a:gd name="T68" fmla="*/ 53 w 123"/>
                  <a:gd name="T69" fmla="*/ 146 h 309"/>
                  <a:gd name="T70" fmla="*/ 61 w 123"/>
                  <a:gd name="T71" fmla="*/ 156 h 309"/>
                  <a:gd name="T72" fmla="*/ 69 w 123"/>
                  <a:gd name="T73" fmla="*/ 146 h 309"/>
                  <a:gd name="T74" fmla="*/ 64 w 123"/>
                  <a:gd name="T75" fmla="*/ 71 h 309"/>
                  <a:gd name="T76" fmla="*/ 67 w 123"/>
                  <a:gd name="T77" fmla="*/ 66 h 309"/>
                  <a:gd name="T78" fmla="*/ 88 w 123"/>
                  <a:gd name="T79" fmla="*/ 66 h 309"/>
                  <a:gd name="T80" fmla="*/ 115 w 123"/>
                  <a:gd name="T81" fmla="*/ 93 h 309"/>
                  <a:gd name="T82" fmla="*/ 115 w 123"/>
                  <a:gd name="T83" fmla="*/ 178 h 309"/>
                  <a:gd name="T84" fmla="*/ 102 w 123"/>
                  <a:gd name="T85" fmla="*/ 178 h 309"/>
                  <a:gd name="T86" fmla="*/ 102 w 123"/>
                  <a:gd name="T87" fmla="*/ 18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309">
                    <a:moveTo>
                      <a:pt x="90" y="160"/>
                    </a:moveTo>
                    <a:cubicBezTo>
                      <a:pt x="32" y="160"/>
                      <a:pt x="32" y="160"/>
                      <a:pt x="32" y="160"/>
                    </a:cubicBezTo>
                    <a:cubicBezTo>
                      <a:pt x="32" y="104"/>
                      <a:pt x="32" y="104"/>
                      <a:pt x="32" y="104"/>
                    </a:cubicBezTo>
                    <a:cubicBezTo>
                      <a:pt x="24" y="104"/>
                      <a:pt x="24" y="104"/>
                      <a:pt x="24" y="104"/>
                    </a:cubicBezTo>
                    <a:cubicBezTo>
                      <a:pt x="24" y="160"/>
                      <a:pt x="24" y="160"/>
                      <a:pt x="24" y="160"/>
                    </a:cubicBezTo>
                    <a:cubicBezTo>
                      <a:pt x="35" y="309"/>
                      <a:pt x="35" y="309"/>
                      <a:pt x="35" y="309"/>
                    </a:cubicBezTo>
                    <a:cubicBezTo>
                      <a:pt x="57" y="309"/>
                      <a:pt x="57" y="309"/>
                      <a:pt x="57" y="309"/>
                    </a:cubicBezTo>
                    <a:cubicBezTo>
                      <a:pt x="57" y="191"/>
                      <a:pt x="57" y="191"/>
                      <a:pt x="57" y="191"/>
                    </a:cubicBezTo>
                    <a:cubicBezTo>
                      <a:pt x="65" y="191"/>
                      <a:pt x="65" y="191"/>
                      <a:pt x="65" y="191"/>
                    </a:cubicBezTo>
                    <a:cubicBezTo>
                      <a:pt x="65" y="309"/>
                      <a:pt x="65" y="309"/>
                      <a:pt x="65" y="309"/>
                    </a:cubicBezTo>
                    <a:cubicBezTo>
                      <a:pt x="88" y="309"/>
                      <a:pt x="88" y="309"/>
                      <a:pt x="88" y="309"/>
                    </a:cubicBezTo>
                    <a:cubicBezTo>
                      <a:pt x="98" y="161"/>
                      <a:pt x="98" y="161"/>
                      <a:pt x="98" y="161"/>
                    </a:cubicBezTo>
                    <a:cubicBezTo>
                      <a:pt x="98" y="104"/>
                      <a:pt x="98" y="104"/>
                      <a:pt x="98" y="104"/>
                    </a:cubicBezTo>
                    <a:cubicBezTo>
                      <a:pt x="91" y="104"/>
                      <a:pt x="91" y="104"/>
                      <a:pt x="91" y="104"/>
                    </a:cubicBezTo>
                    <a:lnTo>
                      <a:pt x="90" y="160"/>
                    </a:lnTo>
                    <a:close/>
                    <a:moveTo>
                      <a:pt x="61" y="52"/>
                    </a:moveTo>
                    <a:cubicBezTo>
                      <a:pt x="73" y="52"/>
                      <a:pt x="83" y="40"/>
                      <a:pt x="83" y="26"/>
                    </a:cubicBezTo>
                    <a:cubicBezTo>
                      <a:pt x="83" y="12"/>
                      <a:pt x="73" y="0"/>
                      <a:pt x="61" y="0"/>
                    </a:cubicBezTo>
                    <a:cubicBezTo>
                      <a:pt x="49" y="0"/>
                      <a:pt x="39" y="12"/>
                      <a:pt x="39" y="26"/>
                    </a:cubicBezTo>
                    <a:cubicBezTo>
                      <a:pt x="39" y="40"/>
                      <a:pt x="49" y="52"/>
                      <a:pt x="61" y="52"/>
                    </a:cubicBezTo>
                    <a:close/>
                    <a:moveTo>
                      <a:pt x="102" y="186"/>
                    </a:moveTo>
                    <a:cubicBezTo>
                      <a:pt x="123" y="186"/>
                      <a:pt x="123" y="186"/>
                      <a:pt x="123" y="186"/>
                    </a:cubicBezTo>
                    <a:cubicBezTo>
                      <a:pt x="123" y="93"/>
                      <a:pt x="123" y="93"/>
                      <a:pt x="123" y="93"/>
                    </a:cubicBezTo>
                    <a:cubicBezTo>
                      <a:pt x="123" y="76"/>
                      <a:pt x="109" y="58"/>
                      <a:pt x="88" y="58"/>
                    </a:cubicBezTo>
                    <a:cubicBezTo>
                      <a:pt x="34" y="58"/>
                      <a:pt x="34" y="58"/>
                      <a:pt x="34" y="58"/>
                    </a:cubicBezTo>
                    <a:cubicBezTo>
                      <a:pt x="15" y="58"/>
                      <a:pt x="0" y="74"/>
                      <a:pt x="0" y="93"/>
                    </a:cubicBezTo>
                    <a:cubicBezTo>
                      <a:pt x="0" y="186"/>
                      <a:pt x="0" y="186"/>
                      <a:pt x="0" y="186"/>
                    </a:cubicBezTo>
                    <a:cubicBezTo>
                      <a:pt x="21" y="186"/>
                      <a:pt x="21" y="186"/>
                      <a:pt x="21" y="186"/>
                    </a:cubicBezTo>
                    <a:cubicBezTo>
                      <a:pt x="21" y="178"/>
                      <a:pt x="21" y="178"/>
                      <a:pt x="21" y="178"/>
                    </a:cubicBezTo>
                    <a:cubicBezTo>
                      <a:pt x="8" y="178"/>
                      <a:pt x="8" y="178"/>
                      <a:pt x="8" y="178"/>
                    </a:cubicBezTo>
                    <a:cubicBezTo>
                      <a:pt x="8" y="93"/>
                      <a:pt x="8" y="93"/>
                      <a:pt x="8" y="93"/>
                    </a:cubicBezTo>
                    <a:cubicBezTo>
                      <a:pt x="8" y="78"/>
                      <a:pt x="20" y="66"/>
                      <a:pt x="34" y="66"/>
                    </a:cubicBezTo>
                    <a:cubicBezTo>
                      <a:pt x="55" y="66"/>
                      <a:pt x="55" y="66"/>
                      <a:pt x="55" y="66"/>
                    </a:cubicBezTo>
                    <a:cubicBezTo>
                      <a:pt x="55" y="68"/>
                      <a:pt x="56" y="70"/>
                      <a:pt x="58" y="71"/>
                    </a:cubicBezTo>
                    <a:cubicBezTo>
                      <a:pt x="53" y="146"/>
                      <a:pt x="53" y="146"/>
                      <a:pt x="53" y="146"/>
                    </a:cubicBezTo>
                    <a:cubicBezTo>
                      <a:pt x="61" y="156"/>
                      <a:pt x="61" y="156"/>
                      <a:pt x="61" y="156"/>
                    </a:cubicBezTo>
                    <a:cubicBezTo>
                      <a:pt x="69" y="146"/>
                      <a:pt x="69" y="146"/>
                      <a:pt x="69" y="146"/>
                    </a:cubicBezTo>
                    <a:cubicBezTo>
                      <a:pt x="64" y="71"/>
                      <a:pt x="64" y="71"/>
                      <a:pt x="64" y="71"/>
                    </a:cubicBezTo>
                    <a:cubicBezTo>
                      <a:pt x="66" y="70"/>
                      <a:pt x="67" y="68"/>
                      <a:pt x="67" y="66"/>
                    </a:cubicBezTo>
                    <a:cubicBezTo>
                      <a:pt x="88" y="66"/>
                      <a:pt x="88" y="66"/>
                      <a:pt x="88" y="66"/>
                    </a:cubicBezTo>
                    <a:cubicBezTo>
                      <a:pt x="104" y="66"/>
                      <a:pt x="115" y="80"/>
                      <a:pt x="115" y="93"/>
                    </a:cubicBezTo>
                    <a:cubicBezTo>
                      <a:pt x="115" y="178"/>
                      <a:pt x="115" y="178"/>
                      <a:pt x="115" y="178"/>
                    </a:cubicBezTo>
                    <a:cubicBezTo>
                      <a:pt x="102" y="178"/>
                      <a:pt x="102" y="178"/>
                      <a:pt x="102" y="178"/>
                    </a:cubicBezTo>
                    <a:lnTo>
                      <a:pt x="102" y="186"/>
                    </a:lnTo>
                    <a:close/>
                  </a:path>
                </a:pathLst>
              </a:custGeom>
              <a:grpFill/>
              <a:ln>
                <a:noFill/>
              </a:ln>
            </p:spPr>
            <p:txBody>
              <a:bodyPr vert="horz" wrap="square" lIns="70919" tIns="35459" rIns="70919" bIns="35459" numCol="1" anchor="t" anchorCtr="0" compatLnSpc="1">
                <a:prstTxWarp prst="textNoShape">
                  <a:avLst/>
                </a:prstTxWarp>
              </a:bodyPr>
              <a:lstStyle/>
              <a:p>
                <a:pPr marL="0" marR="0" lvl="0" indent="0" algn="l" defTabSz="829361" rtl="0" eaLnBrk="1" fontAlgn="auto" latinLnBrk="0" hangingPunct="1">
                  <a:lnSpc>
                    <a:spcPct val="100000"/>
                  </a:lnSpc>
                  <a:spcBef>
                    <a:spcPts val="0"/>
                  </a:spcBef>
                  <a:spcAft>
                    <a:spcPts val="0"/>
                  </a:spcAft>
                  <a:buClrTx/>
                  <a:buSzTx/>
                  <a:buFontTx/>
                  <a:buNone/>
                  <a:tabLst/>
                  <a:defRPr/>
                </a:pPr>
                <a:endParaRPr kumimoji="0" lang="en-IN" sz="1396" b="0" i="0" u="none" strike="noStrike" kern="0" cap="none" spc="0" normalizeH="0" baseline="0" noProof="0" dirty="0">
                  <a:ln>
                    <a:noFill/>
                  </a:ln>
                  <a:solidFill>
                    <a:srgbClr val="646464"/>
                  </a:solidFill>
                  <a:effectLst/>
                  <a:uLnTx/>
                  <a:uFillTx/>
                  <a:latin typeface="EYInterstate Light"/>
                  <a:ea typeface="+mn-ea"/>
                  <a:cs typeface="Arial" charset="0"/>
                </a:endParaRPr>
              </a:p>
            </p:txBody>
          </p:sp>
          <p:sp>
            <p:nvSpPr>
              <p:cNvPr id="20" name="Freeform 19">
                <a:extLst>
                  <a:ext uri="{FF2B5EF4-FFF2-40B4-BE49-F238E27FC236}">
                    <a16:creationId xmlns:a16="http://schemas.microsoft.com/office/drawing/2014/main" id="{E1401787-8DFB-4F12-978D-38F56AE153A2}"/>
                  </a:ext>
                </a:extLst>
              </p:cNvPr>
              <p:cNvSpPr>
                <a:spLocks noEditPoints="1"/>
              </p:cNvSpPr>
              <p:nvPr/>
            </p:nvSpPr>
            <p:spPr bwMode="auto">
              <a:xfrm>
                <a:off x="9566375" y="3680178"/>
                <a:ext cx="112831" cy="284480"/>
              </a:xfrm>
              <a:custGeom>
                <a:avLst/>
                <a:gdLst>
                  <a:gd name="T0" fmla="*/ 90 w 123"/>
                  <a:gd name="T1" fmla="*/ 160 h 309"/>
                  <a:gd name="T2" fmla="*/ 32 w 123"/>
                  <a:gd name="T3" fmla="*/ 160 h 309"/>
                  <a:gd name="T4" fmla="*/ 32 w 123"/>
                  <a:gd name="T5" fmla="*/ 104 h 309"/>
                  <a:gd name="T6" fmla="*/ 24 w 123"/>
                  <a:gd name="T7" fmla="*/ 104 h 309"/>
                  <a:gd name="T8" fmla="*/ 24 w 123"/>
                  <a:gd name="T9" fmla="*/ 160 h 309"/>
                  <a:gd name="T10" fmla="*/ 35 w 123"/>
                  <a:gd name="T11" fmla="*/ 309 h 309"/>
                  <a:gd name="T12" fmla="*/ 57 w 123"/>
                  <a:gd name="T13" fmla="*/ 309 h 309"/>
                  <a:gd name="T14" fmla="*/ 57 w 123"/>
                  <a:gd name="T15" fmla="*/ 191 h 309"/>
                  <a:gd name="T16" fmla="*/ 65 w 123"/>
                  <a:gd name="T17" fmla="*/ 191 h 309"/>
                  <a:gd name="T18" fmla="*/ 65 w 123"/>
                  <a:gd name="T19" fmla="*/ 309 h 309"/>
                  <a:gd name="T20" fmla="*/ 88 w 123"/>
                  <a:gd name="T21" fmla="*/ 309 h 309"/>
                  <a:gd name="T22" fmla="*/ 98 w 123"/>
                  <a:gd name="T23" fmla="*/ 161 h 309"/>
                  <a:gd name="T24" fmla="*/ 98 w 123"/>
                  <a:gd name="T25" fmla="*/ 104 h 309"/>
                  <a:gd name="T26" fmla="*/ 91 w 123"/>
                  <a:gd name="T27" fmla="*/ 104 h 309"/>
                  <a:gd name="T28" fmla="*/ 90 w 123"/>
                  <a:gd name="T29" fmla="*/ 160 h 309"/>
                  <a:gd name="T30" fmla="*/ 61 w 123"/>
                  <a:gd name="T31" fmla="*/ 52 h 309"/>
                  <a:gd name="T32" fmla="*/ 83 w 123"/>
                  <a:gd name="T33" fmla="*/ 26 h 309"/>
                  <a:gd name="T34" fmla="*/ 61 w 123"/>
                  <a:gd name="T35" fmla="*/ 0 h 309"/>
                  <a:gd name="T36" fmla="*/ 39 w 123"/>
                  <a:gd name="T37" fmla="*/ 26 h 309"/>
                  <a:gd name="T38" fmla="*/ 61 w 123"/>
                  <a:gd name="T39" fmla="*/ 52 h 309"/>
                  <a:gd name="T40" fmla="*/ 102 w 123"/>
                  <a:gd name="T41" fmla="*/ 186 h 309"/>
                  <a:gd name="T42" fmla="*/ 123 w 123"/>
                  <a:gd name="T43" fmla="*/ 186 h 309"/>
                  <a:gd name="T44" fmla="*/ 123 w 123"/>
                  <a:gd name="T45" fmla="*/ 93 h 309"/>
                  <a:gd name="T46" fmla="*/ 88 w 123"/>
                  <a:gd name="T47" fmla="*/ 58 h 309"/>
                  <a:gd name="T48" fmla="*/ 34 w 123"/>
                  <a:gd name="T49" fmla="*/ 58 h 309"/>
                  <a:gd name="T50" fmla="*/ 0 w 123"/>
                  <a:gd name="T51" fmla="*/ 93 h 309"/>
                  <a:gd name="T52" fmla="*/ 0 w 123"/>
                  <a:gd name="T53" fmla="*/ 186 h 309"/>
                  <a:gd name="T54" fmla="*/ 21 w 123"/>
                  <a:gd name="T55" fmla="*/ 186 h 309"/>
                  <a:gd name="T56" fmla="*/ 21 w 123"/>
                  <a:gd name="T57" fmla="*/ 178 h 309"/>
                  <a:gd name="T58" fmla="*/ 8 w 123"/>
                  <a:gd name="T59" fmla="*/ 178 h 309"/>
                  <a:gd name="T60" fmla="*/ 8 w 123"/>
                  <a:gd name="T61" fmla="*/ 93 h 309"/>
                  <a:gd name="T62" fmla="*/ 34 w 123"/>
                  <a:gd name="T63" fmla="*/ 66 h 309"/>
                  <a:gd name="T64" fmla="*/ 55 w 123"/>
                  <a:gd name="T65" fmla="*/ 66 h 309"/>
                  <a:gd name="T66" fmla="*/ 58 w 123"/>
                  <a:gd name="T67" fmla="*/ 71 h 309"/>
                  <a:gd name="T68" fmla="*/ 53 w 123"/>
                  <a:gd name="T69" fmla="*/ 146 h 309"/>
                  <a:gd name="T70" fmla="*/ 61 w 123"/>
                  <a:gd name="T71" fmla="*/ 156 h 309"/>
                  <a:gd name="T72" fmla="*/ 69 w 123"/>
                  <a:gd name="T73" fmla="*/ 146 h 309"/>
                  <a:gd name="T74" fmla="*/ 64 w 123"/>
                  <a:gd name="T75" fmla="*/ 71 h 309"/>
                  <a:gd name="T76" fmla="*/ 67 w 123"/>
                  <a:gd name="T77" fmla="*/ 66 h 309"/>
                  <a:gd name="T78" fmla="*/ 88 w 123"/>
                  <a:gd name="T79" fmla="*/ 66 h 309"/>
                  <a:gd name="T80" fmla="*/ 115 w 123"/>
                  <a:gd name="T81" fmla="*/ 93 h 309"/>
                  <a:gd name="T82" fmla="*/ 115 w 123"/>
                  <a:gd name="T83" fmla="*/ 178 h 309"/>
                  <a:gd name="T84" fmla="*/ 102 w 123"/>
                  <a:gd name="T85" fmla="*/ 178 h 309"/>
                  <a:gd name="T86" fmla="*/ 102 w 123"/>
                  <a:gd name="T87" fmla="*/ 18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309">
                    <a:moveTo>
                      <a:pt x="90" y="160"/>
                    </a:moveTo>
                    <a:cubicBezTo>
                      <a:pt x="32" y="160"/>
                      <a:pt x="32" y="160"/>
                      <a:pt x="32" y="160"/>
                    </a:cubicBezTo>
                    <a:cubicBezTo>
                      <a:pt x="32" y="104"/>
                      <a:pt x="32" y="104"/>
                      <a:pt x="32" y="104"/>
                    </a:cubicBezTo>
                    <a:cubicBezTo>
                      <a:pt x="24" y="104"/>
                      <a:pt x="24" y="104"/>
                      <a:pt x="24" y="104"/>
                    </a:cubicBezTo>
                    <a:cubicBezTo>
                      <a:pt x="24" y="160"/>
                      <a:pt x="24" y="160"/>
                      <a:pt x="24" y="160"/>
                    </a:cubicBezTo>
                    <a:cubicBezTo>
                      <a:pt x="35" y="309"/>
                      <a:pt x="35" y="309"/>
                      <a:pt x="35" y="309"/>
                    </a:cubicBezTo>
                    <a:cubicBezTo>
                      <a:pt x="57" y="309"/>
                      <a:pt x="57" y="309"/>
                      <a:pt x="57" y="309"/>
                    </a:cubicBezTo>
                    <a:cubicBezTo>
                      <a:pt x="57" y="191"/>
                      <a:pt x="57" y="191"/>
                      <a:pt x="57" y="191"/>
                    </a:cubicBezTo>
                    <a:cubicBezTo>
                      <a:pt x="65" y="191"/>
                      <a:pt x="65" y="191"/>
                      <a:pt x="65" y="191"/>
                    </a:cubicBezTo>
                    <a:cubicBezTo>
                      <a:pt x="65" y="309"/>
                      <a:pt x="65" y="309"/>
                      <a:pt x="65" y="309"/>
                    </a:cubicBezTo>
                    <a:cubicBezTo>
                      <a:pt x="88" y="309"/>
                      <a:pt x="88" y="309"/>
                      <a:pt x="88" y="309"/>
                    </a:cubicBezTo>
                    <a:cubicBezTo>
                      <a:pt x="98" y="161"/>
                      <a:pt x="98" y="161"/>
                      <a:pt x="98" y="161"/>
                    </a:cubicBezTo>
                    <a:cubicBezTo>
                      <a:pt x="98" y="104"/>
                      <a:pt x="98" y="104"/>
                      <a:pt x="98" y="104"/>
                    </a:cubicBezTo>
                    <a:cubicBezTo>
                      <a:pt x="91" y="104"/>
                      <a:pt x="91" y="104"/>
                      <a:pt x="91" y="104"/>
                    </a:cubicBezTo>
                    <a:lnTo>
                      <a:pt x="90" y="160"/>
                    </a:lnTo>
                    <a:close/>
                    <a:moveTo>
                      <a:pt x="61" y="52"/>
                    </a:moveTo>
                    <a:cubicBezTo>
                      <a:pt x="73" y="52"/>
                      <a:pt x="83" y="40"/>
                      <a:pt x="83" y="26"/>
                    </a:cubicBezTo>
                    <a:cubicBezTo>
                      <a:pt x="83" y="12"/>
                      <a:pt x="73" y="0"/>
                      <a:pt x="61" y="0"/>
                    </a:cubicBezTo>
                    <a:cubicBezTo>
                      <a:pt x="49" y="0"/>
                      <a:pt x="39" y="12"/>
                      <a:pt x="39" y="26"/>
                    </a:cubicBezTo>
                    <a:cubicBezTo>
                      <a:pt x="39" y="40"/>
                      <a:pt x="49" y="52"/>
                      <a:pt x="61" y="52"/>
                    </a:cubicBezTo>
                    <a:close/>
                    <a:moveTo>
                      <a:pt x="102" y="186"/>
                    </a:moveTo>
                    <a:cubicBezTo>
                      <a:pt x="123" y="186"/>
                      <a:pt x="123" y="186"/>
                      <a:pt x="123" y="186"/>
                    </a:cubicBezTo>
                    <a:cubicBezTo>
                      <a:pt x="123" y="93"/>
                      <a:pt x="123" y="93"/>
                      <a:pt x="123" y="93"/>
                    </a:cubicBezTo>
                    <a:cubicBezTo>
                      <a:pt x="123" y="76"/>
                      <a:pt x="109" y="58"/>
                      <a:pt x="88" y="58"/>
                    </a:cubicBezTo>
                    <a:cubicBezTo>
                      <a:pt x="34" y="58"/>
                      <a:pt x="34" y="58"/>
                      <a:pt x="34" y="58"/>
                    </a:cubicBezTo>
                    <a:cubicBezTo>
                      <a:pt x="15" y="58"/>
                      <a:pt x="0" y="74"/>
                      <a:pt x="0" y="93"/>
                    </a:cubicBezTo>
                    <a:cubicBezTo>
                      <a:pt x="0" y="186"/>
                      <a:pt x="0" y="186"/>
                      <a:pt x="0" y="186"/>
                    </a:cubicBezTo>
                    <a:cubicBezTo>
                      <a:pt x="21" y="186"/>
                      <a:pt x="21" y="186"/>
                      <a:pt x="21" y="186"/>
                    </a:cubicBezTo>
                    <a:cubicBezTo>
                      <a:pt x="21" y="178"/>
                      <a:pt x="21" y="178"/>
                      <a:pt x="21" y="178"/>
                    </a:cubicBezTo>
                    <a:cubicBezTo>
                      <a:pt x="8" y="178"/>
                      <a:pt x="8" y="178"/>
                      <a:pt x="8" y="178"/>
                    </a:cubicBezTo>
                    <a:cubicBezTo>
                      <a:pt x="8" y="93"/>
                      <a:pt x="8" y="93"/>
                      <a:pt x="8" y="93"/>
                    </a:cubicBezTo>
                    <a:cubicBezTo>
                      <a:pt x="8" y="78"/>
                      <a:pt x="20" y="66"/>
                      <a:pt x="34" y="66"/>
                    </a:cubicBezTo>
                    <a:cubicBezTo>
                      <a:pt x="55" y="66"/>
                      <a:pt x="55" y="66"/>
                      <a:pt x="55" y="66"/>
                    </a:cubicBezTo>
                    <a:cubicBezTo>
                      <a:pt x="55" y="68"/>
                      <a:pt x="56" y="70"/>
                      <a:pt x="58" y="71"/>
                    </a:cubicBezTo>
                    <a:cubicBezTo>
                      <a:pt x="53" y="146"/>
                      <a:pt x="53" y="146"/>
                      <a:pt x="53" y="146"/>
                    </a:cubicBezTo>
                    <a:cubicBezTo>
                      <a:pt x="61" y="156"/>
                      <a:pt x="61" y="156"/>
                      <a:pt x="61" y="156"/>
                    </a:cubicBezTo>
                    <a:cubicBezTo>
                      <a:pt x="69" y="146"/>
                      <a:pt x="69" y="146"/>
                      <a:pt x="69" y="146"/>
                    </a:cubicBezTo>
                    <a:cubicBezTo>
                      <a:pt x="64" y="71"/>
                      <a:pt x="64" y="71"/>
                      <a:pt x="64" y="71"/>
                    </a:cubicBezTo>
                    <a:cubicBezTo>
                      <a:pt x="66" y="70"/>
                      <a:pt x="67" y="68"/>
                      <a:pt x="67" y="66"/>
                    </a:cubicBezTo>
                    <a:cubicBezTo>
                      <a:pt x="88" y="66"/>
                      <a:pt x="88" y="66"/>
                      <a:pt x="88" y="66"/>
                    </a:cubicBezTo>
                    <a:cubicBezTo>
                      <a:pt x="104" y="66"/>
                      <a:pt x="115" y="80"/>
                      <a:pt x="115" y="93"/>
                    </a:cubicBezTo>
                    <a:cubicBezTo>
                      <a:pt x="115" y="178"/>
                      <a:pt x="115" y="178"/>
                      <a:pt x="115" y="178"/>
                    </a:cubicBezTo>
                    <a:cubicBezTo>
                      <a:pt x="102" y="178"/>
                      <a:pt x="102" y="178"/>
                      <a:pt x="102" y="178"/>
                    </a:cubicBezTo>
                    <a:lnTo>
                      <a:pt x="102" y="186"/>
                    </a:lnTo>
                    <a:close/>
                  </a:path>
                </a:pathLst>
              </a:custGeom>
              <a:grpFill/>
              <a:ln>
                <a:noFill/>
              </a:ln>
            </p:spPr>
            <p:txBody>
              <a:bodyPr vert="horz" wrap="square" lIns="70919" tIns="35459" rIns="70919" bIns="35459" numCol="1" anchor="t" anchorCtr="0" compatLnSpc="1">
                <a:prstTxWarp prst="textNoShape">
                  <a:avLst/>
                </a:prstTxWarp>
              </a:bodyPr>
              <a:lstStyle/>
              <a:p>
                <a:pPr marL="0" marR="0" lvl="0" indent="0" algn="l" defTabSz="829361" rtl="0" eaLnBrk="1" fontAlgn="auto" latinLnBrk="0" hangingPunct="1">
                  <a:lnSpc>
                    <a:spcPct val="100000"/>
                  </a:lnSpc>
                  <a:spcBef>
                    <a:spcPts val="0"/>
                  </a:spcBef>
                  <a:spcAft>
                    <a:spcPts val="0"/>
                  </a:spcAft>
                  <a:buClrTx/>
                  <a:buSzTx/>
                  <a:buFontTx/>
                  <a:buNone/>
                  <a:tabLst/>
                  <a:defRPr/>
                </a:pPr>
                <a:endParaRPr kumimoji="0" lang="en-IN" sz="1396" b="0" i="0" u="none" strike="noStrike" kern="0" cap="none" spc="0" normalizeH="0" baseline="0" noProof="0" dirty="0">
                  <a:ln>
                    <a:noFill/>
                  </a:ln>
                  <a:solidFill>
                    <a:srgbClr val="646464"/>
                  </a:solidFill>
                  <a:effectLst/>
                  <a:uLnTx/>
                  <a:uFillTx/>
                  <a:latin typeface="EYInterstate Light"/>
                  <a:ea typeface="+mn-ea"/>
                  <a:cs typeface="Arial" charset="0"/>
                </a:endParaRPr>
              </a:p>
            </p:txBody>
          </p:sp>
        </p:grpSp>
        <p:sp>
          <p:nvSpPr>
            <p:cNvPr id="17" name="Text Box 26">
              <a:extLst>
                <a:ext uri="{FF2B5EF4-FFF2-40B4-BE49-F238E27FC236}">
                  <a16:creationId xmlns:a16="http://schemas.microsoft.com/office/drawing/2014/main" id="{61A6A30D-DFA1-436B-B29F-A7239D562CEA}"/>
                </a:ext>
              </a:extLst>
            </p:cNvPr>
            <p:cNvSpPr txBox="1">
              <a:spLocks noChangeArrowheads="1"/>
            </p:cNvSpPr>
            <p:nvPr/>
          </p:nvSpPr>
          <p:spPr bwMode="gray">
            <a:xfrm>
              <a:off x="1137294" y="2065610"/>
              <a:ext cx="2326981" cy="430959"/>
            </a:xfrm>
            <a:prstGeom prst="rect">
              <a:avLst/>
            </a:prstGeom>
            <a:noFill/>
            <a:ln w="9525" algn="ctr">
              <a:noFill/>
              <a:miter lim="800000"/>
              <a:headEnd/>
              <a:tailEnd/>
            </a:ln>
          </p:spPr>
          <p:txBody>
            <a:bodyPr wrap="square" lIns="0" tIns="0" rIns="0" bIns="0" anchor="ctr">
              <a:spAutoFit/>
            </a:bodyPr>
            <a:lstStyle/>
            <a:p>
              <a:pPr marL="0" marR="0" lvl="0" indent="0" algn="ctr" defTabSz="708908" rtl="0" eaLnBrk="1" fontAlgn="auto" latinLnBrk="0" hangingPunct="1">
                <a:lnSpc>
                  <a:spcPct val="100000"/>
                </a:lnSpc>
                <a:spcBef>
                  <a:spcPts val="0"/>
                </a:spcBef>
                <a:spcAft>
                  <a:spcPts val="0"/>
                </a:spcAft>
                <a:buClrTx/>
                <a:buSzTx/>
                <a:buFontTx/>
                <a:buNone/>
                <a:tabLst/>
                <a:defRPr/>
              </a:pPr>
              <a:r>
                <a:rPr kumimoji="0" lang="en-US" sz="1270" b="1" i="0" u="none" strike="noStrike" kern="0" cap="none" spc="0" normalizeH="0" baseline="0" noProof="0" dirty="0">
                  <a:ln>
                    <a:noFill/>
                  </a:ln>
                  <a:solidFill>
                    <a:srgbClr val="000000"/>
                  </a:solidFill>
                  <a:effectLst/>
                  <a:uLnTx/>
                  <a:uFillTx/>
                  <a:latin typeface="EYInterstate Light"/>
                  <a:ea typeface="+mn-ea"/>
                  <a:cs typeface="Arial" pitchFamily="34" charset="0"/>
                </a:rPr>
                <a:t>1000+ Microsoft Advisory Professionals</a:t>
              </a:r>
              <a:endParaRPr kumimoji="0" lang="en-GB" sz="1270" b="0" i="0" u="none" strike="noStrike" kern="0" cap="none" spc="0" normalizeH="0" baseline="0" noProof="0" dirty="0">
                <a:ln>
                  <a:noFill/>
                </a:ln>
                <a:solidFill>
                  <a:srgbClr val="000000"/>
                </a:solidFill>
                <a:effectLst/>
                <a:uLnTx/>
                <a:uFillTx/>
                <a:latin typeface="EYInterstate Light"/>
                <a:ea typeface="+mn-ea"/>
                <a:cs typeface="Arial" pitchFamily="34" charset="0"/>
              </a:endParaRPr>
            </a:p>
          </p:txBody>
        </p:sp>
      </p:grpSp>
      <p:sp>
        <p:nvSpPr>
          <p:cNvPr id="21" name="Text Box 26">
            <a:extLst>
              <a:ext uri="{FF2B5EF4-FFF2-40B4-BE49-F238E27FC236}">
                <a16:creationId xmlns:a16="http://schemas.microsoft.com/office/drawing/2014/main" id="{E6E98958-251C-449D-9788-3374320F5B1B}"/>
              </a:ext>
            </a:extLst>
          </p:cNvPr>
          <p:cNvSpPr txBox="1">
            <a:spLocks noChangeArrowheads="1"/>
          </p:cNvSpPr>
          <p:nvPr/>
        </p:nvSpPr>
        <p:spPr bwMode="gray">
          <a:xfrm>
            <a:off x="5511813" y="1981231"/>
            <a:ext cx="65" cy="190950"/>
          </a:xfrm>
          <a:prstGeom prst="rect">
            <a:avLst/>
          </a:prstGeom>
          <a:noFill/>
          <a:ln w="9525" algn="ctr">
            <a:noFill/>
            <a:miter lim="800000"/>
            <a:headEnd/>
            <a:tailEnd/>
          </a:ln>
        </p:spPr>
        <p:txBody>
          <a:bodyPr wrap="none" lIns="0" tIns="0" rIns="0" bIns="0" anchor="ctr">
            <a:spAutoFit/>
          </a:bodyPr>
          <a:lstStyle/>
          <a:p>
            <a:pPr marL="0" marR="0" lvl="0" indent="0" algn="l" defTabSz="708908" rtl="0" eaLnBrk="1" fontAlgn="auto" latinLnBrk="0" hangingPunct="1">
              <a:lnSpc>
                <a:spcPct val="100000"/>
              </a:lnSpc>
              <a:spcBef>
                <a:spcPts val="0"/>
              </a:spcBef>
              <a:spcAft>
                <a:spcPts val="0"/>
              </a:spcAft>
              <a:buClrTx/>
              <a:buSzTx/>
              <a:buFontTx/>
              <a:buNone/>
              <a:tabLst/>
              <a:defRPr/>
            </a:pPr>
            <a:endParaRPr kumimoji="0" lang="en-GB" sz="1241" b="1" i="0" u="none" strike="noStrike" kern="0" cap="none" spc="0" normalizeH="0" baseline="0" noProof="0" dirty="0">
              <a:ln>
                <a:noFill/>
              </a:ln>
              <a:solidFill>
                <a:srgbClr val="000000"/>
              </a:solidFill>
              <a:effectLst/>
              <a:uLnTx/>
              <a:uFillTx/>
              <a:latin typeface="EYInterstate Light"/>
              <a:ea typeface="+mn-ea"/>
              <a:cs typeface="Arial" pitchFamily="34" charset="0"/>
            </a:endParaRPr>
          </a:p>
        </p:txBody>
      </p:sp>
      <p:sp>
        <p:nvSpPr>
          <p:cNvPr id="22" name="Text Box 26">
            <a:extLst>
              <a:ext uri="{FF2B5EF4-FFF2-40B4-BE49-F238E27FC236}">
                <a16:creationId xmlns:a16="http://schemas.microsoft.com/office/drawing/2014/main" id="{2662D5C8-8464-4340-A567-40427C95C77A}"/>
              </a:ext>
            </a:extLst>
          </p:cNvPr>
          <p:cNvSpPr txBox="1">
            <a:spLocks noChangeArrowheads="1"/>
          </p:cNvSpPr>
          <p:nvPr/>
        </p:nvSpPr>
        <p:spPr bwMode="gray">
          <a:xfrm>
            <a:off x="7259696" y="2172425"/>
            <a:ext cx="1509733" cy="1171924"/>
          </a:xfrm>
          <a:prstGeom prst="rect">
            <a:avLst/>
          </a:prstGeom>
          <a:noFill/>
          <a:ln w="9525" algn="ctr">
            <a:noFill/>
            <a:miter lim="800000"/>
            <a:headEnd/>
            <a:tailEnd/>
          </a:ln>
        </p:spPr>
        <p:txBody>
          <a:bodyPr wrap="square" lIns="0" tIns="0" rIns="0" bIns="0" anchor="ctr">
            <a:spAutoFit/>
          </a:bodyPr>
          <a:lstStyle/>
          <a:p>
            <a:pPr marL="0" marR="0" lvl="0" indent="0" algn="l" defTabSz="708908" rtl="0" eaLnBrk="1" fontAlgn="auto" latinLnBrk="0" hangingPunct="1">
              <a:lnSpc>
                <a:spcPct val="100000"/>
              </a:lnSpc>
              <a:spcBef>
                <a:spcPts val="0"/>
              </a:spcBef>
              <a:spcAft>
                <a:spcPts val="0"/>
              </a:spcAft>
              <a:buClrTx/>
              <a:buSzTx/>
              <a:buFontTx/>
              <a:buNone/>
              <a:tabLst/>
              <a:defRPr/>
            </a:pPr>
            <a:r>
              <a:rPr kumimoji="0" lang="en-AU" sz="1088" b="1" i="0" u="none" strike="noStrike" kern="0" cap="none" spc="0" normalizeH="0" baseline="0" noProof="0" dirty="0">
                <a:ln>
                  <a:noFill/>
                </a:ln>
                <a:solidFill>
                  <a:srgbClr val="646464"/>
                </a:solidFill>
                <a:effectLst/>
                <a:uLnTx/>
                <a:uFillTx/>
                <a:latin typeface="EYInterstate Light"/>
                <a:ea typeface="+mn-ea"/>
                <a:cs typeface="Arial" pitchFamily="34" charset="0"/>
              </a:rPr>
              <a:t>EY’s strong connectivity enables us to assemble the right teams, share leading practices across the world and address your cloud needs</a:t>
            </a:r>
            <a:endParaRPr kumimoji="0" lang="en-US" sz="1088" b="0" i="0" u="none" strike="noStrike" kern="0" cap="none" spc="0" normalizeH="0" baseline="0" noProof="0" dirty="0">
              <a:ln>
                <a:noFill/>
              </a:ln>
              <a:solidFill>
                <a:srgbClr val="646464"/>
              </a:solidFill>
              <a:effectLst/>
              <a:uLnTx/>
              <a:uFillTx/>
              <a:latin typeface="EYInterstate Light"/>
              <a:ea typeface="+mn-ea"/>
              <a:cs typeface="Arial" pitchFamily="34" charset="0"/>
            </a:endParaRPr>
          </a:p>
        </p:txBody>
      </p:sp>
      <p:sp>
        <p:nvSpPr>
          <p:cNvPr id="51" name="Rectangle 50">
            <a:extLst>
              <a:ext uri="{FF2B5EF4-FFF2-40B4-BE49-F238E27FC236}">
                <a16:creationId xmlns:a16="http://schemas.microsoft.com/office/drawing/2014/main" id="{9F37AF51-36D4-4838-BD9C-CB71232CEA39}"/>
              </a:ext>
            </a:extLst>
          </p:cNvPr>
          <p:cNvSpPr/>
          <p:nvPr/>
        </p:nvSpPr>
        <p:spPr>
          <a:xfrm>
            <a:off x="820100" y="1478719"/>
            <a:ext cx="11030394" cy="315599"/>
          </a:xfrm>
          <a:prstGeom prst="rect">
            <a:avLst/>
          </a:prstGeom>
          <a:solidFill>
            <a:schemeClr val="accent1"/>
          </a:solidFill>
        </p:spPr>
        <p:txBody>
          <a:bodyPr wrap="square" anchor="ctr">
            <a:spAutoFit/>
          </a:bodyPr>
          <a:lstStyle/>
          <a:p>
            <a:pPr marL="0" marR="0" lvl="0" indent="0" algn="l" defTabSz="945992" rtl="0" eaLnBrk="1" fontAlgn="auto" latinLnBrk="0" hangingPunct="1">
              <a:lnSpc>
                <a:spcPct val="100000"/>
              </a:lnSpc>
              <a:spcBef>
                <a:spcPts val="0"/>
              </a:spcBef>
              <a:spcAft>
                <a:spcPts val="0"/>
              </a:spcAft>
              <a:buClrTx/>
              <a:buSzTx/>
              <a:buFontTx/>
              <a:buNone/>
              <a:tabLst/>
              <a:defRPr/>
            </a:pPr>
            <a:r>
              <a:rPr kumimoji="0" lang="en-IN" sz="1451" b="0" i="0" u="none" strike="noStrike" kern="0" cap="none" spc="0" normalizeH="0" baseline="0" noProof="0" dirty="0">
                <a:ln>
                  <a:noFill/>
                </a:ln>
                <a:solidFill>
                  <a:srgbClr val="FFFFFF"/>
                </a:solidFill>
                <a:effectLst/>
                <a:uLnTx/>
                <a:uFillTx/>
                <a:latin typeface="EYInterstate" panose="02000503020000020004" pitchFamily="2" charset="0"/>
                <a:ea typeface="+mn-ea"/>
                <a:cs typeface="Arial" pitchFamily="34" charset="0"/>
              </a:rPr>
              <a:t>EY Team (Asia Pacific)</a:t>
            </a:r>
            <a:endParaRPr kumimoji="0" lang="en-AU" sz="1451" b="0" i="0" u="none" strike="noStrike" kern="0" cap="none" spc="0" normalizeH="0" baseline="0" noProof="0" dirty="0">
              <a:ln>
                <a:noFill/>
              </a:ln>
              <a:solidFill>
                <a:srgbClr val="FFFFFF"/>
              </a:solidFill>
              <a:effectLst/>
              <a:uLnTx/>
              <a:uFillTx/>
              <a:latin typeface="EYInterstate" panose="02000503020000020004" pitchFamily="2" charset="0"/>
              <a:ea typeface="+mn-ea"/>
              <a:cs typeface="Arial" pitchFamily="34" charset="0"/>
            </a:endParaRPr>
          </a:p>
        </p:txBody>
      </p:sp>
      <p:sp>
        <p:nvSpPr>
          <p:cNvPr id="52" name="Isosceles Triangle 51">
            <a:extLst>
              <a:ext uri="{FF2B5EF4-FFF2-40B4-BE49-F238E27FC236}">
                <a16:creationId xmlns:a16="http://schemas.microsoft.com/office/drawing/2014/main" id="{C13D8462-4109-42F6-BD34-A315B1F1E86F}"/>
              </a:ext>
            </a:extLst>
          </p:cNvPr>
          <p:cNvSpPr/>
          <p:nvPr/>
        </p:nvSpPr>
        <p:spPr>
          <a:xfrm rot="5400000">
            <a:off x="6604743" y="2626727"/>
            <a:ext cx="891364" cy="202926"/>
          </a:xfrm>
          <a:prstGeom prst="triangl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45992" rtl="0" eaLnBrk="1" fontAlgn="auto" latinLnBrk="0" hangingPunct="1">
              <a:lnSpc>
                <a:spcPct val="100000"/>
              </a:lnSpc>
              <a:spcBef>
                <a:spcPts val="0"/>
              </a:spcBef>
              <a:spcAft>
                <a:spcPts val="0"/>
              </a:spcAft>
              <a:buClrTx/>
              <a:buSzTx/>
              <a:buFontTx/>
              <a:buNone/>
              <a:tabLst/>
              <a:defRPr/>
            </a:pPr>
            <a:endParaRPr kumimoji="0" lang="en-AU" sz="1088" b="0" i="0" u="none" strike="noStrike" kern="1200" cap="none" spc="0" normalizeH="0" baseline="0" noProof="0" dirty="0">
              <a:ln>
                <a:noFill/>
              </a:ln>
              <a:solidFill>
                <a:srgbClr val="2E2E38"/>
              </a:solidFill>
              <a:effectLst/>
              <a:uLnTx/>
              <a:uFillTx/>
              <a:latin typeface="EYInterstate Light"/>
              <a:ea typeface="+mn-ea"/>
              <a:cs typeface="+mn-cs"/>
            </a:endParaRPr>
          </a:p>
        </p:txBody>
      </p:sp>
      <p:pic>
        <p:nvPicPr>
          <p:cNvPr id="53" name="Picture 52">
            <a:extLst>
              <a:ext uri="{FF2B5EF4-FFF2-40B4-BE49-F238E27FC236}">
                <a16:creationId xmlns:a16="http://schemas.microsoft.com/office/drawing/2014/main" id="{028C843D-FFAD-4F75-9B39-7D39703C8681}"/>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3822"/>
          <a:stretch/>
        </p:blipFill>
        <p:spPr>
          <a:xfrm>
            <a:off x="4258264" y="2291055"/>
            <a:ext cx="2347767" cy="1214232"/>
          </a:xfrm>
          <a:prstGeom prst="rect">
            <a:avLst/>
          </a:prstGeom>
        </p:spPr>
      </p:pic>
      <p:graphicFrame>
        <p:nvGraphicFramePr>
          <p:cNvPr id="83" name="Table 16">
            <a:extLst>
              <a:ext uri="{FF2B5EF4-FFF2-40B4-BE49-F238E27FC236}">
                <a16:creationId xmlns:a16="http://schemas.microsoft.com/office/drawing/2014/main" id="{F52D60E8-8731-499B-BFC9-1D25DE62838C}"/>
              </a:ext>
            </a:extLst>
          </p:cNvPr>
          <p:cNvGraphicFramePr>
            <a:graphicFrameLocks noGrp="1"/>
          </p:cNvGraphicFramePr>
          <p:nvPr>
            <p:extLst>
              <p:ext uri="{D42A27DB-BD31-4B8C-83A1-F6EECF244321}">
                <p14:modId xmlns:p14="http://schemas.microsoft.com/office/powerpoint/2010/main" val="3564430113"/>
              </p:ext>
            </p:extLst>
          </p:nvPr>
        </p:nvGraphicFramePr>
        <p:xfrm>
          <a:off x="6568806" y="3499219"/>
          <a:ext cx="5281687" cy="2545769"/>
        </p:xfrm>
        <a:graphic>
          <a:graphicData uri="http://schemas.openxmlformats.org/drawingml/2006/table">
            <a:tbl>
              <a:tblPr firstRow="1" bandRow="1">
                <a:tableStyleId>{5C22544A-7EE6-4342-B048-85BDC9FD1C3A}</a:tableStyleId>
              </a:tblPr>
              <a:tblGrid>
                <a:gridCol w="2830833">
                  <a:extLst>
                    <a:ext uri="{9D8B030D-6E8A-4147-A177-3AD203B41FA5}">
                      <a16:colId xmlns:a16="http://schemas.microsoft.com/office/drawing/2014/main" val="3925137492"/>
                    </a:ext>
                  </a:extLst>
                </a:gridCol>
                <a:gridCol w="2450854">
                  <a:extLst>
                    <a:ext uri="{9D8B030D-6E8A-4147-A177-3AD203B41FA5}">
                      <a16:colId xmlns:a16="http://schemas.microsoft.com/office/drawing/2014/main" val="73680769"/>
                    </a:ext>
                  </a:extLst>
                </a:gridCol>
              </a:tblGrid>
              <a:tr h="271186">
                <a:tc gridSpan="2">
                  <a:txBody>
                    <a:bodyPr/>
                    <a:lstStyle/>
                    <a:p>
                      <a:pPr marL="0" algn="ctr" defTabSz="1042990" rtl="0" eaLnBrk="1" latinLnBrk="0" hangingPunct="1"/>
                      <a:r>
                        <a:rPr kumimoji="0" lang="en-US" sz="1000" b="1" i="0" u="none" strike="noStrike" kern="0" cap="none" spc="0" normalizeH="0" baseline="0" noProof="0" dirty="0">
                          <a:ln>
                            <a:noFill/>
                          </a:ln>
                          <a:solidFill>
                            <a:schemeClr val="tx1"/>
                          </a:solidFill>
                          <a:effectLst/>
                          <a:uLnTx/>
                          <a:uFillTx/>
                          <a:latin typeface="EYInterstate" panose="02000503020000020004" pitchFamily="2" charset="0"/>
                          <a:ea typeface="+mn-ea"/>
                          <a:cs typeface="Arial" pitchFamily="34" charset="0"/>
                        </a:rPr>
                        <a:t>EY &amp; Microsoft Competencies</a:t>
                      </a:r>
                      <a:endParaRPr lang="en-US" sz="800" b="0" kern="600" dirty="0">
                        <a:solidFill>
                          <a:schemeClr val="bg1"/>
                        </a:solidFill>
                      </a:endParaRPr>
                    </a:p>
                  </a:txBody>
                  <a:tcPr marL="82935" marR="82935" marT="32652" marB="0" anchor="ctr">
                    <a:lnL w="12700" cmpd="sng">
                      <a:noFill/>
                    </a:lnL>
                    <a:lnR w="12700" cmpd="sng">
                      <a:noFill/>
                    </a:lnR>
                    <a:lnT w="12700" cmpd="sng">
                      <a:noFill/>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648903556"/>
                  </a:ext>
                </a:extLst>
              </a:tr>
              <a:tr h="306774">
                <a:tc gridSpan="2">
                  <a:txBody>
                    <a:bodyPr/>
                    <a:lstStyle/>
                    <a:p>
                      <a:pPr marL="0" indent="0" algn="ctr">
                        <a:buClr>
                          <a:schemeClr val="accent1"/>
                        </a:buClr>
                        <a:buSzPct val="150000"/>
                        <a:buFont typeface="EYInterstate Light" panose="02000506000000020004" pitchFamily="2" charset="0"/>
                        <a:buNone/>
                      </a:pPr>
                      <a:r>
                        <a:rPr lang="en-US" sz="800" b="0" kern="600" dirty="0">
                          <a:solidFill>
                            <a:schemeClr val="bg1"/>
                          </a:solidFill>
                        </a:rPr>
                        <a:t>We are a </a:t>
                      </a:r>
                      <a:r>
                        <a:rPr lang="en-US" sz="800" b="1" kern="600" dirty="0">
                          <a:solidFill>
                            <a:schemeClr val="bg1"/>
                          </a:solidFill>
                        </a:rPr>
                        <a:t>Microsoft Gold partner</a:t>
                      </a:r>
                      <a:r>
                        <a:rPr lang="en-US" sz="800" b="0" kern="600" dirty="0">
                          <a:solidFill>
                            <a:schemeClr val="bg1"/>
                          </a:solidFill>
                        </a:rPr>
                        <a:t> and our professionals have demonstrated successful implementations, capabilities and technical certifications to meet the rigorous requirements to attain these competencies</a:t>
                      </a:r>
                      <a:endParaRPr lang="en-AU" sz="800" b="1" dirty="0">
                        <a:solidFill>
                          <a:schemeClr val="tx1"/>
                        </a:solidFill>
                      </a:endParaRPr>
                    </a:p>
                  </a:txBody>
                  <a:tcPr marL="82935" marR="82935" marT="32652" marB="0"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indent="0" algn="ctr">
                        <a:buClr>
                          <a:schemeClr val="accent1"/>
                        </a:buClr>
                        <a:buSzPct val="150000"/>
                        <a:buFont typeface="EYInterstate Light" panose="02000506000000020004" pitchFamily="2" charset="0"/>
                        <a:buNone/>
                      </a:pPr>
                      <a:endParaRPr lang="en-AU" sz="900" b="1">
                        <a:solidFill>
                          <a:schemeClr val="tx1"/>
                        </a:solidFill>
                      </a:endParaRPr>
                    </a:p>
                  </a:txBody>
                  <a:tcPr marT="36000" marB="0"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325466768"/>
                  </a:ext>
                </a:extLst>
              </a:tr>
              <a:tr h="1967809">
                <a:tc>
                  <a:txBody>
                    <a:bodyPr/>
                    <a:lstStyle/>
                    <a:p>
                      <a:pPr marL="171450" indent="-171450" algn="l" defTabSz="1266737" rtl="0" eaLnBrk="1" fontAlgn="base" latinLnBrk="0" hangingPunct="1">
                        <a:lnSpc>
                          <a:spcPct val="100000"/>
                        </a:lnSpc>
                        <a:spcBef>
                          <a:spcPts val="600"/>
                        </a:spcBef>
                        <a:spcAft>
                          <a:spcPts val="600"/>
                        </a:spcAft>
                        <a:buClr>
                          <a:schemeClr val="accent2"/>
                        </a:buClr>
                        <a:buSzPct val="80000"/>
                        <a:buFont typeface="Arial" panose="020B0604020202020204" pitchFamily="34" charset="0"/>
                        <a:buChar char="►"/>
                      </a:pPr>
                      <a:r>
                        <a:rPr lang="en-US" sz="900" kern="1200" dirty="0">
                          <a:solidFill>
                            <a:srgbClr val="333333"/>
                          </a:solidFill>
                          <a:latin typeface="EYInterstate Light" panose="02000506000000020004" pitchFamily="2" charset="0"/>
                          <a:ea typeface="+mn-ea"/>
                          <a:cs typeface="+mn-cs"/>
                        </a:rPr>
                        <a:t>Gold Application Development</a:t>
                      </a:r>
                    </a:p>
                    <a:p>
                      <a:pPr marL="171450" indent="-171450" algn="l" defTabSz="1266737" rtl="0" eaLnBrk="1" fontAlgn="base" latinLnBrk="0" hangingPunct="1">
                        <a:lnSpc>
                          <a:spcPct val="100000"/>
                        </a:lnSpc>
                        <a:spcBef>
                          <a:spcPts val="600"/>
                        </a:spcBef>
                        <a:spcAft>
                          <a:spcPts val="600"/>
                        </a:spcAft>
                        <a:buClr>
                          <a:schemeClr val="accent2"/>
                        </a:buClr>
                        <a:buSzPct val="80000"/>
                        <a:buFont typeface="Arial" panose="020B0604020202020204" pitchFamily="34" charset="0"/>
                        <a:buChar char="►"/>
                      </a:pPr>
                      <a:r>
                        <a:rPr lang="en-US" sz="900" kern="1200" dirty="0">
                          <a:solidFill>
                            <a:srgbClr val="333333"/>
                          </a:solidFill>
                          <a:latin typeface="EYInterstate Light" panose="02000506000000020004" pitchFamily="2" charset="0"/>
                          <a:ea typeface="+mn-ea"/>
                          <a:cs typeface="+mn-cs"/>
                        </a:rPr>
                        <a:t>Gold Cloud Business Applications</a:t>
                      </a:r>
                    </a:p>
                    <a:p>
                      <a:pPr marL="171450" indent="-171450" algn="l" defTabSz="1266737" rtl="0" eaLnBrk="1" fontAlgn="base" latinLnBrk="0" hangingPunct="1">
                        <a:lnSpc>
                          <a:spcPct val="100000"/>
                        </a:lnSpc>
                        <a:spcBef>
                          <a:spcPts val="600"/>
                        </a:spcBef>
                        <a:spcAft>
                          <a:spcPts val="600"/>
                        </a:spcAft>
                        <a:buClr>
                          <a:schemeClr val="accent2"/>
                        </a:buClr>
                        <a:buSzPct val="80000"/>
                        <a:buFont typeface="Arial" panose="020B0604020202020204" pitchFamily="34" charset="0"/>
                        <a:buChar char="►"/>
                      </a:pPr>
                      <a:r>
                        <a:rPr lang="en-US" sz="900" kern="1200" dirty="0">
                          <a:solidFill>
                            <a:srgbClr val="333333"/>
                          </a:solidFill>
                          <a:latin typeface="EYInterstate Light" panose="02000506000000020004" pitchFamily="2" charset="0"/>
                          <a:ea typeface="+mn-ea"/>
                          <a:cs typeface="+mn-cs"/>
                        </a:rPr>
                        <a:t>Gold Cloud Customer Relationship Management</a:t>
                      </a:r>
                    </a:p>
                    <a:p>
                      <a:pPr marL="171450" indent="-171450" algn="l" defTabSz="1266737" rtl="0" eaLnBrk="1" fontAlgn="base" latinLnBrk="0" hangingPunct="1">
                        <a:lnSpc>
                          <a:spcPct val="100000"/>
                        </a:lnSpc>
                        <a:spcBef>
                          <a:spcPts val="600"/>
                        </a:spcBef>
                        <a:spcAft>
                          <a:spcPts val="600"/>
                        </a:spcAft>
                        <a:buClr>
                          <a:schemeClr val="accent2"/>
                        </a:buClr>
                        <a:buSzPct val="80000"/>
                        <a:buFont typeface="Arial" panose="020B0604020202020204" pitchFamily="34" charset="0"/>
                        <a:buChar char="►"/>
                      </a:pPr>
                      <a:r>
                        <a:rPr lang="en-US" sz="900" kern="1200" dirty="0">
                          <a:solidFill>
                            <a:srgbClr val="333333"/>
                          </a:solidFill>
                          <a:latin typeface="EYInterstate Light" panose="02000506000000020004" pitchFamily="2" charset="0"/>
                          <a:ea typeface="+mn-ea"/>
                          <a:cs typeface="+mn-cs"/>
                        </a:rPr>
                        <a:t>Gold Cloud Platform</a:t>
                      </a:r>
                    </a:p>
                    <a:p>
                      <a:pPr marL="171450" indent="-171450" algn="l" defTabSz="1266737" rtl="0" eaLnBrk="1" fontAlgn="base" latinLnBrk="0" hangingPunct="1">
                        <a:lnSpc>
                          <a:spcPct val="100000"/>
                        </a:lnSpc>
                        <a:spcBef>
                          <a:spcPts val="600"/>
                        </a:spcBef>
                        <a:spcAft>
                          <a:spcPts val="600"/>
                        </a:spcAft>
                        <a:buClr>
                          <a:schemeClr val="accent2"/>
                        </a:buClr>
                        <a:buSzPct val="80000"/>
                        <a:buFont typeface="Arial" panose="020B0604020202020204" pitchFamily="34" charset="0"/>
                        <a:buChar char="►"/>
                      </a:pPr>
                      <a:r>
                        <a:rPr lang="en-US" sz="900" kern="1200" dirty="0">
                          <a:solidFill>
                            <a:srgbClr val="333333"/>
                          </a:solidFill>
                          <a:latin typeface="EYInterstate Light" panose="02000506000000020004" pitchFamily="2" charset="0"/>
                          <a:ea typeface="+mn-ea"/>
                          <a:cs typeface="+mn-cs"/>
                        </a:rPr>
                        <a:t>Gold Cloud Productivity</a:t>
                      </a:r>
                    </a:p>
                    <a:p>
                      <a:pPr marL="171450" indent="-171450" algn="l" defTabSz="1266737" rtl="0" eaLnBrk="1" fontAlgn="base" latinLnBrk="0" hangingPunct="1">
                        <a:lnSpc>
                          <a:spcPct val="100000"/>
                        </a:lnSpc>
                        <a:spcBef>
                          <a:spcPts val="600"/>
                        </a:spcBef>
                        <a:spcAft>
                          <a:spcPts val="600"/>
                        </a:spcAft>
                        <a:buClr>
                          <a:schemeClr val="accent2"/>
                        </a:buClr>
                        <a:buSzPct val="80000"/>
                        <a:buFont typeface="Arial" panose="020B0604020202020204" pitchFamily="34" charset="0"/>
                        <a:buChar char="►"/>
                      </a:pPr>
                      <a:r>
                        <a:rPr lang="en-US" sz="900" kern="1200" dirty="0">
                          <a:solidFill>
                            <a:srgbClr val="333333"/>
                          </a:solidFill>
                          <a:latin typeface="EYInterstate Light" panose="02000506000000020004" pitchFamily="2" charset="0"/>
                          <a:ea typeface="+mn-ea"/>
                          <a:cs typeface="+mn-cs"/>
                        </a:rPr>
                        <a:t>Gold Collaboration and Content</a:t>
                      </a:r>
                    </a:p>
                    <a:p>
                      <a:pPr marL="171450" indent="-171450" algn="l" defTabSz="1266737" rtl="0" eaLnBrk="1" fontAlgn="base" latinLnBrk="0" hangingPunct="1">
                        <a:lnSpc>
                          <a:spcPct val="100000"/>
                        </a:lnSpc>
                        <a:spcBef>
                          <a:spcPts val="600"/>
                        </a:spcBef>
                        <a:spcAft>
                          <a:spcPts val="600"/>
                        </a:spcAft>
                        <a:buClr>
                          <a:schemeClr val="accent2"/>
                        </a:buClr>
                        <a:buSzPct val="80000"/>
                        <a:buFont typeface="Arial" panose="020B0604020202020204" pitchFamily="34" charset="0"/>
                        <a:buChar char="►"/>
                      </a:pPr>
                      <a:r>
                        <a:rPr lang="en-US" sz="900" kern="1200" dirty="0">
                          <a:solidFill>
                            <a:srgbClr val="333333"/>
                          </a:solidFill>
                          <a:latin typeface="EYInterstate Light" panose="02000506000000020004" pitchFamily="2" charset="0"/>
                          <a:ea typeface="+mn-ea"/>
                          <a:cs typeface="+mn-cs"/>
                        </a:rPr>
                        <a:t>Gold Data Analytics</a:t>
                      </a:r>
                    </a:p>
                  </a:txBody>
                  <a:tcPr marL="82935" marR="82935" marT="326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91440" lvl="0" indent="-285750">
                        <a:spcBef>
                          <a:spcPts val="0"/>
                        </a:spcBef>
                        <a:spcAft>
                          <a:spcPts val="1200"/>
                        </a:spcAft>
                        <a:buClr>
                          <a:srgbClr val="FFE600"/>
                        </a:buClr>
                        <a:buSzPct val="70000"/>
                        <a:buFont typeface="Arial" panose="020B0604020202020204" pitchFamily="34" charset="0"/>
                        <a:buChar char="►"/>
                      </a:pPr>
                      <a:r>
                        <a:rPr lang="en-US" sz="900" b="0" kern="600" dirty="0">
                          <a:solidFill>
                            <a:schemeClr val="bg1"/>
                          </a:solidFill>
                          <a:effectLst/>
                          <a:latin typeface="+mn-lt"/>
                          <a:ea typeface="+mn-ea"/>
                          <a:cs typeface="+mn-cs"/>
                        </a:rPr>
                        <a:t>Gold Data Platform</a:t>
                      </a:r>
                    </a:p>
                    <a:p>
                      <a:pPr marL="285750" marR="91440" lvl="0" indent="-285750">
                        <a:spcBef>
                          <a:spcPts val="0"/>
                        </a:spcBef>
                        <a:spcAft>
                          <a:spcPts val="1200"/>
                        </a:spcAft>
                        <a:buClr>
                          <a:srgbClr val="FFE600"/>
                        </a:buClr>
                        <a:buSzPct val="70000"/>
                        <a:buFont typeface="Arial" panose="020B0604020202020204" pitchFamily="34" charset="0"/>
                        <a:buChar char="►"/>
                      </a:pPr>
                      <a:r>
                        <a:rPr lang="en-US" sz="900" b="0" kern="600" dirty="0">
                          <a:solidFill>
                            <a:schemeClr val="bg1"/>
                          </a:solidFill>
                          <a:effectLst/>
                          <a:latin typeface="+mn-lt"/>
                          <a:ea typeface="+mn-ea"/>
                          <a:cs typeface="+mn-cs"/>
                        </a:rPr>
                        <a:t>Gold Datacenter</a:t>
                      </a:r>
                    </a:p>
                    <a:p>
                      <a:pPr marL="285750" marR="91440" lvl="0" indent="-285750">
                        <a:spcBef>
                          <a:spcPts val="0"/>
                        </a:spcBef>
                        <a:spcAft>
                          <a:spcPts val="1200"/>
                        </a:spcAft>
                        <a:buClr>
                          <a:srgbClr val="FFE600"/>
                        </a:buClr>
                        <a:buSzPct val="70000"/>
                        <a:buFont typeface="Arial" panose="020B0604020202020204" pitchFamily="34" charset="0"/>
                        <a:buChar char="►"/>
                      </a:pPr>
                      <a:r>
                        <a:rPr lang="en-US" sz="900" b="0" kern="600" dirty="0">
                          <a:solidFill>
                            <a:schemeClr val="bg1"/>
                          </a:solidFill>
                          <a:effectLst/>
                          <a:latin typeface="+mn-lt"/>
                          <a:ea typeface="+mn-ea"/>
                          <a:cs typeface="+mn-cs"/>
                        </a:rPr>
                        <a:t>Gold Enterprise Resource Planning</a:t>
                      </a:r>
                    </a:p>
                    <a:p>
                      <a:pPr marL="285750" marR="91440" lvl="0" indent="-285750">
                        <a:spcBef>
                          <a:spcPts val="0"/>
                        </a:spcBef>
                        <a:spcAft>
                          <a:spcPts val="1200"/>
                        </a:spcAft>
                        <a:buClr>
                          <a:srgbClr val="FFE600"/>
                        </a:buClr>
                        <a:buSzPct val="70000"/>
                        <a:buFont typeface="Arial" panose="020B0604020202020204" pitchFamily="34" charset="0"/>
                        <a:buChar char="►"/>
                      </a:pPr>
                      <a:r>
                        <a:rPr lang="en-US" sz="900" b="0" kern="600" dirty="0">
                          <a:solidFill>
                            <a:schemeClr val="bg1"/>
                          </a:solidFill>
                          <a:effectLst/>
                          <a:latin typeface="+mn-lt"/>
                          <a:ea typeface="+mn-ea"/>
                          <a:cs typeface="+mn-cs"/>
                        </a:rPr>
                        <a:t>Gold Messaging</a:t>
                      </a:r>
                    </a:p>
                    <a:p>
                      <a:pPr marL="274320" marR="91440" lvl="0" indent="-274320">
                        <a:spcBef>
                          <a:spcPts val="0"/>
                        </a:spcBef>
                        <a:spcAft>
                          <a:spcPts val="1200"/>
                        </a:spcAft>
                        <a:buClr>
                          <a:srgbClr val="FFE600"/>
                        </a:buClr>
                        <a:buSzPct val="70000"/>
                        <a:buFont typeface="Arial" panose="020B0604020202020204" pitchFamily="34" charset="0"/>
                        <a:buChar char="►"/>
                      </a:pPr>
                      <a:r>
                        <a:rPr lang="en-US" sz="900" b="0" kern="600" dirty="0">
                          <a:solidFill>
                            <a:schemeClr val="bg1"/>
                          </a:solidFill>
                          <a:effectLst/>
                          <a:latin typeface="+mn-lt"/>
                          <a:ea typeface="+mn-ea"/>
                          <a:cs typeface="+mn-cs"/>
                        </a:rPr>
                        <a:t>Gold Project and Portfolio Management</a:t>
                      </a:r>
                    </a:p>
                    <a:p>
                      <a:pPr marL="274320" marR="91440" lvl="0" indent="-274320">
                        <a:spcBef>
                          <a:spcPts val="0"/>
                        </a:spcBef>
                        <a:spcAft>
                          <a:spcPts val="1200"/>
                        </a:spcAft>
                        <a:buClr>
                          <a:srgbClr val="FFE600"/>
                        </a:buClr>
                        <a:buSzPct val="70000"/>
                        <a:buFont typeface="Arial" panose="020B0604020202020204" pitchFamily="34" charset="0"/>
                        <a:buChar char="►"/>
                      </a:pPr>
                      <a:r>
                        <a:rPr lang="en-US" sz="900" b="0" kern="600" dirty="0">
                          <a:solidFill>
                            <a:schemeClr val="bg1"/>
                          </a:solidFill>
                          <a:effectLst/>
                          <a:latin typeface="+mn-lt"/>
                          <a:ea typeface="+mn-ea"/>
                          <a:cs typeface="+mn-cs"/>
                        </a:rPr>
                        <a:t>Gold Security</a:t>
                      </a:r>
                    </a:p>
                  </a:txBody>
                  <a:tcPr marL="82935" marR="82935" marT="326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5250889"/>
                  </a:ext>
                </a:extLst>
              </a:tr>
            </a:tbl>
          </a:graphicData>
        </a:graphic>
      </p:graphicFrame>
      <p:cxnSp>
        <p:nvCxnSpPr>
          <p:cNvPr id="84" name="Straight Connector 83">
            <a:extLst>
              <a:ext uri="{FF2B5EF4-FFF2-40B4-BE49-F238E27FC236}">
                <a16:creationId xmlns:a16="http://schemas.microsoft.com/office/drawing/2014/main" id="{75170D0C-18B0-4662-872A-56020EF555AB}"/>
              </a:ext>
            </a:extLst>
          </p:cNvPr>
          <p:cNvCxnSpPr/>
          <p:nvPr/>
        </p:nvCxnSpPr>
        <p:spPr>
          <a:xfrm>
            <a:off x="657067" y="6070774"/>
            <a:ext cx="11279200" cy="0"/>
          </a:xfrm>
          <a:prstGeom prst="line">
            <a:avLst/>
          </a:prstGeom>
          <a:ln w="28575">
            <a:tailEnd type="none"/>
          </a:ln>
        </p:spPr>
        <p:style>
          <a:lnRef idx="3">
            <a:schemeClr val="accent5"/>
          </a:lnRef>
          <a:fillRef idx="0">
            <a:schemeClr val="accent5"/>
          </a:fillRef>
          <a:effectRef idx="2">
            <a:schemeClr val="accent5"/>
          </a:effectRef>
          <a:fontRef idx="minor">
            <a:schemeClr val="tx1"/>
          </a:fontRef>
        </p:style>
      </p:cxnSp>
      <p:sp>
        <p:nvSpPr>
          <p:cNvPr id="88" name="Rectangle 87">
            <a:extLst>
              <a:ext uri="{FF2B5EF4-FFF2-40B4-BE49-F238E27FC236}">
                <a16:creationId xmlns:a16="http://schemas.microsoft.com/office/drawing/2014/main" id="{BA7F6583-36AC-4F4E-B06B-ABD00769C758}"/>
              </a:ext>
            </a:extLst>
          </p:cNvPr>
          <p:cNvSpPr/>
          <p:nvPr/>
        </p:nvSpPr>
        <p:spPr>
          <a:xfrm>
            <a:off x="820099" y="3781702"/>
            <a:ext cx="5505226" cy="1036822"/>
          </a:xfrm>
          <a:prstGeom prst="rect">
            <a:avLst/>
          </a:prstGeom>
          <a:solidFill>
            <a:schemeClr val="accent2">
              <a:lumMod val="20000"/>
              <a:lumOff val="80000"/>
            </a:schemeClr>
          </a:solidFill>
        </p:spPr>
        <p:txBody>
          <a:bodyPr wrap="square">
            <a:spAutoFit/>
          </a:bodyPr>
          <a:lstStyle/>
          <a:p>
            <a:pPr marL="0" marR="0" lvl="0" indent="0" algn="l" defTabSz="829361" rtl="0" eaLnBrk="1" fontAlgn="base" latinLnBrk="0" hangingPunct="1">
              <a:lnSpc>
                <a:spcPts val="1542"/>
              </a:lnSpc>
              <a:spcBef>
                <a:spcPts val="0"/>
              </a:spcBef>
              <a:spcAft>
                <a:spcPts val="0"/>
              </a:spcAft>
              <a:buClr>
                <a:srgbClr val="FFE600"/>
              </a:buClr>
              <a:buSzPct val="80000"/>
              <a:buFontTx/>
              <a:buNone/>
              <a:tabLst/>
              <a:defRPr/>
            </a:pPr>
            <a:r>
              <a:rPr kumimoji="0" lang="en-GB" sz="998" b="0" i="0" u="none" strike="noStrike" kern="1200" cap="none" spc="0" normalizeH="0" baseline="0" noProof="0" dirty="0">
                <a:ln>
                  <a:noFill/>
                </a:ln>
                <a:solidFill>
                  <a:srgbClr val="000000"/>
                </a:solidFill>
                <a:effectLst/>
                <a:uLnTx/>
                <a:uFillTx/>
                <a:latin typeface="EYInterstate Light" pitchFamily="2" charset="0"/>
                <a:ea typeface="+mn-ea"/>
                <a:cs typeface="Arial" charset="0"/>
              </a:rPr>
              <a:t>Our digital solutions, powered by Microsoft technologies, help clients unify data and workflows to boost innovation, empower their people, engage their customers and optimize their operations. These innovative solutions digitalize enterprise strategy, transform customer and workforce experiences, create data-driven business processes, build intelligent, automated operations and are secure, compliant and trusted.</a:t>
            </a:r>
            <a:endParaRPr kumimoji="0" lang="en-US" sz="998" b="0" i="0" u="none" strike="noStrike" kern="1200" cap="none" spc="0" normalizeH="0" baseline="0" noProof="0" dirty="0">
              <a:ln>
                <a:noFill/>
              </a:ln>
              <a:solidFill>
                <a:srgbClr val="000000"/>
              </a:solidFill>
              <a:effectLst/>
              <a:uLnTx/>
              <a:uFillTx/>
              <a:latin typeface="EYInterstate Light" pitchFamily="2" charset="0"/>
              <a:ea typeface="+mn-ea"/>
              <a:cs typeface="Arial" charset="0"/>
            </a:endParaRPr>
          </a:p>
        </p:txBody>
      </p:sp>
      <p:sp>
        <p:nvSpPr>
          <p:cNvPr id="92" name="Rectangle 91">
            <a:extLst>
              <a:ext uri="{FF2B5EF4-FFF2-40B4-BE49-F238E27FC236}">
                <a16:creationId xmlns:a16="http://schemas.microsoft.com/office/drawing/2014/main" id="{61B00445-41B1-442B-85D1-16B69BB31719}"/>
              </a:ext>
            </a:extLst>
          </p:cNvPr>
          <p:cNvSpPr/>
          <p:nvPr/>
        </p:nvSpPr>
        <p:spPr>
          <a:xfrm>
            <a:off x="2843680" y="3571291"/>
            <a:ext cx="1443024" cy="231923"/>
          </a:xfrm>
          <a:prstGeom prst="rect">
            <a:avLst/>
          </a:prstGeom>
        </p:spPr>
        <p:txBody>
          <a:bodyPr wrap="none">
            <a:spAutoFit/>
          </a:bodyPr>
          <a:lstStyle/>
          <a:p>
            <a:pPr marL="0" marR="0" lvl="0" indent="0" algn="ctr" defTabSz="945992" rtl="0" eaLnBrk="1" fontAlgn="base" latinLnBrk="0" hangingPunct="1">
              <a:lnSpc>
                <a:spcPct val="100000"/>
              </a:lnSpc>
              <a:spcBef>
                <a:spcPct val="0"/>
              </a:spcBef>
              <a:spcAft>
                <a:spcPct val="50000"/>
              </a:spcAft>
              <a:buClr>
                <a:srgbClr val="FFE600"/>
              </a:buClr>
              <a:buSzPct val="80000"/>
              <a:buFontTx/>
              <a:buNone/>
              <a:tabLst/>
              <a:defRPr/>
            </a:pPr>
            <a:r>
              <a:rPr kumimoji="0" lang="en-US" sz="907" b="1" i="0" u="none" strike="noStrike" kern="0" cap="none" spc="0" normalizeH="0" baseline="0" noProof="0" dirty="0">
                <a:ln>
                  <a:noFill/>
                </a:ln>
                <a:solidFill>
                  <a:srgbClr val="000000"/>
                </a:solidFill>
                <a:effectLst/>
                <a:uLnTx/>
                <a:uFillTx/>
                <a:latin typeface="EYInterstate" panose="02000503020000020004" pitchFamily="2" charset="0"/>
                <a:ea typeface="+mn-ea"/>
                <a:cs typeface="Arial" pitchFamily="34" charset="0"/>
              </a:rPr>
              <a:t>Our Microsoft Practice</a:t>
            </a:r>
            <a:endParaRPr kumimoji="0" lang="en-US" sz="907" b="0" i="0" u="none" strike="noStrike" kern="0" cap="none" spc="0" normalizeH="0" baseline="0" noProof="0" dirty="0">
              <a:ln>
                <a:noFill/>
              </a:ln>
              <a:solidFill>
                <a:srgbClr val="000000"/>
              </a:solidFill>
              <a:effectLst/>
              <a:uLnTx/>
              <a:uFillTx/>
              <a:latin typeface="EYInterstate" panose="02000503020000020004" pitchFamily="2" charset="0"/>
              <a:ea typeface="+mn-ea"/>
              <a:cs typeface="Arial" pitchFamily="34" charset="0"/>
            </a:endParaRPr>
          </a:p>
        </p:txBody>
      </p:sp>
      <p:sp>
        <p:nvSpPr>
          <p:cNvPr id="129025" name="Rectangle 129024">
            <a:extLst>
              <a:ext uri="{FF2B5EF4-FFF2-40B4-BE49-F238E27FC236}">
                <a16:creationId xmlns:a16="http://schemas.microsoft.com/office/drawing/2014/main" id="{121F6C73-1828-4890-A167-F95F57B03041}"/>
              </a:ext>
            </a:extLst>
          </p:cNvPr>
          <p:cNvSpPr/>
          <p:nvPr/>
        </p:nvSpPr>
        <p:spPr>
          <a:xfrm>
            <a:off x="755845" y="4885354"/>
            <a:ext cx="5641630" cy="1605119"/>
          </a:xfrm>
          <a:prstGeom prst="rect">
            <a:avLst/>
          </a:prstGeom>
        </p:spPr>
        <p:txBody>
          <a:bodyPr wrap="square">
            <a:spAutoFit/>
          </a:bodyPr>
          <a:lstStyle/>
          <a:p>
            <a:pPr marL="171367" marR="0" lvl="0" indent="-171367" algn="l" defTabSz="913956" rtl="0" eaLnBrk="1" fontAlgn="auto" latinLnBrk="0" hangingPunct="1">
              <a:lnSpc>
                <a:spcPct val="100000"/>
              </a:lnSpc>
              <a:spcBef>
                <a:spcPts val="0"/>
              </a:spcBef>
              <a:spcAft>
                <a:spcPts val="544"/>
              </a:spcAft>
              <a:buClr>
                <a:srgbClr val="FFE600"/>
              </a:buClr>
              <a:buSzTx/>
              <a:buFont typeface="Wingdings" panose="05000000000000000000" pitchFamily="2" charset="2"/>
              <a:buChar char="Ø"/>
              <a:tabLst/>
              <a:defRPr/>
            </a:pPr>
            <a:r>
              <a:rPr kumimoji="0" lang="en-US" sz="907" b="0"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rPr>
              <a:t>Built the Cloud Strategy &amp; Cloud Centre of Excellence for AIA Group</a:t>
            </a:r>
          </a:p>
          <a:p>
            <a:pPr marL="171367" marR="0" lvl="0" indent="-171367" algn="l" defTabSz="913956" rtl="0" eaLnBrk="1" fontAlgn="auto" latinLnBrk="0" hangingPunct="1">
              <a:lnSpc>
                <a:spcPct val="100000"/>
              </a:lnSpc>
              <a:spcBef>
                <a:spcPts val="0"/>
              </a:spcBef>
              <a:spcAft>
                <a:spcPts val="544"/>
              </a:spcAft>
              <a:buClr>
                <a:srgbClr val="FFE600"/>
              </a:buClr>
              <a:buSzTx/>
              <a:buFont typeface="Wingdings" panose="05000000000000000000" pitchFamily="2" charset="2"/>
              <a:buChar char="Ø"/>
              <a:tabLst/>
              <a:defRPr/>
            </a:pPr>
            <a:r>
              <a:rPr kumimoji="0" lang="en-US" sz="907" b="0"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rPr>
              <a:t>Performed the end to end Enterprise Data Warehouse Migration for AIA HK</a:t>
            </a:r>
          </a:p>
          <a:p>
            <a:pPr marL="171367" marR="0" lvl="0" indent="-171367" algn="l" defTabSz="913956" rtl="0" eaLnBrk="1" fontAlgn="auto" latinLnBrk="0" hangingPunct="1">
              <a:lnSpc>
                <a:spcPct val="100000"/>
              </a:lnSpc>
              <a:spcBef>
                <a:spcPts val="0"/>
              </a:spcBef>
              <a:spcAft>
                <a:spcPts val="544"/>
              </a:spcAft>
              <a:buClr>
                <a:srgbClr val="FFE600"/>
              </a:buClr>
              <a:buSzTx/>
              <a:buFont typeface="Wingdings" panose="05000000000000000000" pitchFamily="2" charset="2"/>
              <a:buChar char="Ø"/>
              <a:tabLst/>
              <a:defRPr/>
            </a:pPr>
            <a:r>
              <a:rPr kumimoji="0" lang="en-US" sz="907" b="0"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rPr>
              <a:t>Assisted a leading Australian bank to help cut infrastructure provisioning time from 20 days to hours and managed services costs by millions of dollars</a:t>
            </a:r>
          </a:p>
          <a:p>
            <a:pPr marL="171367" marR="0" lvl="0" indent="-171367" algn="l" defTabSz="913956" rtl="0" eaLnBrk="1" fontAlgn="auto" latinLnBrk="0" hangingPunct="1">
              <a:lnSpc>
                <a:spcPct val="100000"/>
              </a:lnSpc>
              <a:spcBef>
                <a:spcPts val="0"/>
              </a:spcBef>
              <a:spcAft>
                <a:spcPts val="544"/>
              </a:spcAft>
              <a:buClr>
                <a:srgbClr val="FFE600"/>
              </a:buClr>
              <a:buSzTx/>
              <a:buFont typeface="Wingdings" panose="05000000000000000000" pitchFamily="2" charset="2"/>
              <a:buChar char="Ø"/>
              <a:tabLst/>
              <a:defRPr/>
            </a:pPr>
            <a:r>
              <a:rPr kumimoji="0" lang="en-US" sz="907" b="0"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rPr>
              <a:t>Built and Azure based innovation platform to host an end-to-end AI/ML capability; processing real-time and batch data to generate personalized actions and content</a:t>
            </a:r>
          </a:p>
          <a:p>
            <a:pPr marL="171367" marR="0" lvl="0" indent="-171367" algn="l" defTabSz="913956"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endParaRPr kumimoji="0" lang="en-US" sz="907" b="0"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endParaRPr>
          </a:p>
          <a:p>
            <a:pPr marL="171367" marR="0" lvl="0" indent="-171367" algn="l" defTabSz="913956"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endParaRPr kumimoji="0" lang="en-HK" sz="907" b="0"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endParaRPr>
          </a:p>
          <a:p>
            <a:pPr marL="171367" marR="0" lvl="0" indent="-171367" algn="l" defTabSz="913956"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endParaRPr kumimoji="0" lang="en-HK" sz="907" b="0"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endParaRPr>
          </a:p>
        </p:txBody>
      </p:sp>
      <p:pic>
        <p:nvPicPr>
          <p:cNvPr id="129024" name="Picture 129023">
            <a:extLst>
              <a:ext uri="{FF2B5EF4-FFF2-40B4-BE49-F238E27FC236}">
                <a16:creationId xmlns:a16="http://schemas.microsoft.com/office/drawing/2014/main" id="{E3A0D1BC-38E4-4274-A35B-2B8C73DCACF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6020170" y="6146118"/>
            <a:ext cx="600499" cy="600499"/>
          </a:xfrm>
          <a:prstGeom prst="rect">
            <a:avLst/>
          </a:prstGeom>
        </p:spPr>
      </p:pic>
      <p:pic>
        <p:nvPicPr>
          <p:cNvPr id="129026" name="Picture 129025">
            <a:extLst>
              <a:ext uri="{FF2B5EF4-FFF2-40B4-BE49-F238E27FC236}">
                <a16:creationId xmlns:a16="http://schemas.microsoft.com/office/drawing/2014/main" id="{3C19CE70-CB5A-4D85-BEF2-BEC9D2D3CE98}"/>
              </a:ext>
            </a:extLst>
          </p:cNvPr>
          <p:cNvPicPr>
            <a:picLocks noChangeAspect="1"/>
          </p:cNvPicPr>
          <p:nvPr/>
        </p:nvPicPr>
        <p:blipFill>
          <a:blip r:embed="rId12"/>
          <a:stretch>
            <a:fillRect/>
          </a:stretch>
        </p:blipFill>
        <p:spPr>
          <a:xfrm>
            <a:off x="9392813" y="1850739"/>
            <a:ext cx="1004337" cy="248198"/>
          </a:xfrm>
          <a:prstGeom prst="rect">
            <a:avLst/>
          </a:prstGeom>
        </p:spPr>
      </p:pic>
      <p:sp>
        <p:nvSpPr>
          <p:cNvPr id="129027" name="TextBox 129026">
            <a:extLst>
              <a:ext uri="{FF2B5EF4-FFF2-40B4-BE49-F238E27FC236}">
                <a16:creationId xmlns:a16="http://schemas.microsoft.com/office/drawing/2014/main" id="{65CA9E6A-DDC6-428C-A130-65EB8B6BF6A8}"/>
              </a:ext>
            </a:extLst>
          </p:cNvPr>
          <p:cNvSpPr txBox="1"/>
          <p:nvPr/>
        </p:nvSpPr>
        <p:spPr>
          <a:xfrm>
            <a:off x="9293607" y="2202010"/>
            <a:ext cx="2127524" cy="1370531"/>
          </a:xfrm>
          <a:prstGeom prst="rect">
            <a:avLst/>
          </a:prstGeom>
          <a:noFill/>
        </p:spPr>
        <p:txBody>
          <a:bodyPr wrap="square" lIns="0" tIns="33174" rIns="0" bIns="0" rtlCol="0">
            <a:spAutoFit/>
          </a:bodyPr>
          <a:lstStyle/>
          <a:p>
            <a:pPr marL="0" marR="0" lvl="0" indent="0" algn="l" defTabSz="829361" rtl="0" eaLnBrk="1" fontAlgn="base" latinLnBrk="0" hangingPunct="1">
              <a:lnSpc>
                <a:spcPct val="85000"/>
              </a:lnSpc>
              <a:spcBef>
                <a:spcPct val="0"/>
              </a:spcBef>
              <a:spcAft>
                <a:spcPts val="1088"/>
              </a:spcAft>
              <a:buClr>
                <a:srgbClr val="FFE600"/>
              </a:buClr>
              <a:buSzPct val="70000"/>
              <a:buFontTx/>
              <a:buNone/>
              <a:tabLst/>
              <a:defRPr/>
            </a:pPr>
            <a:r>
              <a:rPr kumimoji="0" lang="en-US" sz="998" b="1" i="0" u="none" strike="noStrike" kern="1200" cap="none" spc="0" normalizeH="0" baseline="0" noProof="0" dirty="0">
                <a:ln>
                  <a:noFill/>
                </a:ln>
                <a:solidFill>
                  <a:srgbClr val="646464"/>
                </a:solidFill>
                <a:effectLst/>
                <a:uLnTx/>
                <a:uFillTx/>
                <a:latin typeface="EYInterstate" panose="02000503020000020004" pitchFamily="2" charset="0"/>
                <a:ea typeface="+mn-ea"/>
                <a:cs typeface="Arial" charset="0"/>
              </a:rPr>
              <a:t>Global Advisory Services Partner of the year, 2020</a:t>
            </a:r>
          </a:p>
          <a:p>
            <a:pPr marL="0" marR="0" lvl="0" indent="0" algn="l" defTabSz="829361" rtl="0" eaLnBrk="1" fontAlgn="base" latinLnBrk="0" hangingPunct="1">
              <a:lnSpc>
                <a:spcPct val="85000"/>
              </a:lnSpc>
              <a:spcBef>
                <a:spcPct val="0"/>
              </a:spcBef>
              <a:spcAft>
                <a:spcPts val="1088"/>
              </a:spcAft>
              <a:buClr>
                <a:srgbClr val="FFE600"/>
              </a:buClr>
              <a:buSzPct val="70000"/>
              <a:buFontTx/>
              <a:buNone/>
              <a:tabLst/>
              <a:defRPr/>
            </a:pPr>
            <a:r>
              <a:rPr kumimoji="0" lang="en-US" sz="998" b="1" i="0" u="none" strike="noStrike" kern="1200" cap="none" spc="0" normalizeH="0" baseline="0" noProof="0" dirty="0">
                <a:ln>
                  <a:noFill/>
                </a:ln>
                <a:solidFill>
                  <a:srgbClr val="646464"/>
                </a:solidFill>
                <a:effectLst/>
                <a:uLnTx/>
                <a:uFillTx/>
                <a:latin typeface="EYInterstate" panose="02000503020000020004" pitchFamily="2" charset="0"/>
                <a:ea typeface="+mn-ea"/>
                <a:cs typeface="Arial" charset="0"/>
              </a:rPr>
              <a:t>Global Financial Services Partner of the year, 2020</a:t>
            </a:r>
          </a:p>
          <a:p>
            <a:pPr marL="0" marR="0" lvl="0" indent="0" algn="l" defTabSz="829361" rtl="0" eaLnBrk="1" fontAlgn="base" latinLnBrk="0" hangingPunct="1">
              <a:lnSpc>
                <a:spcPct val="85000"/>
              </a:lnSpc>
              <a:spcBef>
                <a:spcPct val="0"/>
              </a:spcBef>
              <a:spcAft>
                <a:spcPts val="1088"/>
              </a:spcAft>
              <a:buClr>
                <a:srgbClr val="FFE600"/>
              </a:buClr>
              <a:buSzPct val="70000"/>
              <a:buFontTx/>
              <a:buNone/>
              <a:tabLst/>
              <a:defRPr/>
            </a:pPr>
            <a:r>
              <a:rPr kumimoji="0" lang="en-US" sz="998" b="1" i="0" u="none" strike="noStrike" kern="1200" cap="none" spc="0" normalizeH="0" baseline="0" noProof="0" dirty="0">
                <a:ln>
                  <a:noFill/>
                </a:ln>
                <a:solidFill>
                  <a:srgbClr val="646464"/>
                </a:solidFill>
                <a:effectLst/>
                <a:uLnTx/>
                <a:uFillTx/>
                <a:latin typeface="EYInterstate" panose="02000503020000020004" pitchFamily="2" charset="0"/>
                <a:ea typeface="+mn-ea"/>
                <a:cs typeface="Arial" charset="0"/>
              </a:rPr>
              <a:t>Global Energy Partner of the year, 2020</a:t>
            </a:r>
          </a:p>
          <a:p>
            <a:pPr marL="0" marR="0" lvl="0" indent="0" algn="l" defTabSz="829361" rtl="0" eaLnBrk="1" fontAlgn="base" latinLnBrk="0" hangingPunct="1">
              <a:lnSpc>
                <a:spcPct val="85000"/>
              </a:lnSpc>
              <a:spcBef>
                <a:spcPct val="0"/>
              </a:spcBef>
              <a:spcAft>
                <a:spcPts val="544"/>
              </a:spcAft>
              <a:buClr>
                <a:srgbClr val="FFE600"/>
              </a:buClr>
              <a:buSzPct val="70000"/>
              <a:buFontTx/>
              <a:buNone/>
              <a:tabLst/>
              <a:defRPr/>
            </a:pPr>
            <a:endParaRPr kumimoji="0" lang="en-US" sz="998" b="1" i="0" u="none" strike="noStrike" kern="1200" cap="none" spc="0" normalizeH="0" baseline="0" noProof="0" dirty="0">
              <a:ln>
                <a:noFill/>
              </a:ln>
              <a:solidFill>
                <a:srgbClr val="646464"/>
              </a:solidFill>
              <a:effectLst/>
              <a:uLnTx/>
              <a:uFillTx/>
              <a:latin typeface="EYInterstate" panose="02000503020000020004" pitchFamily="2" charset="0"/>
              <a:ea typeface="+mn-ea"/>
              <a:cs typeface="Arial" charset="0"/>
            </a:endParaRPr>
          </a:p>
        </p:txBody>
      </p:sp>
      <p:pic>
        <p:nvPicPr>
          <p:cNvPr id="6" name="Picture 5">
            <a:extLst>
              <a:ext uri="{FF2B5EF4-FFF2-40B4-BE49-F238E27FC236}">
                <a16:creationId xmlns:a16="http://schemas.microsoft.com/office/drawing/2014/main" id="{71D48CCE-87B5-477F-AEE0-E0C0D447EA1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913582" y="2228029"/>
            <a:ext cx="317156" cy="317156"/>
          </a:xfrm>
          <a:prstGeom prst="rect">
            <a:avLst/>
          </a:prstGeom>
        </p:spPr>
      </p:pic>
      <p:pic>
        <p:nvPicPr>
          <p:cNvPr id="64" name="Picture 63">
            <a:extLst>
              <a:ext uri="{FF2B5EF4-FFF2-40B4-BE49-F238E27FC236}">
                <a16:creationId xmlns:a16="http://schemas.microsoft.com/office/drawing/2014/main" id="{11B1A1C4-0F19-40A0-A0B9-057B4583E4D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919559" y="2633136"/>
            <a:ext cx="317156" cy="317156"/>
          </a:xfrm>
          <a:prstGeom prst="rect">
            <a:avLst/>
          </a:prstGeom>
        </p:spPr>
      </p:pic>
      <p:pic>
        <p:nvPicPr>
          <p:cNvPr id="65" name="Picture 64">
            <a:extLst>
              <a:ext uri="{FF2B5EF4-FFF2-40B4-BE49-F238E27FC236}">
                <a16:creationId xmlns:a16="http://schemas.microsoft.com/office/drawing/2014/main" id="{E9FB36EE-44BA-4064-887D-0F793A99E4C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920620" y="3006531"/>
            <a:ext cx="317156" cy="317156"/>
          </a:xfrm>
          <a:prstGeom prst="rect">
            <a:avLst/>
          </a:prstGeom>
        </p:spPr>
      </p:pic>
      <p:sp>
        <p:nvSpPr>
          <p:cNvPr id="36" name="Text Box 26">
            <a:extLst>
              <a:ext uri="{FF2B5EF4-FFF2-40B4-BE49-F238E27FC236}">
                <a16:creationId xmlns:a16="http://schemas.microsoft.com/office/drawing/2014/main" id="{2F121E96-E732-4104-95F9-CADDB8DB814A}"/>
              </a:ext>
            </a:extLst>
          </p:cNvPr>
          <p:cNvSpPr txBox="1">
            <a:spLocks noChangeArrowheads="1"/>
          </p:cNvSpPr>
          <p:nvPr/>
        </p:nvSpPr>
        <p:spPr bwMode="gray">
          <a:xfrm>
            <a:off x="4392934" y="1867550"/>
            <a:ext cx="2110552" cy="390876"/>
          </a:xfrm>
          <a:prstGeom prst="rect">
            <a:avLst/>
          </a:prstGeom>
          <a:noFill/>
          <a:ln w="9525" algn="ctr">
            <a:noFill/>
            <a:miter lim="800000"/>
            <a:headEnd/>
            <a:tailEnd/>
          </a:ln>
        </p:spPr>
        <p:txBody>
          <a:bodyPr wrap="square" lIns="0" tIns="0" rIns="0" bIns="0" anchor="ctr">
            <a:spAutoFit/>
          </a:bodyPr>
          <a:lstStyle/>
          <a:p>
            <a:pPr marL="0" marR="0" lvl="0" indent="0" algn="ctr" defTabSz="708908" rtl="0" eaLnBrk="1" fontAlgn="auto" latinLnBrk="0" hangingPunct="1">
              <a:lnSpc>
                <a:spcPct val="100000"/>
              </a:lnSpc>
              <a:spcBef>
                <a:spcPts val="0"/>
              </a:spcBef>
              <a:spcAft>
                <a:spcPts val="0"/>
              </a:spcAft>
              <a:buClrTx/>
              <a:buSzTx/>
              <a:buFontTx/>
              <a:buNone/>
              <a:tabLst/>
              <a:defRPr/>
            </a:pPr>
            <a:r>
              <a:rPr kumimoji="0" lang="en-GB" sz="1270" b="1" i="0" u="none" strike="noStrike" kern="0" cap="none" spc="0" normalizeH="0" baseline="0" noProof="0" dirty="0">
                <a:ln>
                  <a:noFill/>
                </a:ln>
                <a:solidFill>
                  <a:srgbClr val="000000"/>
                </a:solidFill>
                <a:effectLst/>
                <a:uLnTx/>
                <a:uFillTx/>
                <a:latin typeface="EYInterstate Light"/>
                <a:ea typeface="+mn-ea"/>
                <a:cs typeface="Arial" pitchFamily="34" charset="0"/>
              </a:rPr>
              <a:t>25 offices present across Asia Pacific</a:t>
            </a:r>
          </a:p>
        </p:txBody>
      </p:sp>
      <p:sp>
        <p:nvSpPr>
          <p:cNvPr id="5" name="Plus Sign 4">
            <a:extLst>
              <a:ext uri="{FF2B5EF4-FFF2-40B4-BE49-F238E27FC236}">
                <a16:creationId xmlns:a16="http://schemas.microsoft.com/office/drawing/2014/main" id="{38D96B20-289F-449D-B41C-890FABA8760B}"/>
              </a:ext>
            </a:extLst>
          </p:cNvPr>
          <p:cNvSpPr/>
          <p:nvPr/>
        </p:nvSpPr>
        <p:spPr>
          <a:xfrm>
            <a:off x="3187822" y="2435211"/>
            <a:ext cx="829353" cy="829353"/>
          </a:xfrm>
          <a:prstGeom prst="mathPlus">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1088" b="0" i="0" u="none" strike="noStrike" kern="1200" cap="none" spc="0" normalizeH="0" baseline="0" noProof="0" dirty="0">
              <a:ln>
                <a:noFill/>
              </a:ln>
              <a:solidFill>
                <a:srgbClr val="000000"/>
              </a:solidFill>
              <a:effectLst/>
              <a:uLnTx/>
              <a:uFillTx/>
              <a:latin typeface="EYInterstate"/>
              <a:ea typeface="+mn-ea"/>
              <a:cs typeface="+mn-cs"/>
            </a:endParaRPr>
          </a:p>
        </p:txBody>
      </p:sp>
    </p:spTree>
    <p:extLst>
      <p:ext uri="{BB962C8B-B14F-4D97-AF65-F5344CB8AC3E}">
        <p14:creationId xmlns:p14="http://schemas.microsoft.com/office/powerpoint/2010/main" val="2356272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63F6EF-0928-4894-8468-DEECB1E494B5}"/>
              </a:ext>
            </a:extLst>
          </p:cNvPr>
          <p:cNvPicPr>
            <a:picLocks noChangeAspect="1"/>
          </p:cNvPicPr>
          <p:nvPr/>
        </p:nvPicPr>
        <p:blipFill>
          <a:blip r:embed="rId6"/>
          <a:stretch>
            <a:fillRect/>
          </a:stretch>
        </p:blipFill>
        <p:spPr>
          <a:xfrm>
            <a:off x="0" y="1844"/>
            <a:ext cx="12198350" cy="6854311"/>
          </a:xfrm>
          <a:prstGeom prst="rect">
            <a:avLst/>
          </a:prstGeom>
        </p:spPr>
      </p:pic>
      <p:graphicFrame>
        <p:nvGraphicFramePr>
          <p:cNvPr id="2" name="Object 1" hidden="1"/>
          <p:cNvGraphicFramePr>
            <a:graphicFrameLocks/>
          </p:cNvGraphicFramePr>
          <p:nvPr>
            <p:custDataLst>
              <p:tags r:id="rId3"/>
            </p:custDataLst>
          </p:nvPr>
        </p:nvGraphicFramePr>
        <p:xfrm>
          <a:off x="2463223" y="702378"/>
          <a:ext cx="1079" cy="1145"/>
        </p:xfrm>
        <a:graphic>
          <a:graphicData uri="http://schemas.openxmlformats.org/presentationml/2006/ole">
            <mc:AlternateContent xmlns:mc="http://schemas.openxmlformats.org/markup-compatibility/2006">
              <mc:Choice xmlns:v="urn:schemas-microsoft-com:vml" Requires="v">
                <p:oleObj spid="_x0000_s216073"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2463223" y="702378"/>
                        <a:ext cx="1079" cy="1145"/>
                      </a:xfrm>
                      <a:prstGeom prst="rect">
                        <a:avLst/>
                      </a:prstGeom>
                    </p:spPr>
                  </p:pic>
                </p:oleObj>
              </mc:Fallback>
            </mc:AlternateContent>
          </a:graphicData>
        </a:graphic>
      </p:graphicFrame>
      <p:sp>
        <p:nvSpPr>
          <p:cNvPr id="6" name="Freeform 12"/>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algn="ctr" defTabSz="634556" eaLnBrk="1" hangingPunct="1">
              <a:spcAft>
                <a:spcPct val="50000"/>
              </a:spcAft>
              <a:buClr>
                <a:srgbClr val="FFE600"/>
              </a:buClr>
              <a:buSzPct val="80000"/>
            </a:pPr>
            <a:endParaRPr lang="en-US" sz="637" dirty="0">
              <a:solidFill>
                <a:srgbClr val="FFFFFF"/>
              </a:solidFill>
              <a:latin typeface="EYInterstate Light" panose="02000506000000020004" pitchFamily="2" charset="0"/>
            </a:endParaRPr>
          </a:p>
        </p:txBody>
      </p:sp>
      <p:sp>
        <p:nvSpPr>
          <p:cNvPr id="7" name="Text Placeholder 9"/>
          <p:cNvSpPr txBox="1">
            <a:spLocks/>
          </p:cNvSpPr>
          <p:nvPr/>
        </p:nvSpPr>
        <p:spPr bwMode="gray">
          <a:xfrm>
            <a:off x="2856" y="1865549"/>
            <a:ext cx="5147864"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defTabSz="634779" eaLnBrk="1" hangingPunct="1">
              <a:buClr>
                <a:srgbClr val="FFE600"/>
              </a:buClr>
              <a:buSzPct val="80000"/>
            </a:pPr>
            <a:r>
              <a:rPr lang="en-US" sz="2177" dirty="0">
                <a:solidFill>
                  <a:srgbClr val="000000"/>
                </a:solidFill>
                <a:latin typeface="EYInterstate" panose="02000503020000020004" pitchFamily="2" charset="0"/>
              </a:rPr>
              <a:t> 3 | </a:t>
            </a:r>
            <a:r>
              <a:rPr lang="en-US" sz="2177" dirty="0">
                <a:solidFill>
                  <a:srgbClr val="000000"/>
                </a:solidFill>
                <a:latin typeface="EYInterstate" panose="02000503020000020004" pitchFamily="2" charset="0"/>
                <a:cs typeface="Calibri" panose="020F0502020204030204" pitchFamily="34" charset="0"/>
              </a:rPr>
              <a:t>Our Point of View &amp; Approach</a:t>
            </a:r>
            <a:endParaRPr lang="en-US" sz="1633" dirty="0">
              <a:solidFill>
                <a:srgbClr val="000000"/>
              </a:solidFill>
              <a:latin typeface="EYInterstate" panose="02000503020000020004" pitchFamily="2" charset="0"/>
              <a:cs typeface="Calibri" panose="020F0502020204030204" pitchFamily="34" charset="0"/>
            </a:endParaRPr>
          </a:p>
        </p:txBody>
      </p:sp>
      <p:sp>
        <p:nvSpPr>
          <p:cNvPr id="11" name="Rectangle 10">
            <a:extLst>
              <a:ext uri="{FF2B5EF4-FFF2-40B4-BE49-F238E27FC236}">
                <a16:creationId xmlns:a16="http://schemas.microsoft.com/office/drawing/2014/main" id="{627C101E-12A4-40D6-B470-7487B836B68D}"/>
              </a:ext>
            </a:extLst>
          </p:cNvPr>
          <p:cNvSpPr/>
          <p:nvPr/>
        </p:nvSpPr>
        <p:spPr>
          <a:xfrm>
            <a:off x="8583616" y="-213122"/>
            <a:ext cx="3312045" cy="7359419"/>
          </a:xfrm>
          <a:prstGeom prst="rect">
            <a:avLst/>
          </a:prstGeom>
          <a:noFill/>
        </p:spPr>
        <p:txBody>
          <a:bodyPr wrap="square" lIns="72742" tIns="36370" rIns="72742" bIns="36370">
            <a:spAutoFit/>
          </a:bodyPr>
          <a:lstStyle/>
          <a:p>
            <a:pPr algn="ctr" defTabSz="945990" eaLnBrk="1" fontAlgn="auto" hangingPunct="1">
              <a:spcBef>
                <a:spcPts val="0"/>
              </a:spcBef>
              <a:spcAft>
                <a:spcPts val="0"/>
              </a:spcAft>
            </a:pPr>
            <a:r>
              <a:rPr lang="en-US" sz="47346" b="1" dirty="0">
                <a:ln w="22225">
                  <a:solidFill>
                    <a:srgbClr val="FFE600"/>
                  </a:solidFill>
                  <a:prstDash val="solid"/>
                </a:ln>
                <a:solidFill>
                  <a:srgbClr val="FFE600"/>
                </a:solidFill>
                <a:latin typeface="EYInterstate" panose="02000503020000020004" pitchFamily="2" charset="0"/>
                <a:ea typeface="+mn-ea"/>
                <a:cs typeface="Calibri" panose="020F0502020204030204" pitchFamily="34" charset="0"/>
              </a:rPr>
              <a:t>3</a:t>
            </a:r>
          </a:p>
        </p:txBody>
      </p:sp>
      <p:graphicFrame>
        <p:nvGraphicFramePr>
          <p:cNvPr id="14" name="Diagram 13">
            <a:extLst>
              <a:ext uri="{FF2B5EF4-FFF2-40B4-BE49-F238E27FC236}">
                <a16:creationId xmlns:a16="http://schemas.microsoft.com/office/drawing/2014/main" id="{D3CD186B-D70D-480D-A46D-11A2FD3322CE}"/>
              </a:ext>
            </a:extLst>
          </p:cNvPr>
          <p:cNvGraphicFramePr/>
          <p:nvPr>
            <p:extLst>
              <p:ext uri="{D42A27DB-BD31-4B8C-83A1-F6EECF244321}">
                <p14:modId xmlns:p14="http://schemas.microsoft.com/office/powerpoint/2010/main" val="3658875104"/>
              </p:ext>
            </p:extLst>
          </p:nvPr>
        </p:nvGraphicFramePr>
        <p:xfrm>
          <a:off x="-37787" y="5273384"/>
          <a:ext cx="8119987" cy="100235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2"/>
    </p:custDataLst>
    <p:extLst>
      <p:ext uri="{BB962C8B-B14F-4D97-AF65-F5344CB8AC3E}">
        <p14:creationId xmlns:p14="http://schemas.microsoft.com/office/powerpoint/2010/main" val="4103117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7E52AA-C23E-4ECC-B609-4D7C8A572265}"/>
              </a:ext>
            </a:extLst>
          </p:cNvPr>
          <p:cNvPicPr>
            <a:picLocks noChangeAspect="1"/>
          </p:cNvPicPr>
          <p:nvPr/>
        </p:nvPicPr>
        <p:blipFill>
          <a:blip r:embed="rId6"/>
          <a:stretch>
            <a:fillRect/>
          </a:stretch>
        </p:blipFill>
        <p:spPr>
          <a:xfrm>
            <a:off x="0" y="1844"/>
            <a:ext cx="12198350" cy="6854311"/>
          </a:xfrm>
          <a:prstGeom prst="rect">
            <a:avLst/>
          </a:prstGeom>
        </p:spPr>
      </p:pic>
      <p:graphicFrame>
        <p:nvGraphicFramePr>
          <p:cNvPr id="2" name="Object 1" hidden="1"/>
          <p:cNvGraphicFramePr>
            <a:graphicFrameLocks/>
          </p:cNvGraphicFramePr>
          <p:nvPr>
            <p:custDataLst>
              <p:tags r:id="rId3"/>
            </p:custDataLst>
          </p:nvPr>
        </p:nvGraphicFramePr>
        <p:xfrm>
          <a:off x="2463223" y="702378"/>
          <a:ext cx="1079" cy="1145"/>
        </p:xfrm>
        <a:graphic>
          <a:graphicData uri="http://schemas.openxmlformats.org/presentationml/2006/ole">
            <mc:AlternateContent xmlns:mc="http://schemas.openxmlformats.org/markup-compatibility/2006">
              <mc:Choice xmlns:v="urn:schemas-microsoft-com:vml" Requires="v">
                <p:oleObj spid="_x0000_s218121"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2463223" y="702378"/>
                        <a:ext cx="1079" cy="1145"/>
                      </a:xfrm>
                      <a:prstGeom prst="rect">
                        <a:avLst/>
                      </a:prstGeom>
                    </p:spPr>
                  </p:pic>
                </p:oleObj>
              </mc:Fallback>
            </mc:AlternateContent>
          </a:graphicData>
        </a:graphic>
      </p:graphicFrame>
      <p:sp>
        <p:nvSpPr>
          <p:cNvPr id="6" name="Freeform 12"/>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marL="0" marR="0" lvl="0" indent="0" algn="ctr" defTabSz="634556" rtl="0" eaLnBrk="1" fontAlgn="base" latinLnBrk="0" hangingPunct="1">
              <a:lnSpc>
                <a:spcPct val="100000"/>
              </a:lnSpc>
              <a:spcBef>
                <a:spcPct val="0"/>
              </a:spcBef>
              <a:spcAft>
                <a:spcPct val="50000"/>
              </a:spcAft>
              <a:buClr>
                <a:srgbClr val="FFE600"/>
              </a:buClr>
              <a:buSzPct val="80000"/>
              <a:buFontTx/>
              <a:buNone/>
              <a:tabLst/>
              <a:defRPr/>
            </a:pPr>
            <a:endParaRPr kumimoji="0" lang="en-US" sz="637"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endParaRPr>
          </a:p>
        </p:txBody>
      </p:sp>
      <p:sp>
        <p:nvSpPr>
          <p:cNvPr id="7" name="Text Placeholder 9"/>
          <p:cNvSpPr txBox="1">
            <a:spLocks/>
          </p:cNvSpPr>
          <p:nvPr/>
        </p:nvSpPr>
        <p:spPr bwMode="gray">
          <a:xfrm>
            <a:off x="36029" y="1865549"/>
            <a:ext cx="5147864"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2177" b="1"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rPr>
              <a:t>3.1 | </a:t>
            </a:r>
            <a:r>
              <a:rPr kumimoji="0" lang="en-US" sz="2177" b="1" i="0" u="none" strike="noStrike" kern="1200" cap="none" spc="0" normalizeH="0" baseline="0" noProof="0" dirty="0">
                <a:ln>
                  <a:noFill/>
                </a:ln>
                <a:solidFill>
                  <a:srgbClr val="000000"/>
                </a:solidFill>
                <a:effectLst/>
                <a:uLnTx/>
                <a:uFillTx/>
                <a:latin typeface="EYInterstate" panose="02000503020000020004" pitchFamily="2" charset="0"/>
                <a:ea typeface="+mn-ea"/>
                <a:cs typeface="Calibri" panose="020F0502020204030204" pitchFamily="34" charset="0"/>
              </a:rPr>
              <a:t>Our Point of View &amp; Approach</a:t>
            </a:r>
          </a:p>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1633" b="1" i="0" u="none" strike="noStrike" kern="1200" cap="none" spc="0" normalizeH="0" baseline="0" noProof="0" dirty="0">
                <a:ln>
                  <a:noFill/>
                </a:ln>
                <a:solidFill>
                  <a:srgbClr val="000000"/>
                </a:solidFill>
                <a:effectLst/>
                <a:uLnTx/>
                <a:uFillTx/>
                <a:latin typeface="EYInterstate" panose="02000503020000020004" pitchFamily="2" charset="0"/>
                <a:ea typeface="+mn-ea"/>
                <a:cs typeface="Calibri" panose="020F0502020204030204" pitchFamily="34" charset="0"/>
              </a:rPr>
              <a:t>Data Platform Capability</a:t>
            </a:r>
          </a:p>
        </p:txBody>
      </p:sp>
      <p:sp>
        <p:nvSpPr>
          <p:cNvPr id="11" name="Rectangle 10">
            <a:extLst>
              <a:ext uri="{FF2B5EF4-FFF2-40B4-BE49-F238E27FC236}">
                <a16:creationId xmlns:a16="http://schemas.microsoft.com/office/drawing/2014/main" id="{627C101E-12A4-40D6-B470-7487B836B68D}"/>
              </a:ext>
            </a:extLst>
          </p:cNvPr>
          <p:cNvSpPr/>
          <p:nvPr/>
        </p:nvSpPr>
        <p:spPr>
          <a:xfrm>
            <a:off x="8583616" y="-213122"/>
            <a:ext cx="3312045" cy="2529957"/>
          </a:xfrm>
          <a:prstGeom prst="rect">
            <a:avLst/>
          </a:prstGeom>
          <a:noFill/>
        </p:spPr>
        <p:txBody>
          <a:bodyPr wrap="square" lIns="72742" tIns="36370" rIns="72742" bIns="36370">
            <a:spAutoFit/>
          </a:bodyPr>
          <a:lstStyle/>
          <a:p>
            <a:pPr marL="0" marR="0" lvl="0" indent="0" algn="ctr" defTabSz="945990" rtl="0" eaLnBrk="1" fontAlgn="auto" latinLnBrk="0" hangingPunct="1">
              <a:lnSpc>
                <a:spcPct val="100000"/>
              </a:lnSpc>
              <a:spcBef>
                <a:spcPts val="0"/>
              </a:spcBef>
              <a:spcAft>
                <a:spcPts val="0"/>
              </a:spcAft>
              <a:buClrTx/>
              <a:buSzTx/>
              <a:buFontTx/>
              <a:buNone/>
              <a:tabLst/>
              <a:defRPr/>
            </a:pPr>
            <a:r>
              <a:rPr kumimoji="0" lang="en-US" sz="15963" b="1" i="0" u="none" strike="noStrike" kern="1200" cap="none" spc="0" normalizeH="0" baseline="0" noProof="0" dirty="0">
                <a:ln w="22225">
                  <a:solidFill>
                    <a:srgbClr val="FFE600"/>
                  </a:solidFill>
                  <a:prstDash val="solid"/>
                </a:ln>
                <a:solidFill>
                  <a:srgbClr val="FFE600"/>
                </a:solidFill>
                <a:effectLst/>
                <a:uLnTx/>
                <a:uFillTx/>
                <a:latin typeface="EYInterstate" panose="02000503020000020004" pitchFamily="2" charset="0"/>
                <a:ea typeface="+mn-ea"/>
                <a:cs typeface="Calibri" panose="020F0502020204030204" pitchFamily="34" charset="0"/>
              </a:rPr>
              <a:t>3.1</a:t>
            </a:r>
          </a:p>
        </p:txBody>
      </p:sp>
      <p:graphicFrame>
        <p:nvGraphicFramePr>
          <p:cNvPr id="23" name="Diagram 22">
            <a:extLst>
              <a:ext uri="{FF2B5EF4-FFF2-40B4-BE49-F238E27FC236}">
                <a16:creationId xmlns:a16="http://schemas.microsoft.com/office/drawing/2014/main" id="{68FB7256-C86C-4DDE-8876-703C5824CA7F}"/>
              </a:ext>
            </a:extLst>
          </p:cNvPr>
          <p:cNvGraphicFramePr/>
          <p:nvPr>
            <p:extLst>
              <p:ext uri="{D42A27DB-BD31-4B8C-83A1-F6EECF244321}">
                <p14:modId xmlns:p14="http://schemas.microsoft.com/office/powerpoint/2010/main" val="4116934719"/>
              </p:ext>
            </p:extLst>
          </p:nvPr>
        </p:nvGraphicFramePr>
        <p:xfrm>
          <a:off x="-37787" y="5273384"/>
          <a:ext cx="8119987" cy="100235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2"/>
    </p:custDataLst>
    <p:extLst>
      <p:ext uri="{BB962C8B-B14F-4D97-AF65-F5344CB8AC3E}">
        <p14:creationId xmlns:p14="http://schemas.microsoft.com/office/powerpoint/2010/main" val="7384476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AEA66-5E0D-4DB8-AC23-2681935758DB}"/>
              </a:ext>
            </a:extLst>
          </p:cNvPr>
          <p:cNvSpPr>
            <a:spLocks noGrp="1"/>
          </p:cNvSpPr>
          <p:nvPr>
            <p:ph type="title"/>
          </p:nvPr>
        </p:nvSpPr>
        <p:spPr/>
        <p:txBody>
          <a:bodyPr vert="horz" lIns="0" tIns="0" rIns="0" bIns="0" rtlCol="0" anchor="t" anchorCtr="0">
            <a:noAutofit/>
          </a:bodyPr>
          <a:lstStyle/>
          <a:p>
            <a:r>
              <a:rPr lang="en-US" dirty="0"/>
              <a:t>There has been a global shift towards adoption of Next-Gen Data Platforms for enterprises to enhance their Data-related capabilities</a:t>
            </a:r>
          </a:p>
        </p:txBody>
      </p:sp>
      <p:sp>
        <p:nvSpPr>
          <p:cNvPr id="3" name="object 2">
            <a:extLst>
              <a:ext uri="{FF2B5EF4-FFF2-40B4-BE49-F238E27FC236}">
                <a16:creationId xmlns:a16="http://schemas.microsoft.com/office/drawing/2014/main" id="{680FE32C-2A8B-4D64-9899-71D1F0137648}"/>
              </a:ext>
            </a:extLst>
          </p:cNvPr>
          <p:cNvSpPr txBox="1"/>
          <p:nvPr/>
        </p:nvSpPr>
        <p:spPr>
          <a:xfrm>
            <a:off x="8353372" y="2272166"/>
            <a:ext cx="3573157" cy="961802"/>
          </a:xfrm>
          <a:prstGeom prst="rect">
            <a:avLst/>
          </a:prstGeom>
        </p:spPr>
        <p:txBody>
          <a:bodyPr vert="horz" wrap="square" lIns="0" tIns="12700" rIns="0" bIns="0" rtlCol="0">
            <a:spAutoFit/>
          </a:bodyPr>
          <a:lstStyle>
            <a:defPPr>
              <a:defRPr lang="en-US"/>
            </a:defPPr>
            <a:lvl1pPr marL="194945" marR="7620" indent="-182880" eaLnBrk="1" fontAlgn="auto" hangingPunct="1">
              <a:spcBef>
                <a:spcPts val="100"/>
              </a:spcBef>
              <a:spcAft>
                <a:spcPts val="0"/>
              </a:spcAft>
              <a:defRPr sz="900" spc="10">
                <a:solidFill>
                  <a:srgbClr val="000000"/>
                </a:solidFill>
                <a:latin typeface="EYInterstate Light" panose="02000506000000020004" pitchFamily="2" charset="0"/>
                <a:ea typeface="+mn-ea"/>
                <a:cs typeface="Arial"/>
              </a:defRPr>
            </a:lvl1pPr>
          </a:lstStyle>
          <a:p>
            <a:r>
              <a:rPr lang="en-US" sz="1200" dirty="0"/>
              <a:t>► </a:t>
            </a:r>
            <a:r>
              <a:rPr lang="en-US" sz="1200" b="1" dirty="0"/>
              <a:t>AI enabled real time Data Management</a:t>
            </a:r>
            <a:r>
              <a:rPr lang="en-US" sz="1200" dirty="0"/>
              <a:t>, in  line data quality, dynamic data mapping,  tagging, indexing, data cataloging, and  provisioning</a:t>
            </a:r>
          </a:p>
          <a:p>
            <a:r>
              <a:rPr lang="en-US" sz="1200" dirty="0"/>
              <a:t>► Support for Curated data sets and enhanced audit trails and lineage</a:t>
            </a:r>
          </a:p>
        </p:txBody>
      </p:sp>
      <p:sp>
        <p:nvSpPr>
          <p:cNvPr id="4" name="object 3">
            <a:extLst>
              <a:ext uri="{FF2B5EF4-FFF2-40B4-BE49-F238E27FC236}">
                <a16:creationId xmlns:a16="http://schemas.microsoft.com/office/drawing/2014/main" id="{944B9E57-A56A-401E-8398-5E533C4E4544}"/>
              </a:ext>
            </a:extLst>
          </p:cNvPr>
          <p:cNvSpPr txBox="1"/>
          <p:nvPr/>
        </p:nvSpPr>
        <p:spPr>
          <a:xfrm>
            <a:off x="807769" y="2322788"/>
            <a:ext cx="2994430" cy="1490152"/>
          </a:xfrm>
          <a:prstGeom prst="rect">
            <a:avLst/>
          </a:prstGeom>
        </p:spPr>
        <p:txBody>
          <a:bodyPr vert="horz" wrap="square" lIns="0" tIns="12700" rIns="0" bIns="0" rtlCol="0">
            <a:spAutoFit/>
          </a:bodyPr>
          <a:lstStyle/>
          <a:p>
            <a:pPr marL="194945" marR="7620" indent="-182880" eaLnBrk="1" fontAlgn="auto" hangingPunct="1">
              <a:spcBef>
                <a:spcPts val="100"/>
              </a:spcBef>
              <a:spcAft>
                <a:spcPts val="0"/>
              </a:spcAft>
            </a:pPr>
            <a:r>
              <a:rPr lang="en-US" sz="1200" spc="10" dirty="0">
                <a:solidFill>
                  <a:srgbClr val="000000"/>
                </a:solidFill>
                <a:latin typeface="EYInterstate Light" panose="02000506000000020004" pitchFamily="2" charset="0"/>
                <a:ea typeface="+mn-ea"/>
                <a:cs typeface="Arial"/>
              </a:rPr>
              <a:t>► </a:t>
            </a:r>
            <a:r>
              <a:rPr lang="en-US" sz="1200" b="1" dirty="0">
                <a:solidFill>
                  <a:srgbClr val="000000"/>
                </a:solidFill>
                <a:latin typeface="EYInterstate Light" panose="02000506000000020004" pitchFamily="2" charset="0"/>
                <a:ea typeface="+mn-ea"/>
                <a:cs typeface="Arial"/>
              </a:rPr>
              <a:t>Data lake </a:t>
            </a:r>
            <a:r>
              <a:rPr lang="en-US" sz="1200" dirty="0">
                <a:solidFill>
                  <a:srgbClr val="000000"/>
                </a:solidFill>
                <a:latin typeface="EYInterstate Light" panose="02000506000000020004" pitchFamily="2" charset="0"/>
                <a:ea typeface="+mn-ea"/>
                <a:cs typeface="Arial"/>
              </a:rPr>
              <a:t>based architecture </a:t>
            </a:r>
            <a:r>
              <a:rPr lang="en-US" sz="1200" spc="10" dirty="0">
                <a:solidFill>
                  <a:srgbClr val="000000"/>
                </a:solidFill>
                <a:latin typeface="EYInterstate Light" panose="02000506000000020004" pitchFamily="2" charset="0"/>
                <a:ea typeface="+mn-ea"/>
                <a:cs typeface="Arial"/>
              </a:rPr>
              <a:t>is </a:t>
            </a:r>
            <a:r>
              <a:rPr lang="en-US" sz="1200" dirty="0">
                <a:solidFill>
                  <a:srgbClr val="000000"/>
                </a:solidFill>
                <a:latin typeface="EYInterstate Light" panose="02000506000000020004" pitchFamily="2" charset="0"/>
                <a:ea typeface="+mn-ea"/>
                <a:cs typeface="Arial"/>
              </a:rPr>
              <a:t>robust</a:t>
            </a:r>
            <a:r>
              <a:rPr lang="en-US" sz="1200" spc="-220" dirty="0">
                <a:solidFill>
                  <a:srgbClr val="000000"/>
                </a:solidFill>
                <a:latin typeface="EYInterstate Light" panose="02000506000000020004" pitchFamily="2" charset="0"/>
                <a:ea typeface="+mn-ea"/>
                <a:cs typeface="Arial"/>
              </a:rPr>
              <a:t> </a:t>
            </a:r>
            <a:r>
              <a:rPr lang="en-US" sz="1200" dirty="0">
                <a:solidFill>
                  <a:srgbClr val="000000"/>
                </a:solidFill>
                <a:latin typeface="EYInterstate Light" panose="02000506000000020004" pitchFamily="2" charset="0"/>
                <a:ea typeface="+mn-ea"/>
                <a:cs typeface="Arial"/>
              </a:rPr>
              <a:t>and </a:t>
            </a:r>
            <a:r>
              <a:rPr lang="en-US" sz="1200" b="1" dirty="0">
                <a:solidFill>
                  <a:srgbClr val="000000"/>
                </a:solidFill>
                <a:latin typeface="EYInterstate Light" panose="02000506000000020004" pitchFamily="2" charset="0"/>
                <a:ea typeface="+mn-ea"/>
                <a:cs typeface="Arial"/>
              </a:rPr>
              <a:t>scalable</a:t>
            </a:r>
            <a:r>
              <a:rPr lang="en-US" sz="1200" dirty="0">
                <a:solidFill>
                  <a:srgbClr val="000000"/>
                </a:solidFill>
                <a:latin typeface="EYInterstate Light" panose="02000506000000020004" pitchFamily="2" charset="0"/>
                <a:ea typeface="+mn-ea"/>
                <a:cs typeface="Arial"/>
              </a:rPr>
              <a:t>; ensures </a:t>
            </a:r>
            <a:r>
              <a:rPr lang="en-US" sz="1200" b="1" spc="-5" dirty="0">
                <a:solidFill>
                  <a:srgbClr val="000000"/>
                </a:solidFill>
                <a:latin typeface="EYInterstate Light" panose="02000506000000020004" pitchFamily="2" charset="0"/>
                <a:ea typeface="+mn-ea"/>
                <a:cs typeface="Arial"/>
              </a:rPr>
              <a:t>full </a:t>
            </a:r>
            <a:r>
              <a:rPr lang="en-US" sz="1200" b="1" dirty="0">
                <a:solidFill>
                  <a:srgbClr val="000000"/>
                </a:solidFill>
                <a:latin typeface="EYInterstate Light" panose="02000506000000020004" pitchFamily="2" charset="0"/>
                <a:ea typeface="+mn-ea"/>
                <a:cs typeface="Arial"/>
              </a:rPr>
              <a:t>fidelity </a:t>
            </a:r>
            <a:r>
              <a:rPr lang="en-US" sz="1200" dirty="0">
                <a:solidFill>
                  <a:srgbClr val="000000"/>
                </a:solidFill>
                <a:latin typeface="EYInterstate Light" panose="02000506000000020004" pitchFamily="2" charset="0"/>
                <a:ea typeface="+mn-ea"/>
                <a:cs typeface="Arial"/>
              </a:rPr>
              <a:t>of source  </a:t>
            </a:r>
            <a:r>
              <a:rPr lang="en-US" sz="1200" spc="-5" dirty="0">
                <a:solidFill>
                  <a:srgbClr val="000000"/>
                </a:solidFill>
                <a:latin typeface="EYInterstate Light" panose="02000506000000020004" pitchFamily="2" charset="0"/>
                <a:ea typeface="+mn-ea"/>
                <a:cs typeface="Arial"/>
              </a:rPr>
              <a:t>data </a:t>
            </a:r>
            <a:r>
              <a:rPr lang="en-US" sz="1200" spc="5" dirty="0">
                <a:solidFill>
                  <a:srgbClr val="000000"/>
                </a:solidFill>
                <a:latin typeface="EYInterstate Light" panose="02000506000000020004" pitchFamily="2" charset="0"/>
                <a:ea typeface="+mn-ea"/>
                <a:cs typeface="Arial"/>
              </a:rPr>
              <a:t>in </a:t>
            </a:r>
            <a:r>
              <a:rPr lang="en-US" sz="1200" spc="-5" dirty="0">
                <a:solidFill>
                  <a:srgbClr val="000000"/>
                </a:solidFill>
                <a:latin typeface="EYInterstate Light" panose="02000506000000020004" pitchFamily="2" charset="0"/>
                <a:ea typeface="+mn-ea"/>
                <a:cs typeface="Arial"/>
              </a:rPr>
              <a:t>an immutable </a:t>
            </a:r>
            <a:r>
              <a:rPr lang="en-US" sz="1200" dirty="0">
                <a:solidFill>
                  <a:srgbClr val="000000"/>
                </a:solidFill>
                <a:latin typeface="EYInterstate Light" panose="02000506000000020004" pitchFamily="2" charset="0"/>
                <a:ea typeface="+mn-ea"/>
                <a:cs typeface="Arial"/>
              </a:rPr>
              <a:t>zone, </a:t>
            </a:r>
            <a:r>
              <a:rPr lang="en-US" sz="1200" spc="-5" dirty="0">
                <a:solidFill>
                  <a:srgbClr val="000000"/>
                </a:solidFill>
                <a:latin typeface="EYInterstate Light" panose="02000506000000020004" pitchFamily="2" charset="0"/>
                <a:ea typeface="+mn-ea"/>
                <a:cs typeface="Arial"/>
              </a:rPr>
              <a:t>and can </a:t>
            </a:r>
            <a:r>
              <a:rPr lang="en-US" sz="1200" dirty="0">
                <a:solidFill>
                  <a:srgbClr val="000000"/>
                </a:solidFill>
                <a:latin typeface="EYInterstate Light" panose="02000506000000020004" pitchFamily="2" charset="0"/>
                <a:ea typeface="+mn-ea"/>
                <a:cs typeface="Arial"/>
              </a:rPr>
              <a:t>be  deployed </a:t>
            </a:r>
            <a:r>
              <a:rPr lang="en-US" sz="1200" spc="-5" dirty="0">
                <a:solidFill>
                  <a:srgbClr val="000000"/>
                </a:solidFill>
                <a:latin typeface="EYInterstate Light" panose="02000506000000020004" pitchFamily="2" charset="0"/>
                <a:ea typeface="+mn-ea"/>
                <a:cs typeface="Arial"/>
              </a:rPr>
              <a:t>on </a:t>
            </a:r>
            <a:r>
              <a:rPr lang="en-US" sz="1200" b="1" spc="-10" dirty="0">
                <a:solidFill>
                  <a:srgbClr val="000000"/>
                </a:solidFill>
                <a:latin typeface="EYInterstate Light" panose="02000506000000020004" pitchFamily="2" charset="0"/>
                <a:ea typeface="+mn-ea"/>
                <a:cs typeface="Arial"/>
              </a:rPr>
              <a:t>hybrid </a:t>
            </a:r>
            <a:r>
              <a:rPr lang="en-US" sz="1200" b="1" dirty="0">
                <a:solidFill>
                  <a:srgbClr val="000000"/>
                </a:solidFill>
                <a:latin typeface="EYInterstate Light" panose="02000506000000020004" pitchFamily="2" charset="0"/>
                <a:ea typeface="+mn-ea"/>
                <a:cs typeface="Arial"/>
              </a:rPr>
              <a:t>cloud/on-</a:t>
            </a:r>
            <a:r>
              <a:rPr lang="en-US" sz="1200" b="1" spc="-5" dirty="0">
                <a:solidFill>
                  <a:srgbClr val="000000"/>
                </a:solidFill>
                <a:latin typeface="EYInterstate Light" panose="02000506000000020004" pitchFamily="2" charset="0"/>
                <a:ea typeface="+mn-ea"/>
                <a:cs typeface="Arial"/>
              </a:rPr>
              <a:t>prem  </a:t>
            </a:r>
            <a:r>
              <a:rPr lang="en-US" sz="1200" dirty="0">
                <a:solidFill>
                  <a:srgbClr val="000000"/>
                </a:solidFill>
                <a:latin typeface="EYInterstate Light" panose="02000506000000020004" pitchFamily="2" charset="0"/>
                <a:ea typeface="+mn-ea"/>
                <a:cs typeface="Arial"/>
              </a:rPr>
              <a:t>infrastructure</a:t>
            </a:r>
          </a:p>
          <a:p>
            <a:pPr marL="194945" marR="5080" indent="-182880" eaLnBrk="1" fontAlgn="auto" hangingPunct="1">
              <a:spcBef>
                <a:spcPts val="5"/>
              </a:spcBef>
              <a:spcAft>
                <a:spcPts val="0"/>
              </a:spcAft>
            </a:pPr>
            <a:r>
              <a:rPr lang="en-US" sz="1200" spc="10" dirty="0">
                <a:solidFill>
                  <a:srgbClr val="000000"/>
                </a:solidFill>
                <a:latin typeface="EYInterstate Light" panose="02000506000000020004" pitchFamily="2" charset="0"/>
                <a:ea typeface="+mn-ea"/>
                <a:cs typeface="Arial"/>
              </a:rPr>
              <a:t>► </a:t>
            </a:r>
            <a:r>
              <a:rPr lang="en-US" sz="1200" spc="-5" dirty="0">
                <a:solidFill>
                  <a:srgbClr val="000000"/>
                </a:solidFill>
                <a:latin typeface="EYInterstate Light" panose="02000506000000020004" pitchFamily="2" charset="0"/>
                <a:ea typeface="+mn-ea"/>
                <a:cs typeface="Arial"/>
              </a:rPr>
              <a:t>Supports </a:t>
            </a:r>
            <a:r>
              <a:rPr lang="en-US" sz="1200" b="1" spc="-5" dirty="0">
                <a:solidFill>
                  <a:srgbClr val="000000"/>
                </a:solidFill>
                <a:latin typeface="EYInterstate Light" panose="02000506000000020004" pitchFamily="2" charset="0"/>
                <a:ea typeface="+mn-ea"/>
                <a:cs typeface="Arial"/>
              </a:rPr>
              <a:t>multi </a:t>
            </a:r>
            <a:r>
              <a:rPr lang="en-US" sz="1200" b="1" dirty="0">
                <a:solidFill>
                  <a:srgbClr val="000000"/>
                </a:solidFill>
                <a:latin typeface="EYInterstate Light" panose="02000506000000020004" pitchFamily="2" charset="0"/>
                <a:ea typeface="+mn-ea"/>
                <a:cs typeface="Arial"/>
              </a:rPr>
              <a:t>speed </a:t>
            </a:r>
            <a:r>
              <a:rPr lang="en-US" sz="1200" spc="-5" dirty="0">
                <a:solidFill>
                  <a:srgbClr val="000000"/>
                </a:solidFill>
                <a:latin typeface="EYInterstate Light" panose="02000506000000020004" pitchFamily="2" charset="0"/>
                <a:ea typeface="+mn-ea"/>
                <a:cs typeface="Arial"/>
              </a:rPr>
              <a:t>data </a:t>
            </a:r>
            <a:r>
              <a:rPr lang="en-US" sz="1200" dirty="0">
                <a:solidFill>
                  <a:srgbClr val="000000"/>
                </a:solidFill>
                <a:latin typeface="EYInterstate Light" panose="02000506000000020004" pitchFamily="2" charset="0"/>
                <a:ea typeface="+mn-ea"/>
                <a:cs typeface="Arial"/>
              </a:rPr>
              <a:t>processing,  Microservices, </a:t>
            </a:r>
            <a:r>
              <a:rPr lang="en-US" sz="1200" spc="-5" dirty="0">
                <a:solidFill>
                  <a:srgbClr val="000000"/>
                </a:solidFill>
                <a:latin typeface="EYInterstate Light" panose="02000506000000020004" pitchFamily="2" charset="0"/>
                <a:ea typeface="+mn-ea"/>
                <a:cs typeface="Arial"/>
              </a:rPr>
              <a:t>and advanced data</a:t>
            </a:r>
            <a:r>
              <a:rPr lang="en-US" sz="1200" spc="-140" dirty="0">
                <a:solidFill>
                  <a:srgbClr val="000000"/>
                </a:solidFill>
                <a:latin typeface="EYInterstate Light" panose="02000506000000020004" pitchFamily="2" charset="0"/>
                <a:ea typeface="+mn-ea"/>
                <a:cs typeface="Arial"/>
              </a:rPr>
              <a:t> </a:t>
            </a:r>
            <a:r>
              <a:rPr lang="en-US" sz="1200" dirty="0">
                <a:solidFill>
                  <a:srgbClr val="000000"/>
                </a:solidFill>
                <a:latin typeface="EYInterstate Light" panose="02000506000000020004" pitchFamily="2" charset="0"/>
                <a:ea typeface="+mn-ea"/>
                <a:cs typeface="Arial"/>
              </a:rPr>
              <a:t>security</a:t>
            </a:r>
          </a:p>
        </p:txBody>
      </p:sp>
      <p:sp>
        <p:nvSpPr>
          <p:cNvPr id="5" name="object 5">
            <a:extLst>
              <a:ext uri="{FF2B5EF4-FFF2-40B4-BE49-F238E27FC236}">
                <a16:creationId xmlns:a16="http://schemas.microsoft.com/office/drawing/2014/main" id="{B25C4458-0537-477E-9C22-052301B18140}"/>
              </a:ext>
            </a:extLst>
          </p:cNvPr>
          <p:cNvSpPr txBox="1"/>
          <p:nvPr/>
        </p:nvSpPr>
        <p:spPr>
          <a:xfrm>
            <a:off x="855875" y="1295294"/>
            <a:ext cx="10991996" cy="457200"/>
          </a:xfrm>
          <a:prstGeom prst="rect">
            <a:avLst/>
          </a:prstGeom>
          <a:solidFill>
            <a:srgbClr val="EFEFEF"/>
          </a:solidFill>
        </p:spPr>
        <p:txBody>
          <a:bodyPr vert="horz" wrap="square" lIns="0" tIns="0" rIns="0" bIns="0" rtlCol="0" anchor="ctr">
            <a:noAutofit/>
          </a:bodyPr>
          <a:lstStyle/>
          <a:p>
            <a:pPr marL="30480" eaLnBrk="1" fontAlgn="auto" hangingPunct="1">
              <a:spcBef>
                <a:spcPts val="830"/>
              </a:spcBef>
              <a:spcAft>
                <a:spcPts val="0"/>
              </a:spcAft>
            </a:pPr>
            <a:r>
              <a:rPr lang="en-US" sz="1200" dirty="0">
                <a:solidFill>
                  <a:prstClr val="black"/>
                </a:solidFill>
                <a:latin typeface="EYInterstate Light" panose="02000506000000020004" pitchFamily="2" charset="0"/>
                <a:ea typeface="+mn-ea"/>
                <a:cs typeface="Arial"/>
              </a:rPr>
              <a:t>Next Gen Data is a </a:t>
            </a:r>
            <a:r>
              <a:rPr lang="en-US" sz="1200" spc="-5" dirty="0">
                <a:solidFill>
                  <a:prstClr val="black"/>
                </a:solidFill>
                <a:latin typeface="EYInterstate Light" panose="02000506000000020004" pitchFamily="2" charset="0"/>
                <a:ea typeface="+mn-ea"/>
                <a:cs typeface="Arial"/>
              </a:rPr>
              <a:t>new </a:t>
            </a:r>
            <a:r>
              <a:rPr lang="en-US" sz="1200" dirty="0">
                <a:solidFill>
                  <a:prstClr val="black"/>
                </a:solidFill>
                <a:latin typeface="EYInterstate Light" panose="02000506000000020004" pitchFamily="2" charset="0"/>
                <a:ea typeface="+mn-ea"/>
                <a:cs typeface="Arial"/>
              </a:rPr>
              <a:t>Data </a:t>
            </a:r>
            <a:r>
              <a:rPr lang="en-US" sz="1200" spc="-5" dirty="0">
                <a:solidFill>
                  <a:prstClr val="black"/>
                </a:solidFill>
                <a:latin typeface="EYInterstate Light" panose="02000506000000020004" pitchFamily="2" charset="0"/>
                <a:ea typeface="+mn-ea"/>
                <a:cs typeface="Arial"/>
              </a:rPr>
              <a:t>Management </a:t>
            </a:r>
            <a:r>
              <a:rPr lang="en-US" sz="1200" dirty="0">
                <a:solidFill>
                  <a:prstClr val="black"/>
                </a:solidFill>
                <a:latin typeface="EYInterstate Light" panose="02000506000000020004" pitchFamily="2" charset="0"/>
                <a:ea typeface="+mn-ea"/>
                <a:cs typeface="Arial"/>
              </a:rPr>
              <a:t>approach </a:t>
            </a:r>
            <a:r>
              <a:rPr lang="en-US" sz="1200" spc="-5" dirty="0">
                <a:solidFill>
                  <a:prstClr val="black"/>
                </a:solidFill>
                <a:latin typeface="EYInterstate Light" panose="02000506000000020004" pitchFamily="2" charset="0"/>
                <a:ea typeface="+mn-ea"/>
                <a:cs typeface="Arial"/>
              </a:rPr>
              <a:t>that leverages advancements </a:t>
            </a:r>
            <a:r>
              <a:rPr lang="en-US" sz="1200" dirty="0">
                <a:solidFill>
                  <a:prstClr val="black"/>
                </a:solidFill>
                <a:latin typeface="EYInterstate Light" panose="02000506000000020004" pitchFamily="2" charset="0"/>
                <a:ea typeface="+mn-ea"/>
                <a:cs typeface="Arial"/>
              </a:rPr>
              <a:t>in </a:t>
            </a:r>
            <a:r>
              <a:rPr lang="en-US" sz="1200" spc="-5" dirty="0">
                <a:solidFill>
                  <a:prstClr val="black"/>
                </a:solidFill>
                <a:latin typeface="EYInterstate Light" panose="02000506000000020004" pitchFamily="2" charset="0"/>
                <a:ea typeface="+mn-ea"/>
                <a:cs typeface="Arial"/>
              </a:rPr>
              <a:t>technology, </a:t>
            </a:r>
            <a:r>
              <a:rPr lang="en-US" sz="1200" dirty="0">
                <a:solidFill>
                  <a:prstClr val="black"/>
                </a:solidFill>
                <a:latin typeface="EYInterstate Light" panose="02000506000000020004" pitchFamily="2" charset="0"/>
                <a:ea typeface="+mn-ea"/>
                <a:cs typeface="Arial"/>
              </a:rPr>
              <a:t>storage, cloud, </a:t>
            </a:r>
            <a:r>
              <a:rPr lang="en-US" sz="1200" spc="-5" dirty="0">
                <a:solidFill>
                  <a:prstClr val="black"/>
                </a:solidFill>
                <a:latin typeface="EYInterstate Light" panose="02000506000000020004" pitchFamily="2" charset="0"/>
                <a:ea typeface="+mn-ea"/>
                <a:cs typeface="Arial"/>
              </a:rPr>
              <a:t>and </a:t>
            </a:r>
            <a:r>
              <a:rPr lang="en-US" sz="1200" spc="-10" dirty="0">
                <a:solidFill>
                  <a:prstClr val="black"/>
                </a:solidFill>
                <a:latin typeface="EYInterstate Light" panose="02000506000000020004" pitchFamily="2" charset="0"/>
                <a:ea typeface="+mn-ea"/>
                <a:cs typeface="Arial"/>
              </a:rPr>
              <a:t>Machine </a:t>
            </a:r>
            <a:r>
              <a:rPr lang="en-US" sz="1200" spc="5" dirty="0">
                <a:solidFill>
                  <a:prstClr val="black"/>
                </a:solidFill>
                <a:latin typeface="EYInterstate Light" panose="02000506000000020004" pitchFamily="2" charset="0"/>
                <a:ea typeface="+mn-ea"/>
                <a:cs typeface="Arial"/>
              </a:rPr>
              <a:t>Learning </a:t>
            </a:r>
            <a:r>
              <a:rPr lang="en-US" sz="1200" dirty="0">
                <a:solidFill>
                  <a:prstClr val="black"/>
                </a:solidFill>
                <a:latin typeface="EYInterstate Light" panose="02000506000000020004" pitchFamily="2" charset="0"/>
                <a:ea typeface="+mn-ea"/>
                <a:cs typeface="Arial"/>
              </a:rPr>
              <a:t>capabilities</a:t>
            </a:r>
            <a:r>
              <a:rPr lang="en-US" sz="1200" spc="60" dirty="0">
                <a:solidFill>
                  <a:prstClr val="black"/>
                </a:solidFill>
                <a:latin typeface="EYInterstate Light" panose="02000506000000020004" pitchFamily="2" charset="0"/>
                <a:ea typeface="+mn-ea"/>
                <a:cs typeface="Arial"/>
              </a:rPr>
              <a:t> </a:t>
            </a:r>
            <a:r>
              <a:rPr lang="en-US" sz="1200" dirty="0">
                <a:solidFill>
                  <a:prstClr val="black"/>
                </a:solidFill>
                <a:latin typeface="EYInterstate Light" panose="02000506000000020004" pitchFamily="2" charset="0"/>
                <a:ea typeface="+mn-ea"/>
                <a:cs typeface="Arial"/>
              </a:rPr>
              <a:t>to</a:t>
            </a:r>
          </a:p>
          <a:p>
            <a:pPr marL="34290" eaLnBrk="1" fontAlgn="auto" hangingPunct="1">
              <a:spcBef>
                <a:spcPts val="5"/>
              </a:spcBef>
              <a:spcAft>
                <a:spcPts val="0"/>
              </a:spcAft>
            </a:pPr>
            <a:r>
              <a:rPr lang="en-US" sz="1200" dirty="0">
                <a:solidFill>
                  <a:prstClr val="black"/>
                </a:solidFill>
                <a:latin typeface="EYInterstate Light" panose="02000506000000020004" pitchFamily="2" charset="0"/>
                <a:ea typeface="+mn-ea"/>
                <a:cs typeface="Arial"/>
              </a:rPr>
              <a:t>process </a:t>
            </a:r>
            <a:r>
              <a:rPr lang="en-US" sz="1200" spc="-5" dirty="0">
                <a:solidFill>
                  <a:prstClr val="black"/>
                </a:solidFill>
                <a:latin typeface="EYInterstate Light" panose="02000506000000020004" pitchFamily="2" charset="0"/>
                <a:ea typeface="+mn-ea"/>
                <a:cs typeface="Arial"/>
              </a:rPr>
              <a:t>more quantity and types </a:t>
            </a:r>
            <a:r>
              <a:rPr lang="en-US" sz="1200" spc="5" dirty="0">
                <a:solidFill>
                  <a:prstClr val="black"/>
                </a:solidFill>
                <a:latin typeface="EYInterstate Light" panose="02000506000000020004" pitchFamily="2" charset="0"/>
                <a:ea typeface="+mn-ea"/>
                <a:cs typeface="Arial"/>
              </a:rPr>
              <a:t>of data, </a:t>
            </a:r>
            <a:r>
              <a:rPr lang="en-US" sz="1200" spc="-5" dirty="0">
                <a:solidFill>
                  <a:prstClr val="black"/>
                </a:solidFill>
                <a:latin typeface="EYInterstate Light" panose="02000506000000020004" pitchFamily="2" charset="0"/>
                <a:ea typeface="+mn-ea"/>
                <a:cs typeface="Arial"/>
              </a:rPr>
              <a:t>empowering more users </a:t>
            </a:r>
            <a:r>
              <a:rPr lang="en-US" sz="1200" dirty="0">
                <a:solidFill>
                  <a:prstClr val="black"/>
                </a:solidFill>
                <a:latin typeface="EYInterstate Light" panose="02000506000000020004" pitchFamily="2" charset="0"/>
                <a:ea typeface="+mn-ea"/>
                <a:cs typeface="Arial"/>
              </a:rPr>
              <a:t>with </a:t>
            </a:r>
            <a:r>
              <a:rPr lang="en-US" sz="1200" spc="-5" dirty="0">
                <a:solidFill>
                  <a:prstClr val="black"/>
                </a:solidFill>
                <a:latin typeface="EYInterstate Light" panose="02000506000000020004" pitchFamily="2" charset="0"/>
                <a:ea typeface="+mn-ea"/>
                <a:cs typeface="Arial"/>
              </a:rPr>
              <a:t>self-service, and </a:t>
            </a:r>
            <a:r>
              <a:rPr lang="en-US" sz="1200" spc="-10" dirty="0">
                <a:solidFill>
                  <a:prstClr val="black"/>
                </a:solidFill>
                <a:latin typeface="EYInterstate Light" panose="02000506000000020004" pitchFamily="2" charset="0"/>
                <a:ea typeface="+mn-ea"/>
                <a:cs typeface="Arial"/>
              </a:rPr>
              <a:t>yet </a:t>
            </a:r>
            <a:r>
              <a:rPr lang="en-US" sz="1200" spc="-5" dirty="0">
                <a:solidFill>
                  <a:prstClr val="black"/>
                </a:solidFill>
                <a:latin typeface="EYInterstate Light" panose="02000506000000020004" pitchFamily="2" charset="0"/>
                <a:ea typeface="+mn-ea"/>
                <a:cs typeface="Arial"/>
              </a:rPr>
              <a:t>maintaining transparency and </a:t>
            </a:r>
            <a:r>
              <a:rPr lang="en-US" sz="1200" dirty="0">
                <a:solidFill>
                  <a:prstClr val="black"/>
                </a:solidFill>
                <a:latin typeface="EYInterstate Light" panose="02000506000000020004" pitchFamily="2" charset="0"/>
                <a:ea typeface="+mn-ea"/>
                <a:cs typeface="Arial"/>
              </a:rPr>
              <a:t>auditability of</a:t>
            </a:r>
            <a:r>
              <a:rPr lang="en-US" sz="1200" spc="105" dirty="0">
                <a:solidFill>
                  <a:prstClr val="black"/>
                </a:solidFill>
                <a:latin typeface="EYInterstate Light" panose="02000506000000020004" pitchFamily="2" charset="0"/>
                <a:ea typeface="+mn-ea"/>
                <a:cs typeface="Arial"/>
              </a:rPr>
              <a:t> </a:t>
            </a:r>
            <a:r>
              <a:rPr lang="en-US" sz="1200" dirty="0">
                <a:solidFill>
                  <a:prstClr val="black"/>
                </a:solidFill>
                <a:latin typeface="EYInterstate Light" panose="02000506000000020004" pitchFamily="2" charset="0"/>
                <a:ea typeface="+mn-ea"/>
                <a:cs typeface="Arial"/>
              </a:rPr>
              <a:t>data.</a:t>
            </a:r>
          </a:p>
        </p:txBody>
      </p:sp>
      <p:sp>
        <p:nvSpPr>
          <p:cNvPr id="6" name="object 6">
            <a:extLst>
              <a:ext uri="{FF2B5EF4-FFF2-40B4-BE49-F238E27FC236}">
                <a16:creationId xmlns:a16="http://schemas.microsoft.com/office/drawing/2014/main" id="{768A5F6C-14B0-4DF2-90E8-4F2A44364E92}"/>
              </a:ext>
            </a:extLst>
          </p:cNvPr>
          <p:cNvSpPr/>
          <p:nvPr/>
        </p:nvSpPr>
        <p:spPr>
          <a:xfrm>
            <a:off x="3844979" y="2075572"/>
            <a:ext cx="4628028" cy="4373166"/>
          </a:xfrm>
          <a:prstGeom prst="rect">
            <a:avLst/>
          </a:prstGeom>
          <a:blipFill>
            <a:blip r:embed="rId2" cstate="print">
              <a:duotone>
                <a:prstClr val="black"/>
                <a:schemeClr val="accent5">
                  <a:tint val="45000"/>
                  <a:satMod val="400000"/>
                </a:schemeClr>
              </a:duotone>
            </a:blip>
            <a:stretch>
              <a:fillRect/>
            </a:stretch>
          </a:blipFill>
        </p:spPr>
        <p:txBody>
          <a:bodyPr wrap="square" lIns="0" tIns="0" rIns="0" bIns="0" rtlCol="0"/>
          <a:lstStyle/>
          <a:p>
            <a:pPr marL="194945" marR="7620" indent="-182880" algn="ctr" eaLnBrk="1" fontAlgn="auto" hangingPunct="1">
              <a:spcBef>
                <a:spcPts val="100"/>
              </a:spcBef>
              <a:spcAft>
                <a:spcPts val="0"/>
              </a:spcAft>
            </a:pPr>
            <a:endParaRPr lang="en-US" sz="1200" spc="10" dirty="0">
              <a:solidFill>
                <a:srgbClr val="000000"/>
              </a:solidFill>
              <a:latin typeface="EYInterstate Light" panose="02000506000000020004" pitchFamily="2" charset="0"/>
              <a:ea typeface="+mn-ea"/>
              <a:cs typeface="Arial"/>
            </a:endParaRPr>
          </a:p>
        </p:txBody>
      </p:sp>
      <p:sp>
        <p:nvSpPr>
          <p:cNvPr id="7" name="object 7">
            <a:extLst>
              <a:ext uri="{FF2B5EF4-FFF2-40B4-BE49-F238E27FC236}">
                <a16:creationId xmlns:a16="http://schemas.microsoft.com/office/drawing/2014/main" id="{683B6977-CE39-4C72-AA0B-F35F2763D269}"/>
              </a:ext>
            </a:extLst>
          </p:cNvPr>
          <p:cNvSpPr txBox="1"/>
          <p:nvPr/>
        </p:nvSpPr>
        <p:spPr>
          <a:xfrm>
            <a:off x="5593080" y="3790785"/>
            <a:ext cx="1012189" cy="505267"/>
          </a:xfrm>
          <a:prstGeom prst="rect">
            <a:avLst/>
          </a:prstGeom>
        </p:spPr>
        <p:txBody>
          <a:bodyPr vert="horz" wrap="square" lIns="0" tIns="12700" rIns="0" bIns="0" rtlCol="0">
            <a:spAutoFit/>
          </a:bodyPr>
          <a:lstStyle/>
          <a:p>
            <a:pPr marL="180340" marR="5080" indent="-167640" eaLnBrk="1" fontAlgn="auto" hangingPunct="1">
              <a:spcBef>
                <a:spcPts val="100"/>
              </a:spcBef>
              <a:spcAft>
                <a:spcPts val="0"/>
              </a:spcAft>
            </a:pPr>
            <a:r>
              <a:rPr lang="en-US" sz="1600" b="1" dirty="0">
                <a:solidFill>
                  <a:schemeClr val="bg1"/>
                </a:solidFill>
                <a:latin typeface="+mn-lt"/>
                <a:ea typeface="+mn-ea"/>
                <a:cs typeface="Arial"/>
              </a:rPr>
              <a:t>Next</a:t>
            </a:r>
            <a:r>
              <a:rPr lang="en-US" sz="1600" b="1" spc="-105" dirty="0">
                <a:solidFill>
                  <a:schemeClr val="bg1"/>
                </a:solidFill>
                <a:latin typeface="+mn-lt"/>
                <a:ea typeface="+mn-ea"/>
                <a:cs typeface="Arial"/>
              </a:rPr>
              <a:t> </a:t>
            </a:r>
            <a:r>
              <a:rPr lang="en-US" sz="1600" b="1" dirty="0">
                <a:solidFill>
                  <a:schemeClr val="bg1"/>
                </a:solidFill>
                <a:latin typeface="+mn-lt"/>
                <a:ea typeface="+mn-ea"/>
                <a:cs typeface="Arial"/>
              </a:rPr>
              <a:t>Gen  Data</a:t>
            </a:r>
            <a:endParaRPr lang="en-US" sz="1600" dirty="0">
              <a:solidFill>
                <a:schemeClr val="bg1"/>
              </a:solidFill>
              <a:latin typeface="+mn-lt"/>
              <a:ea typeface="+mn-ea"/>
              <a:cs typeface="Arial"/>
            </a:endParaRPr>
          </a:p>
        </p:txBody>
      </p:sp>
      <p:sp>
        <p:nvSpPr>
          <p:cNvPr id="8" name="object 8">
            <a:extLst>
              <a:ext uri="{FF2B5EF4-FFF2-40B4-BE49-F238E27FC236}">
                <a16:creationId xmlns:a16="http://schemas.microsoft.com/office/drawing/2014/main" id="{27B180A8-38C3-471A-BADE-5AB066A62A90}"/>
              </a:ext>
            </a:extLst>
          </p:cNvPr>
          <p:cNvSpPr txBox="1"/>
          <p:nvPr/>
        </p:nvSpPr>
        <p:spPr>
          <a:xfrm>
            <a:off x="6592264" y="2375798"/>
            <a:ext cx="1012190" cy="438784"/>
          </a:xfrm>
          <a:prstGeom prst="rect">
            <a:avLst/>
          </a:prstGeom>
        </p:spPr>
        <p:txBody>
          <a:bodyPr vert="horz" wrap="square" lIns="0" tIns="13970" rIns="0" bIns="0" rtlCol="0">
            <a:spAutoFit/>
          </a:bodyPr>
          <a:lstStyle/>
          <a:p>
            <a:pPr marL="12065" marR="5080" indent="635" algn="ctr" eaLnBrk="1" fontAlgn="auto" hangingPunct="1">
              <a:spcBef>
                <a:spcPts val="110"/>
              </a:spcBef>
              <a:spcAft>
                <a:spcPts val="0"/>
              </a:spcAft>
            </a:pPr>
            <a:r>
              <a:rPr lang="en-US" sz="900" b="1" dirty="0">
                <a:solidFill>
                  <a:srgbClr val="404040"/>
                </a:solidFill>
                <a:latin typeface="+mn-lt"/>
                <a:ea typeface="+mn-ea"/>
                <a:cs typeface="Arial"/>
              </a:rPr>
              <a:t>AI / </a:t>
            </a:r>
            <a:r>
              <a:rPr lang="en-US" sz="900" b="1" spc="5" dirty="0">
                <a:solidFill>
                  <a:srgbClr val="404040"/>
                </a:solidFill>
                <a:latin typeface="+mn-lt"/>
                <a:ea typeface="+mn-ea"/>
                <a:cs typeface="Arial"/>
              </a:rPr>
              <a:t>Machine  </a:t>
            </a:r>
            <a:r>
              <a:rPr lang="en-US" sz="900" b="1" dirty="0">
                <a:solidFill>
                  <a:srgbClr val="404040"/>
                </a:solidFill>
                <a:latin typeface="+mn-lt"/>
                <a:ea typeface="+mn-ea"/>
                <a:cs typeface="Arial"/>
              </a:rPr>
              <a:t>Learning Based  Data</a:t>
            </a:r>
            <a:r>
              <a:rPr lang="en-US" sz="900" b="1" spc="-70" dirty="0">
                <a:solidFill>
                  <a:srgbClr val="404040"/>
                </a:solidFill>
                <a:latin typeface="+mn-lt"/>
                <a:ea typeface="+mn-ea"/>
                <a:cs typeface="Arial"/>
              </a:rPr>
              <a:t> </a:t>
            </a:r>
            <a:r>
              <a:rPr lang="en-US" sz="900" b="1" dirty="0">
                <a:solidFill>
                  <a:srgbClr val="404040"/>
                </a:solidFill>
                <a:latin typeface="+mn-lt"/>
                <a:ea typeface="+mn-ea"/>
                <a:cs typeface="Arial"/>
              </a:rPr>
              <a:t>Management</a:t>
            </a:r>
            <a:endParaRPr lang="en-US" sz="900" dirty="0">
              <a:solidFill>
                <a:prstClr val="black"/>
              </a:solidFill>
              <a:latin typeface="+mn-lt"/>
              <a:ea typeface="+mn-ea"/>
              <a:cs typeface="Arial"/>
            </a:endParaRPr>
          </a:p>
        </p:txBody>
      </p:sp>
      <p:sp>
        <p:nvSpPr>
          <p:cNvPr id="9" name="object 9">
            <a:extLst>
              <a:ext uri="{FF2B5EF4-FFF2-40B4-BE49-F238E27FC236}">
                <a16:creationId xmlns:a16="http://schemas.microsoft.com/office/drawing/2014/main" id="{340DC32C-3304-4D13-B2DA-EAF0525388DA}"/>
              </a:ext>
            </a:extLst>
          </p:cNvPr>
          <p:cNvSpPr txBox="1"/>
          <p:nvPr/>
        </p:nvSpPr>
        <p:spPr>
          <a:xfrm>
            <a:off x="6923808" y="4164475"/>
            <a:ext cx="1012189" cy="153247"/>
          </a:xfrm>
          <a:prstGeom prst="rect">
            <a:avLst/>
          </a:prstGeom>
        </p:spPr>
        <p:txBody>
          <a:bodyPr vert="horz" wrap="square" lIns="0" tIns="14605" rIns="0" bIns="0" rtlCol="0">
            <a:spAutoFit/>
          </a:bodyPr>
          <a:lstStyle/>
          <a:p>
            <a:pPr algn="ctr" eaLnBrk="1" fontAlgn="auto" hangingPunct="1">
              <a:spcBef>
                <a:spcPts val="115"/>
              </a:spcBef>
              <a:spcAft>
                <a:spcPts val="0"/>
              </a:spcAft>
            </a:pPr>
            <a:r>
              <a:rPr lang="en-US" sz="900" b="1" spc="-5" dirty="0">
                <a:solidFill>
                  <a:srgbClr val="404040"/>
                </a:solidFill>
                <a:latin typeface="+mn-lt"/>
                <a:ea typeface="+mn-ea"/>
                <a:cs typeface="Arial"/>
              </a:rPr>
              <a:t>D</a:t>
            </a:r>
            <a:r>
              <a:rPr lang="en-US" sz="900" b="1" spc="5" dirty="0">
                <a:solidFill>
                  <a:srgbClr val="404040"/>
                </a:solidFill>
                <a:latin typeface="+mn-lt"/>
                <a:ea typeface="+mn-ea"/>
                <a:cs typeface="Arial"/>
              </a:rPr>
              <a:t>i</a:t>
            </a:r>
            <a:r>
              <a:rPr lang="en-US" sz="900" b="1" dirty="0">
                <a:solidFill>
                  <a:srgbClr val="404040"/>
                </a:solidFill>
                <a:latin typeface="+mn-lt"/>
                <a:ea typeface="+mn-ea"/>
                <a:cs typeface="Arial"/>
              </a:rPr>
              <a:t>ve</a:t>
            </a:r>
            <a:r>
              <a:rPr lang="en-US" sz="900" b="1" spc="5" dirty="0">
                <a:solidFill>
                  <a:srgbClr val="404040"/>
                </a:solidFill>
                <a:latin typeface="+mn-lt"/>
                <a:ea typeface="+mn-ea"/>
                <a:cs typeface="Arial"/>
              </a:rPr>
              <a:t>r</a:t>
            </a:r>
            <a:r>
              <a:rPr lang="en-US" sz="900" b="1" dirty="0">
                <a:solidFill>
                  <a:srgbClr val="404040"/>
                </a:solidFill>
                <a:latin typeface="+mn-lt"/>
                <a:ea typeface="+mn-ea"/>
                <a:cs typeface="Arial"/>
              </a:rPr>
              <a:t>s</a:t>
            </a:r>
            <a:r>
              <a:rPr lang="en-US" sz="900" b="1" spc="5" dirty="0">
                <a:solidFill>
                  <a:srgbClr val="404040"/>
                </a:solidFill>
                <a:latin typeface="+mn-lt"/>
                <a:ea typeface="+mn-ea"/>
                <a:cs typeface="Arial"/>
              </a:rPr>
              <a:t>e</a:t>
            </a:r>
            <a:r>
              <a:rPr lang="en-US" sz="900" spc="5" dirty="0">
                <a:solidFill>
                  <a:prstClr val="black"/>
                </a:solidFill>
                <a:latin typeface="+mn-lt"/>
                <a:ea typeface="+mn-ea"/>
                <a:cs typeface="Arial"/>
              </a:rPr>
              <a:t> </a:t>
            </a:r>
            <a:r>
              <a:rPr lang="en-US" sz="900" b="1" dirty="0">
                <a:solidFill>
                  <a:srgbClr val="404040"/>
                </a:solidFill>
                <a:latin typeface="+mn-lt"/>
                <a:ea typeface="+mn-ea"/>
                <a:cs typeface="Arial"/>
              </a:rPr>
              <a:t>Data</a:t>
            </a:r>
            <a:endParaRPr lang="en-US" sz="900" dirty="0">
              <a:solidFill>
                <a:prstClr val="black"/>
              </a:solidFill>
              <a:latin typeface="+mn-lt"/>
              <a:ea typeface="+mn-ea"/>
              <a:cs typeface="Arial"/>
            </a:endParaRPr>
          </a:p>
        </p:txBody>
      </p:sp>
      <p:sp>
        <p:nvSpPr>
          <p:cNvPr id="10" name="object 10">
            <a:extLst>
              <a:ext uri="{FF2B5EF4-FFF2-40B4-BE49-F238E27FC236}">
                <a16:creationId xmlns:a16="http://schemas.microsoft.com/office/drawing/2014/main" id="{83ABB21E-48E1-4F8E-BDD7-D8B5761DA159}"/>
              </a:ext>
            </a:extLst>
          </p:cNvPr>
          <p:cNvSpPr txBox="1"/>
          <p:nvPr/>
        </p:nvSpPr>
        <p:spPr>
          <a:xfrm>
            <a:off x="5668340" y="5177557"/>
            <a:ext cx="739140" cy="438784"/>
          </a:xfrm>
          <a:prstGeom prst="rect">
            <a:avLst/>
          </a:prstGeom>
        </p:spPr>
        <p:txBody>
          <a:bodyPr vert="horz" wrap="square" lIns="0" tIns="13970" rIns="0" bIns="0" rtlCol="0">
            <a:spAutoFit/>
          </a:bodyPr>
          <a:lstStyle/>
          <a:p>
            <a:pPr marL="12065" marR="5080" indent="-3175" algn="ctr" eaLnBrk="1" fontAlgn="auto" hangingPunct="1">
              <a:spcBef>
                <a:spcPts val="110"/>
              </a:spcBef>
              <a:spcAft>
                <a:spcPts val="0"/>
              </a:spcAft>
            </a:pPr>
            <a:r>
              <a:rPr lang="en-US" sz="900" b="1" dirty="0">
                <a:solidFill>
                  <a:srgbClr val="404040"/>
                </a:solidFill>
                <a:latin typeface="+mn-lt"/>
                <a:ea typeface="+mn-ea"/>
                <a:cs typeface="Arial"/>
              </a:rPr>
              <a:t>High Speed  </a:t>
            </a:r>
            <a:r>
              <a:rPr lang="en-US" sz="900" b="1" spc="-5" dirty="0">
                <a:solidFill>
                  <a:srgbClr val="404040"/>
                </a:solidFill>
                <a:latin typeface="+mn-lt"/>
                <a:ea typeface="+mn-ea"/>
                <a:cs typeface="Arial"/>
              </a:rPr>
              <a:t>Co</a:t>
            </a:r>
            <a:r>
              <a:rPr lang="en-US" sz="900" b="1" spc="35" dirty="0">
                <a:solidFill>
                  <a:srgbClr val="404040"/>
                </a:solidFill>
                <a:latin typeface="+mn-lt"/>
                <a:ea typeface="+mn-ea"/>
                <a:cs typeface="Arial"/>
              </a:rPr>
              <a:t>m</a:t>
            </a:r>
            <a:r>
              <a:rPr lang="en-US" sz="900" b="1" spc="-5" dirty="0">
                <a:solidFill>
                  <a:srgbClr val="404040"/>
                </a:solidFill>
                <a:latin typeface="+mn-lt"/>
                <a:ea typeface="+mn-ea"/>
                <a:cs typeface="Arial"/>
              </a:rPr>
              <a:t>pu</a:t>
            </a:r>
            <a:r>
              <a:rPr lang="en-US" sz="900" b="1" spc="5" dirty="0">
                <a:solidFill>
                  <a:srgbClr val="404040"/>
                </a:solidFill>
                <a:latin typeface="+mn-lt"/>
                <a:ea typeface="+mn-ea"/>
                <a:cs typeface="Arial"/>
              </a:rPr>
              <a:t>t</a:t>
            </a:r>
            <a:r>
              <a:rPr lang="en-US" sz="900" b="1" dirty="0">
                <a:solidFill>
                  <a:srgbClr val="404040"/>
                </a:solidFill>
                <a:latin typeface="+mn-lt"/>
                <a:ea typeface="+mn-ea"/>
                <a:cs typeface="Arial"/>
              </a:rPr>
              <a:t>a</a:t>
            </a:r>
            <a:r>
              <a:rPr lang="en-US" sz="900" b="1" spc="5" dirty="0">
                <a:solidFill>
                  <a:srgbClr val="404040"/>
                </a:solidFill>
                <a:latin typeface="+mn-lt"/>
                <a:ea typeface="+mn-ea"/>
                <a:cs typeface="Arial"/>
              </a:rPr>
              <a:t>t</a:t>
            </a:r>
            <a:r>
              <a:rPr lang="en-US" sz="900" b="1" spc="-15" dirty="0">
                <a:solidFill>
                  <a:srgbClr val="404040"/>
                </a:solidFill>
                <a:latin typeface="+mn-lt"/>
                <a:ea typeface="+mn-ea"/>
                <a:cs typeface="Arial"/>
              </a:rPr>
              <a:t>i</a:t>
            </a:r>
            <a:r>
              <a:rPr lang="en-US" sz="900" b="1" spc="-5" dirty="0">
                <a:solidFill>
                  <a:srgbClr val="404040"/>
                </a:solidFill>
                <a:latin typeface="+mn-lt"/>
                <a:ea typeface="+mn-ea"/>
                <a:cs typeface="Arial"/>
              </a:rPr>
              <a:t>o</a:t>
            </a:r>
            <a:r>
              <a:rPr lang="en-US" sz="900" b="1" dirty="0">
                <a:solidFill>
                  <a:srgbClr val="404040"/>
                </a:solidFill>
                <a:latin typeface="+mn-lt"/>
                <a:ea typeface="+mn-ea"/>
                <a:cs typeface="Arial"/>
              </a:rPr>
              <a:t>n  Engines</a:t>
            </a:r>
            <a:endParaRPr lang="en-US" sz="900" dirty="0">
              <a:solidFill>
                <a:prstClr val="black"/>
              </a:solidFill>
              <a:latin typeface="+mn-lt"/>
              <a:ea typeface="+mn-ea"/>
              <a:cs typeface="Arial"/>
            </a:endParaRPr>
          </a:p>
        </p:txBody>
      </p:sp>
      <p:sp>
        <p:nvSpPr>
          <p:cNvPr id="11" name="object 11">
            <a:extLst>
              <a:ext uri="{FF2B5EF4-FFF2-40B4-BE49-F238E27FC236}">
                <a16:creationId xmlns:a16="http://schemas.microsoft.com/office/drawing/2014/main" id="{17282B41-6C30-4980-9E04-92D184EDD3DA}"/>
              </a:ext>
            </a:extLst>
          </p:cNvPr>
          <p:cNvSpPr txBox="1"/>
          <p:nvPr/>
        </p:nvSpPr>
        <p:spPr>
          <a:xfrm>
            <a:off x="4101308" y="4165920"/>
            <a:ext cx="1012190" cy="291105"/>
          </a:xfrm>
          <a:prstGeom prst="rect">
            <a:avLst/>
          </a:prstGeom>
        </p:spPr>
        <p:txBody>
          <a:bodyPr vert="horz" wrap="square" lIns="0" tIns="13970" rIns="0" bIns="0" rtlCol="0">
            <a:spAutoFit/>
          </a:bodyPr>
          <a:lstStyle/>
          <a:p>
            <a:pPr marL="21590" marR="5080" indent="-9525" algn="ctr" eaLnBrk="1" fontAlgn="auto" hangingPunct="1">
              <a:spcBef>
                <a:spcPts val="110"/>
              </a:spcBef>
              <a:spcAft>
                <a:spcPts val="0"/>
              </a:spcAft>
            </a:pPr>
            <a:r>
              <a:rPr lang="en-US" sz="900" b="1" spc="-5" dirty="0">
                <a:solidFill>
                  <a:srgbClr val="404040"/>
                </a:solidFill>
                <a:latin typeface="+mn-lt"/>
                <a:ea typeface="+mn-ea"/>
                <a:cs typeface="Arial"/>
              </a:rPr>
              <a:t>En</a:t>
            </a:r>
            <a:r>
              <a:rPr lang="en-US" sz="900" b="1" spc="5" dirty="0">
                <a:solidFill>
                  <a:srgbClr val="404040"/>
                </a:solidFill>
                <a:latin typeface="+mn-lt"/>
                <a:ea typeface="+mn-ea"/>
                <a:cs typeface="Arial"/>
              </a:rPr>
              <a:t>t</a:t>
            </a:r>
            <a:r>
              <a:rPr lang="en-US" sz="900" b="1" dirty="0">
                <a:solidFill>
                  <a:srgbClr val="404040"/>
                </a:solidFill>
                <a:latin typeface="+mn-lt"/>
                <a:ea typeface="+mn-ea"/>
                <a:cs typeface="Arial"/>
              </a:rPr>
              <a:t>er</a:t>
            </a:r>
            <a:r>
              <a:rPr lang="en-US" sz="900" b="1" spc="-5" dirty="0">
                <a:solidFill>
                  <a:srgbClr val="404040"/>
                </a:solidFill>
                <a:latin typeface="+mn-lt"/>
                <a:ea typeface="+mn-ea"/>
                <a:cs typeface="Arial"/>
              </a:rPr>
              <a:t>p</a:t>
            </a:r>
            <a:r>
              <a:rPr lang="en-US" sz="900" b="1" dirty="0">
                <a:solidFill>
                  <a:srgbClr val="404040"/>
                </a:solidFill>
                <a:latin typeface="+mn-lt"/>
                <a:ea typeface="+mn-ea"/>
                <a:cs typeface="Arial"/>
              </a:rPr>
              <a:t>r</a:t>
            </a:r>
            <a:r>
              <a:rPr lang="en-US" sz="900" b="1" spc="5" dirty="0">
                <a:solidFill>
                  <a:srgbClr val="404040"/>
                </a:solidFill>
                <a:latin typeface="+mn-lt"/>
                <a:ea typeface="+mn-ea"/>
                <a:cs typeface="Arial"/>
              </a:rPr>
              <a:t>i</a:t>
            </a:r>
            <a:r>
              <a:rPr lang="en-US" sz="900" b="1" dirty="0">
                <a:solidFill>
                  <a:srgbClr val="404040"/>
                </a:solidFill>
                <a:latin typeface="+mn-lt"/>
                <a:ea typeface="+mn-ea"/>
                <a:cs typeface="Arial"/>
              </a:rPr>
              <a:t>se-</a:t>
            </a:r>
            <a:r>
              <a:rPr lang="en-US" sz="900" b="1" spc="-5" dirty="0">
                <a:solidFill>
                  <a:srgbClr val="404040"/>
                </a:solidFill>
                <a:latin typeface="+mn-lt"/>
                <a:ea typeface="+mn-ea"/>
                <a:cs typeface="Arial"/>
              </a:rPr>
              <a:t>wide </a:t>
            </a:r>
            <a:r>
              <a:rPr lang="en-US" sz="900" b="1" dirty="0">
                <a:solidFill>
                  <a:srgbClr val="404040"/>
                </a:solidFill>
                <a:latin typeface="+mn-lt"/>
                <a:ea typeface="+mn-ea"/>
                <a:cs typeface="Arial"/>
              </a:rPr>
              <a:t>Data Delivery</a:t>
            </a:r>
            <a:endParaRPr lang="en-US" sz="900" dirty="0">
              <a:solidFill>
                <a:prstClr val="black"/>
              </a:solidFill>
              <a:latin typeface="+mn-lt"/>
              <a:ea typeface="+mn-ea"/>
              <a:cs typeface="Arial"/>
            </a:endParaRPr>
          </a:p>
        </p:txBody>
      </p:sp>
      <p:sp>
        <p:nvSpPr>
          <p:cNvPr id="12" name="object 12">
            <a:extLst>
              <a:ext uri="{FF2B5EF4-FFF2-40B4-BE49-F238E27FC236}">
                <a16:creationId xmlns:a16="http://schemas.microsoft.com/office/drawing/2014/main" id="{BE190D82-ECDE-4F1E-AFCB-2F4766CB42DA}"/>
              </a:ext>
            </a:extLst>
          </p:cNvPr>
          <p:cNvSpPr txBox="1"/>
          <p:nvPr/>
        </p:nvSpPr>
        <p:spPr>
          <a:xfrm>
            <a:off x="4500991" y="2404196"/>
            <a:ext cx="871855" cy="301625"/>
          </a:xfrm>
          <a:prstGeom prst="rect">
            <a:avLst/>
          </a:prstGeom>
        </p:spPr>
        <p:txBody>
          <a:bodyPr vert="horz" wrap="square" lIns="0" tIns="13970" rIns="0" bIns="0" rtlCol="0">
            <a:spAutoFit/>
          </a:bodyPr>
          <a:lstStyle/>
          <a:p>
            <a:pPr marL="12700" marR="5080" indent="152400" eaLnBrk="1" fontAlgn="auto" hangingPunct="1">
              <a:spcBef>
                <a:spcPts val="110"/>
              </a:spcBef>
              <a:spcAft>
                <a:spcPts val="0"/>
              </a:spcAft>
            </a:pPr>
            <a:r>
              <a:rPr lang="en-US" sz="900" b="1" dirty="0">
                <a:solidFill>
                  <a:srgbClr val="404040"/>
                </a:solidFill>
                <a:latin typeface="+mn-lt"/>
                <a:ea typeface="+mn-ea"/>
                <a:cs typeface="Arial"/>
              </a:rPr>
              <a:t>Data Lake  Based</a:t>
            </a:r>
            <a:r>
              <a:rPr lang="en-US" sz="900" b="1" spc="-65" dirty="0">
                <a:solidFill>
                  <a:srgbClr val="404040"/>
                </a:solidFill>
                <a:latin typeface="+mn-lt"/>
                <a:ea typeface="+mn-ea"/>
                <a:cs typeface="Arial"/>
              </a:rPr>
              <a:t> </a:t>
            </a:r>
            <a:r>
              <a:rPr lang="en-US" sz="900" b="1" dirty="0">
                <a:solidFill>
                  <a:srgbClr val="404040"/>
                </a:solidFill>
                <a:latin typeface="+mn-lt"/>
                <a:ea typeface="+mn-ea"/>
                <a:cs typeface="Arial"/>
              </a:rPr>
              <a:t>Platform</a:t>
            </a:r>
            <a:endParaRPr lang="en-US" sz="900" dirty="0">
              <a:solidFill>
                <a:prstClr val="black"/>
              </a:solidFill>
              <a:latin typeface="+mn-lt"/>
              <a:ea typeface="+mn-ea"/>
              <a:cs typeface="Arial"/>
            </a:endParaRPr>
          </a:p>
        </p:txBody>
      </p:sp>
      <p:sp>
        <p:nvSpPr>
          <p:cNvPr id="13" name="object 13">
            <a:extLst>
              <a:ext uri="{FF2B5EF4-FFF2-40B4-BE49-F238E27FC236}">
                <a16:creationId xmlns:a16="http://schemas.microsoft.com/office/drawing/2014/main" id="{CB3E8025-53B6-4813-A947-A413EA8EAE11}"/>
              </a:ext>
            </a:extLst>
          </p:cNvPr>
          <p:cNvSpPr/>
          <p:nvPr/>
        </p:nvSpPr>
        <p:spPr>
          <a:xfrm>
            <a:off x="7215707" y="4392392"/>
            <a:ext cx="448055" cy="478536"/>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4" name="object 14">
            <a:extLst>
              <a:ext uri="{FF2B5EF4-FFF2-40B4-BE49-F238E27FC236}">
                <a16:creationId xmlns:a16="http://schemas.microsoft.com/office/drawing/2014/main" id="{AC4D92E0-9A4A-4D0F-BB18-7C807D4BDC5A}"/>
              </a:ext>
            </a:extLst>
          </p:cNvPr>
          <p:cNvSpPr/>
          <p:nvPr/>
        </p:nvSpPr>
        <p:spPr>
          <a:xfrm>
            <a:off x="5879461" y="5651076"/>
            <a:ext cx="405384" cy="432816"/>
          </a:xfrm>
          <a:prstGeom prst="rect">
            <a:avLst/>
          </a:prstGeom>
          <a:blipFill>
            <a:blip r:embed="rId4"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5" name="object 15">
            <a:extLst>
              <a:ext uri="{FF2B5EF4-FFF2-40B4-BE49-F238E27FC236}">
                <a16:creationId xmlns:a16="http://schemas.microsoft.com/office/drawing/2014/main" id="{5B4FEF54-CA91-45D1-903A-CB3B30F98118}"/>
              </a:ext>
            </a:extLst>
          </p:cNvPr>
          <p:cNvSpPr/>
          <p:nvPr/>
        </p:nvSpPr>
        <p:spPr>
          <a:xfrm>
            <a:off x="6908240" y="2872875"/>
            <a:ext cx="420624" cy="402336"/>
          </a:xfrm>
          <a:prstGeom prst="rect">
            <a:avLst/>
          </a:prstGeom>
          <a:blipFill>
            <a:blip r:embed="rId5"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6" name="object 16">
            <a:extLst>
              <a:ext uri="{FF2B5EF4-FFF2-40B4-BE49-F238E27FC236}">
                <a16:creationId xmlns:a16="http://schemas.microsoft.com/office/drawing/2014/main" id="{D2747C21-E556-407C-933E-ACFA8EE25BC7}"/>
              </a:ext>
            </a:extLst>
          </p:cNvPr>
          <p:cNvSpPr txBox="1"/>
          <p:nvPr/>
        </p:nvSpPr>
        <p:spPr>
          <a:xfrm>
            <a:off x="8547809" y="3949581"/>
            <a:ext cx="3119120" cy="936154"/>
          </a:xfrm>
          <a:prstGeom prst="rect">
            <a:avLst/>
          </a:prstGeom>
        </p:spPr>
        <p:txBody>
          <a:bodyPr vert="horz" wrap="square" lIns="0" tIns="12700" rIns="0" bIns="0" rtlCol="0">
            <a:spAutoFit/>
          </a:bodyPr>
          <a:lstStyle>
            <a:defPPr>
              <a:defRPr lang="en-US"/>
            </a:defPPr>
            <a:lvl1pPr marL="194945" marR="7620" indent="-182880" eaLnBrk="1" fontAlgn="auto" hangingPunct="1">
              <a:spcBef>
                <a:spcPts val="100"/>
              </a:spcBef>
              <a:spcAft>
                <a:spcPts val="0"/>
              </a:spcAft>
              <a:defRPr sz="1200" spc="10">
                <a:solidFill>
                  <a:srgbClr val="000000"/>
                </a:solidFill>
                <a:latin typeface="EYInterstate Light" panose="02000506000000020004" pitchFamily="2" charset="0"/>
                <a:ea typeface="+mn-ea"/>
                <a:cs typeface="Arial"/>
              </a:defRPr>
            </a:lvl1pPr>
          </a:lstStyle>
          <a:p>
            <a:r>
              <a:rPr lang="en-US" dirty="0"/>
              <a:t>► Provides support for </a:t>
            </a:r>
            <a:r>
              <a:rPr lang="en-US" b="1" dirty="0"/>
              <a:t>structured and semi-structured, and unstructured data </a:t>
            </a:r>
            <a:r>
              <a:rPr lang="en-US" dirty="0"/>
              <a:t>(such  as, signal, social media, voice / speech,  text, web logs, encrypted packets, etc.)</a:t>
            </a:r>
          </a:p>
        </p:txBody>
      </p:sp>
      <p:sp>
        <p:nvSpPr>
          <p:cNvPr id="17" name="object 17">
            <a:extLst>
              <a:ext uri="{FF2B5EF4-FFF2-40B4-BE49-F238E27FC236}">
                <a16:creationId xmlns:a16="http://schemas.microsoft.com/office/drawing/2014/main" id="{F05132DE-8398-437D-9F42-999EAB9C00ED}"/>
              </a:ext>
            </a:extLst>
          </p:cNvPr>
          <p:cNvSpPr txBox="1"/>
          <p:nvPr/>
        </p:nvSpPr>
        <p:spPr>
          <a:xfrm>
            <a:off x="7740470" y="5537209"/>
            <a:ext cx="3397885" cy="1120820"/>
          </a:xfrm>
          <a:prstGeom prst="rect">
            <a:avLst/>
          </a:prstGeom>
        </p:spPr>
        <p:txBody>
          <a:bodyPr vert="horz" wrap="square" lIns="0" tIns="12700" rIns="0" bIns="0" rtlCol="0">
            <a:spAutoFit/>
          </a:bodyPr>
          <a:lstStyle>
            <a:defPPr>
              <a:defRPr lang="en-US"/>
            </a:defPPr>
            <a:lvl1pPr marL="194945" marR="7620" indent="-182880" eaLnBrk="1" fontAlgn="auto" hangingPunct="1">
              <a:spcBef>
                <a:spcPts val="100"/>
              </a:spcBef>
              <a:spcAft>
                <a:spcPts val="0"/>
              </a:spcAft>
              <a:defRPr sz="900" spc="10">
                <a:solidFill>
                  <a:srgbClr val="000000"/>
                </a:solidFill>
                <a:latin typeface="EYInterstate Light" panose="02000506000000020004" pitchFamily="2" charset="0"/>
                <a:ea typeface="+mn-ea"/>
                <a:cs typeface="Arial"/>
              </a:defRPr>
            </a:lvl1pPr>
          </a:lstStyle>
          <a:p>
            <a:r>
              <a:rPr lang="en-US" sz="1200" dirty="0"/>
              <a:t>► Connected streams (pushing data in real time  and ensuring latest data being consumed in the  event of change in state of data); centralized  business rules ensures data transformations  are applied on the data in real time</a:t>
            </a:r>
          </a:p>
        </p:txBody>
      </p:sp>
      <p:sp>
        <p:nvSpPr>
          <p:cNvPr id="18" name="object 18">
            <a:extLst>
              <a:ext uri="{FF2B5EF4-FFF2-40B4-BE49-F238E27FC236}">
                <a16:creationId xmlns:a16="http://schemas.microsoft.com/office/drawing/2014/main" id="{2783674E-E514-439A-9F85-7983CB3A77A5}"/>
              </a:ext>
            </a:extLst>
          </p:cNvPr>
          <p:cNvSpPr txBox="1"/>
          <p:nvPr/>
        </p:nvSpPr>
        <p:spPr>
          <a:xfrm>
            <a:off x="807769" y="4892437"/>
            <a:ext cx="2910840" cy="941069"/>
          </a:xfrm>
          <a:prstGeom prst="rect">
            <a:avLst/>
          </a:prstGeom>
        </p:spPr>
        <p:txBody>
          <a:bodyPr vert="horz" wrap="square" lIns="0" tIns="12700" rIns="0" bIns="0" rtlCol="0">
            <a:spAutoFit/>
          </a:bodyPr>
          <a:lstStyle/>
          <a:p>
            <a:pPr marL="194945" marR="5080" indent="-182880" eaLnBrk="1" fontAlgn="auto" hangingPunct="1">
              <a:spcBef>
                <a:spcPts val="100"/>
              </a:spcBef>
              <a:spcAft>
                <a:spcPts val="0"/>
              </a:spcAft>
            </a:pPr>
            <a:r>
              <a:rPr lang="en-US" sz="900" spc="10" dirty="0">
                <a:solidFill>
                  <a:srgbClr val="000000"/>
                </a:solidFill>
                <a:latin typeface="EYInterstate Light" panose="02000506000000020004" pitchFamily="2" charset="0"/>
                <a:ea typeface="+mn-ea"/>
                <a:cs typeface="Arial"/>
              </a:rPr>
              <a:t>► </a:t>
            </a:r>
            <a:r>
              <a:rPr lang="en-US" sz="1200" spc="-5" dirty="0">
                <a:solidFill>
                  <a:srgbClr val="000000"/>
                </a:solidFill>
                <a:latin typeface="EYInterstate Light" panose="02000506000000020004" pitchFamily="2" charset="0"/>
                <a:ea typeface="+mn-ea"/>
                <a:cs typeface="Arial"/>
              </a:rPr>
              <a:t>Data </a:t>
            </a:r>
            <a:r>
              <a:rPr lang="en-US" sz="1200" spc="-10" dirty="0">
                <a:solidFill>
                  <a:srgbClr val="000000"/>
                </a:solidFill>
                <a:latin typeface="EYInterstate Light" panose="02000506000000020004" pitchFamily="2" charset="0"/>
                <a:ea typeface="+mn-ea"/>
                <a:cs typeface="Arial"/>
              </a:rPr>
              <a:t>made </a:t>
            </a:r>
            <a:r>
              <a:rPr lang="en-US" sz="1200" dirty="0">
                <a:solidFill>
                  <a:srgbClr val="000000"/>
                </a:solidFill>
                <a:latin typeface="EYInterstate Light" panose="02000506000000020004" pitchFamily="2" charset="0"/>
                <a:ea typeface="+mn-ea"/>
                <a:cs typeface="Arial"/>
              </a:rPr>
              <a:t>available to the enterprise  through </a:t>
            </a:r>
            <a:r>
              <a:rPr lang="en-US" sz="1200" b="1" spc="-5" dirty="0">
                <a:solidFill>
                  <a:srgbClr val="000000"/>
                </a:solidFill>
                <a:latin typeface="EYInterstate Light" panose="02000506000000020004" pitchFamily="2" charset="0"/>
                <a:ea typeface="+mn-ea"/>
                <a:cs typeface="Arial"/>
              </a:rPr>
              <a:t>self-service </a:t>
            </a:r>
            <a:r>
              <a:rPr lang="en-US" sz="1200" dirty="0">
                <a:solidFill>
                  <a:srgbClr val="000000"/>
                </a:solidFill>
                <a:latin typeface="EYInterstate Light" panose="02000506000000020004" pitchFamily="2" charset="0"/>
                <a:ea typeface="+mn-ea"/>
                <a:cs typeface="Arial"/>
              </a:rPr>
              <a:t>analytics </a:t>
            </a:r>
            <a:r>
              <a:rPr lang="en-US" sz="1200" spc="-5" dirty="0">
                <a:solidFill>
                  <a:srgbClr val="000000"/>
                </a:solidFill>
                <a:latin typeface="EYInterstate Light" panose="02000506000000020004" pitchFamily="2" charset="0"/>
                <a:ea typeface="+mn-ea"/>
                <a:cs typeface="Arial"/>
              </a:rPr>
              <a:t>and  </a:t>
            </a:r>
            <a:r>
              <a:rPr lang="en-US" sz="1200" dirty="0">
                <a:solidFill>
                  <a:srgbClr val="000000"/>
                </a:solidFill>
                <a:latin typeface="EYInterstate Light" panose="02000506000000020004" pitchFamily="2" charset="0"/>
                <a:ea typeface="+mn-ea"/>
                <a:cs typeface="Arial"/>
              </a:rPr>
              <a:t>reporting, </a:t>
            </a:r>
            <a:r>
              <a:rPr lang="en-US" sz="1200" spc="-5" dirty="0">
                <a:solidFill>
                  <a:srgbClr val="000000"/>
                </a:solidFill>
                <a:latin typeface="EYInterstate Light" panose="02000506000000020004" pitchFamily="2" charset="0"/>
                <a:ea typeface="+mn-ea"/>
                <a:cs typeface="Arial"/>
              </a:rPr>
              <a:t>advanced </a:t>
            </a:r>
            <a:r>
              <a:rPr lang="en-US" sz="1200" b="1" spc="-5" dirty="0">
                <a:solidFill>
                  <a:srgbClr val="000000"/>
                </a:solidFill>
                <a:latin typeface="EYInterstate Light" panose="02000506000000020004" pitchFamily="2" charset="0"/>
                <a:ea typeface="+mn-ea"/>
                <a:cs typeface="Arial"/>
              </a:rPr>
              <a:t>visualization  </a:t>
            </a:r>
            <a:r>
              <a:rPr lang="en-US" sz="1200" dirty="0">
                <a:solidFill>
                  <a:srgbClr val="000000"/>
                </a:solidFill>
                <a:latin typeface="EYInterstate Light" panose="02000506000000020004" pitchFamily="2" charset="0"/>
                <a:ea typeface="+mn-ea"/>
                <a:cs typeface="Arial"/>
              </a:rPr>
              <a:t>capabilities, </a:t>
            </a:r>
            <a:r>
              <a:rPr lang="en-US" sz="1200" b="1" spc="-5" dirty="0">
                <a:solidFill>
                  <a:srgbClr val="000000"/>
                </a:solidFill>
                <a:latin typeface="EYInterstate Light" panose="02000506000000020004" pitchFamily="2" charset="0"/>
                <a:ea typeface="+mn-ea"/>
                <a:cs typeface="Arial"/>
              </a:rPr>
              <a:t>virtualization</a:t>
            </a:r>
            <a:r>
              <a:rPr lang="en-US" sz="1200" spc="-5" dirty="0">
                <a:solidFill>
                  <a:srgbClr val="000000"/>
                </a:solidFill>
                <a:latin typeface="EYInterstate Light" panose="02000506000000020004" pitchFamily="2" charset="0"/>
                <a:ea typeface="+mn-ea"/>
                <a:cs typeface="Arial"/>
              </a:rPr>
              <a:t>, </a:t>
            </a:r>
            <a:r>
              <a:rPr lang="en-US" sz="1200" dirty="0">
                <a:solidFill>
                  <a:srgbClr val="000000"/>
                </a:solidFill>
                <a:latin typeface="EYInterstate Light" panose="02000506000000020004" pitchFamily="2" charset="0"/>
                <a:ea typeface="+mn-ea"/>
                <a:cs typeface="Arial"/>
              </a:rPr>
              <a:t>and </a:t>
            </a:r>
            <a:r>
              <a:rPr lang="en-US" sz="1200" b="1" spc="-5" dirty="0">
                <a:solidFill>
                  <a:srgbClr val="000000"/>
                </a:solidFill>
                <a:latin typeface="EYInterstate Light" panose="02000506000000020004" pitchFamily="2" charset="0"/>
                <a:ea typeface="+mn-ea"/>
                <a:cs typeface="Arial"/>
              </a:rPr>
              <a:t>context  </a:t>
            </a:r>
            <a:r>
              <a:rPr lang="en-US" sz="1200" b="1" dirty="0">
                <a:solidFill>
                  <a:srgbClr val="000000"/>
                </a:solidFill>
                <a:latin typeface="EYInterstate Light" panose="02000506000000020004" pitchFamily="2" charset="0"/>
                <a:ea typeface="+mn-ea"/>
                <a:cs typeface="Arial"/>
              </a:rPr>
              <a:t>based </a:t>
            </a:r>
            <a:r>
              <a:rPr lang="en-US" sz="1200" dirty="0">
                <a:solidFill>
                  <a:srgbClr val="000000"/>
                </a:solidFill>
                <a:latin typeface="EYInterstate Light" panose="02000506000000020004" pitchFamily="2" charset="0"/>
                <a:ea typeface="+mn-ea"/>
                <a:cs typeface="Arial"/>
              </a:rPr>
              <a:t>data</a:t>
            </a:r>
            <a:r>
              <a:rPr lang="en-US" sz="1200" spc="-60" dirty="0">
                <a:solidFill>
                  <a:srgbClr val="000000"/>
                </a:solidFill>
                <a:latin typeface="EYInterstate Light" panose="02000506000000020004" pitchFamily="2" charset="0"/>
                <a:ea typeface="+mn-ea"/>
                <a:cs typeface="Arial"/>
              </a:rPr>
              <a:t> </a:t>
            </a:r>
            <a:r>
              <a:rPr lang="en-US" sz="1200" spc="5" dirty="0">
                <a:solidFill>
                  <a:srgbClr val="000000"/>
                </a:solidFill>
                <a:latin typeface="EYInterstate Light" panose="02000506000000020004" pitchFamily="2" charset="0"/>
                <a:ea typeface="+mn-ea"/>
                <a:cs typeface="Arial"/>
              </a:rPr>
              <a:t>delivery</a:t>
            </a:r>
            <a:endParaRPr lang="en-US" sz="1200" dirty="0">
              <a:solidFill>
                <a:srgbClr val="000000"/>
              </a:solidFill>
              <a:latin typeface="EYInterstate Light" panose="02000506000000020004" pitchFamily="2" charset="0"/>
              <a:ea typeface="+mn-ea"/>
              <a:cs typeface="Arial"/>
            </a:endParaRPr>
          </a:p>
        </p:txBody>
      </p:sp>
      <p:sp>
        <p:nvSpPr>
          <p:cNvPr id="23" name="Chevron 26">
            <a:extLst>
              <a:ext uri="{FF2B5EF4-FFF2-40B4-BE49-F238E27FC236}">
                <a16:creationId xmlns:a16="http://schemas.microsoft.com/office/drawing/2014/main" id="{5225C14D-0563-4B5D-ABE0-2DF2A357C211}"/>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dirty="0">
                <a:solidFill>
                  <a:schemeClr val="bg2"/>
                </a:solidFill>
                <a:latin typeface="EYInterstate"/>
                <a:sym typeface="EYInterstate Light" panose="02000506000000020004" pitchFamily="2" charset="0"/>
              </a:rPr>
              <a:t>Point of View</a:t>
            </a:r>
          </a:p>
        </p:txBody>
      </p:sp>
    </p:spTree>
    <p:extLst>
      <p:ext uri="{BB962C8B-B14F-4D97-AF65-F5344CB8AC3E}">
        <p14:creationId xmlns:p14="http://schemas.microsoft.com/office/powerpoint/2010/main" val="12387517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0F4F9-77BC-464D-B4DE-210A0F031E42}"/>
              </a:ext>
            </a:extLst>
          </p:cNvPr>
          <p:cNvSpPr>
            <a:spLocks noGrp="1"/>
          </p:cNvSpPr>
          <p:nvPr>
            <p:ph type="title"/>
          </p:nvPr>
        </p:nvSpPr>
        <p:spPr/>
        <p:txBody>
          <a:bodyPr/>
          <a:lstStyle/>
          <a:p>
            <a:r>
              <a:rPr lang="en-US" dirty="0"/>
              <a:t>Legacy Architecture v/s Next Gen Architecture</a:t>
            </a:r>
          </a:p>
        </p:txBody>
      </p:sp>
      <p:sp>
        <p:nvSpPr>
          <p:cNvPr id="97" name="object 3">
            <a:extLst>
              <a:ext uri="{FF2B5EF4-FFF2-40B4-BE49-F238E27FC236}">
                <a16:creationId xmlns:a16="http://schemas.microsoft.com/office/drawing/2014/main" id="{8EAF7B3A-EBAC-47F9-AE34-D8D0A33E3ACD}"/>
              </a:ext>
            </a:extLst>
          </p:cNvPr>
          <p:cNvSpPr txBox="1"/>
          <p:nvPr/>
        </p:nvSpPr>
        <p:spPr>
          <a:xfrm>
            <a:off x="3085082" y="2253177"/>
            <a:ext cx="3001330" cy="1175963"/>
          </a:xfrm>
          <a:prstGeom prst="rect">
            <a:avLst/>
          </a:prstGeom>
        </p:spPr>
        <p:txBody>
          <a:bodyPr vert="horz" wrap="square" lIns="0" tIns="41910" rIns="0" bIns="0" rtlCol="0">
            <a:spAutoFit/>
          </a:bodyPr>
          <a:lstStyle/>
          <a:p>
            <a:pPr marL="12700" eaLnBrk="1" fontAlgn="auto" hangingPunct="1">
              <a:spcBef>
                <a:spcPts val="330"/>
              </a:spcBef>
              <a:spcAft>
                <a:spcPts val="0"/>
              </a:spcAft>
            </a:pPr>
            <a:r>
              <a:rPr lang="en-US" sz="1600" b="1" spc="110" dirty="0">
                <a:solidFill>
                  <a:prstClr val="black"/>
                </a:solidFill>
                <a:latin typeface="+mn-lt"/>
                <a:ea typeface="+mn-ea"/>
                <a:cs typeface="Trebuchet MS"/>
              </a:rPr>
              <a:t>Legacy Architecture</a:t>
            </a:r>
            <a:endParaRPr lang="en-US" sz="1600" dirty="0">
              <a:solidFill>
                <a:prstClr val="black"/>
              </a:solidFill>
              <a:latin typeface="+mn-lt"/>
              <a:ea typeface="+mn-ea"/>
              <a:cs typeface="Trebuchet MS"/>
            </a:endParaRPr>
          </a:p>
          <a:p>
            <a:pPr marL="12700" marR="5080" eaLnBrk="1" fontAlgn="auto" hangingPunct="1">
              <a:lnSpc>
                <a:spcPct val="100400"/>
              </a:lnSpc>
              <a:spcBef>
                <a:spcPts val="150"/>
              </a:spcBef>
              <a:spcAft>
                <a:spcPts val="0"/>
              </a:spcAft>
            </a:pPr>
            <a:r>
              <a:rPr lang="en-US" sz="1400" spc="10" dirty="0">
                <a:solidFill>
                  <a:prstClr val="black"/>
                </a:solidFill>
                <a:latin typeface="+mj-lt"/>
                <a:ea typeface="+mn-ea"/>
              </a:rPr>
              <a:t>Traditional warehouse based  architecture with numerous hops,  rigid data model, and manual  processes</a:t>
            </a:r>
          </a:p>
        </p:txBody>
      </p:sp>
      <p:sp>
        <p:nvSpPr>
          <p:cNvPr id="98" name="object 4">
            <a:extLst>
              <a:ext uri="{FF2B5EF4-FFF2-40B4-BE49-F238E27FC236}">
                <a16:creationId xmlns:a16="http://schemas.microsoft.com/office/drawing/2014/main" id="{045FADF4-E33B-4E99-9751-74E092853C4A}"/>
              </a:ext>
            </a:extLst>
          </p:cNvPr>
          <p:cNvSpPr/>
          <p:nvPr/>
        </p:nvSpPr>
        <p:spPr>
          <a:xfrm>
            <a:off x="5495859" y="4131799"/>
            <a:ext cx="1143383" cy="1862326"/>
          </a:xfrm>
          <a:custGeom>
            <a:avLst/>
            <a:gdLst/>
            <a:ahLst/>
            <a:cxnLst/>
            <a:rect l="l" t="t" r="r" b="b"/>
            <a:pathLst>
              <a:path w="567054" h="1548764">
                <a:moveTo>
                  <a:pt x="211962" y="0"/>
                </a:moveTo>
                <a:lnTo>
                  <a:pt x="211962" y="387095"/>
                </a:lnTo>
                <a:lnTo>
                  <a:pt x="0" y="387095"/>
                </a:lnTo>
                <a:lnTo>
                  <a:pt x="0" y="1161288"/>
                </a:lnTo>
                <a:lnTo>
                  <a:pt x="211962" y="1161288"/>
                </a:lnTo>
                <a:lnTo>
                  <a:pt x="211962" y="1548384"/>
                </a:lnTo>
                <a:lnTo>
                  <a:pt x="566927" y="774192"/>
                </a:lnTo>
                <a:lnTo>
                  <a:pt x="211962" y="0"/>
                </a:lnTo>
                <a:close/>
              </a:path>
            </a:pathLst>
          </a:custGeom>
          <a:solidFill>
            <a:srgbClr val="00A2AD"/>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99" name="object 5">
            <a:extLst>
              <a:ext uri="{FF2B5EF4-FFF2-40B4-BE49-F238E27FC236}">
                <a16:creationId xmlns:a16="http://schemas.microsoft.com/office/drawing/2014/main" id="{98A10339-A0ED-4703-983F-104A0C2F1E73}"/>
              </a:ext>
            </a:extLst>
          </p:cNvPr>
          <p:cNvSpPr/>
          <p:nvPr/>
        </p:nvSpPr>
        <p:spPr>
          <a:xfrm>
            <a:off x="1264411" y="2031492"/>
            <a:ext cx="1624965" cy="1624965"/>
          </a:xfrm>
          <a:custGeom>
            <a:avLst/>
            <a:gdLst/>
            <a:ahLst/>
            <a:cxnLst/>
            <a:rect l="l" t="t" r="r" b="b"/>
            <a:pathLst>
              <a:path w="1624964" h="1624964">
                <a:moveTo>
                  <a:pt x="0" y="812292"/>
                </a:moveTo>
                <a:lnTo>
                  <a:pt x="1379" y="764568"/>
                </a:lnTo>
                <a:lnTo>
                  <a:pt x="5465" y="717571"/>
                </a:lnTo>
                <a:lnTo>
                  <a:pt x="12183" y="671375"/>
                </a:lnTo>
                <a:lnTo>
                  <a:pt x="21455" y="626057"/>
                </a:lnTo>
                <a:lnTo>
                  <a:pt x="33207" y="581693"/>
                </a:lnTo>
                <a:lnTo>
                  <a:pt x="47361" y="538360"/>
                </a:lnTo>
                <a:lnTo>
                  <a:pt x="63841" y="496133"/>
                </a:lnTo>
                <a:lnTo>
                  <a:pt x="82571" y="455089"/>
                </a:lnTo>
                <a:lnTo>
                  <a:pt x="103475" y="415304"/>
                </a:lnTo>
                <a:lnTo>
                  <a:pt x="126477" y="376855"/>
                </a:lnTo>
                <a:lnTo>
                  <a:pt x="151499" y="339817"/>
                </a:lnTo>
                <a:lnTo>
                  <a:pt x="178467" y="304266"/>
                </a:lnTo>
                <a:lnTo>
                  <a:pt x="207304" y="270280"/>
                </a:lnTo>
                <a:lnTo>
                  <a:pt x="237934" y="237934"/>
                </a:lnTo>
                <a:lnTo>
                  <a:pt x="270280" y="207304"/>
                </a:lnTo>
                <a:lnTo>
                  <a:pt x="304266" y="178467"/>
                </a:lnTo>
                <a:lnTo>
                  <a:pt x="339817" y="151499"/>
                </a:lnTo>
                <a:lnTo>
                  <a:pt x="376855" y="126477"/>
                </a:lnTo>
                <a:lnTo>
                  <a:pt x="415304" y="103475"/>
                </a:lnTo>
                <a:lnTo>
                  <a:pt x="455089" y="82571"/>
                </a:lnTo>
                <a:lnTo>
                  <a:pt x="496133" y="63841"/>
                </a:lnTo>
                <a:lnTo>
                  <a:pt x="538360" y="47361"/>
                </a:lnTo>
                <a:lnTo>
                  <a:pt x="581693" y="33207"/>
                </a:lnTo>
                <a:lnTo>
                  <a:pt x="626057" y="21455"/>
                </a:lnTo>
                <a:lnTo>
                  <a:pt x="671375" y="12183"/>
                </a:lnTo>
                <a:lnTo>
                  <a:pt x="717571" y="5465"/>
                </a:lnTo>
                <a:lnTo>
                  <a:pt x="764568" y="1379"/>
                </a:lnTo>
                <a:lnTo>
                  <a:pt x="812292" y="0"/>
                </a:lnTo>
                <a:lnTo>
                  <a:pt x="860015" y="1379"/>
                </a:lnTo>
                <a:lnTo>
                  <a:pt x="907012" y="5465"/>
                </a:lnTo>
                <a:lnTo>
                  <a:pt x="953208" y="12183"/>
                </a:lnTo>
                <a:lnTo>
                  <a:pt x="998526" y="21455"/>
                </a:lnTo>
                <a:lnTo>
                  <a:pt x="1042890" y="33207"/>
                </a:lnTo>
                <a:lnTo>
                  <a:pt x="1086223" y="47361"/>
                </a:lnTo>
                <a:lnTo>
                  <a:pt x="1128450" y="63841"/>
                </a:lnTo>
                <a:lnTo>
                  <a:pt x="1169494" y="82571"/>
                </a:lnTo>
                <a:lnTo>
                  <a:pt x="1209279" y="103475"/>
                </a:lnTo>
                <a:lnTo>
                  <a:pt x="1247728" y="126477"/>
                </a:lnTo>
                <a:lnTo>
                  <a:pt x="1284766" y="151499"/>
                </a:lnTo>
                <a:lnTo>
                  <a:pt x="1320317" y="178467"/>
                </a:lnTo>
                <a:lnTo>
                  <a:pt x="1354303" y="207304"/>
                </a:lnTo>
                <a:lnTo>
                  <a:pt x="1386649" y="237934"/>
                </a:lnTo>
                <a:lnTo>
                  <a:pt x="1417279" y="270280"/>
                </a:lnTo>
                <a:lnTo>
                  <a:pt x="1446116" y="304266"/>
                </a:lnTo>
                <a:lnTo>
                  <a:pt x="1473084" y="339817"/>
                </a:lnTo>
                <a:lnTo>
                  <a:pt x="1498106" y="376855"/>
                </a:lnTo>
                <a:lnTo>
                  <a:pt x="1521108" y="415304"/>
                </a:lnTo>
                <a:lnTo>
                  <a:pt x="1542012" y="455089"/>
                </a:lnTo>
                <a:lnTo>
                  <a:pt x="1560742" y="496133"/>
                </a:lnTo>
                <a:lnTo>
                  <a:pt x="1577222" y="538360"/>
                </a:lnTo>
                <a:lnTo>
                  <a:pt x="1591376" y="581693"/>
                </a:lnTo>
                <a:lnTo>
                  <a:pt x="1603128" y="626057"/>
                </a:lnTo>
                <a:lnTo>
                  <a:pt x="1612400" y="671375"/>
                </a:lnTo>
                <a:lnTo>
                  <a:pt x="1619118" y="717571"/>
                </a:lnTo>
                <a:lnTo>
                  <a:pt x="1623204" y="764568"/>
                </a:lnTo>
                <a:lnTo>
                  <a:pt x="1624583" y="812292"/>
                </a:lnTo>
                <a:lnTo>
                  <a:pt x="1623204" y="860015"/>
                </a:lnTo>
                <a:lnTo>
                  <a:pt x="1619118" y="907012"/>
                </a:lnTo>
                <a:lnTo>
                  <a:pt x="1612400" y="953208"/>
                </a:lnTo>
                <a:lnTo>
                  <a:pt x="1603128" y="998526"/>
                </a:lnTo>
                <a:lnTo>
                  <a:pt x="1591376" y="1042890"/>
                </a:lnTo>
                <a:lnTo>
                  <a:pt x="1577222" y="1086223"/>
                </a:lnTo>
                <a:lnTo>
                  <a:pt x="1560742" y="1128450"/>
                </a:lnTo>
                <a:lnTo>
                  <a:pt x="1542012" y="1169494"/>
                </a:lnTo>
                <a:lnTo>
                  <a:pt x="1521108" y="1209279"/>
                </a:lnTo>
                <a:lnTo>
                  <a:pt x="1498106" y="1247728"/>
                </a:lnTo>
                <a:lnTo>
                  <a:pt x="1473084" y="1284766"/>
                </a:lnTo>
                <a:lnTo>
                  <a:pt x="1446116" y="1320317"/>
                </a:lnTo>
                <a:lnTo>
                  <a:pt x="1417279" y="1354303"/>
                </a:lnTo>
                <a:lnTo>
                  <a:pt x="1386649" y="1386649"/>
                </a:lnTo>
                <a:lnTo>
                  <a:pt x="1354303" y="1417279"/>
                </a:lnTo>
                <a:lnTo>
                  <a:pt x="1320317" y="1446116"/>
                </a:lnTo>
                <a:lnTo>
                  <a:pt x="1284766" y="1473084"/>
                </a:lnTo>
                <a:lnTo>
                  <a:pt x="1247728" y="1498106"/>
                </a:lnTo>
                <a:lnTo>
                  <a:pt x="1209279" y="1521108"/>
                </a:lnTo>
                <a:lnTo>
                  <a:pt x="1169494" y="1542012"/>
                </a:lnTo>
                <a:lnTo>
                  <a:pt x="1128450" y="1560742"/>
                </a:lnTo>
                <a:lnTo>
                  <a:pt x="1086223" y="1577222"/>
                </a:lnTo>
                <a:lnTo>
                  <a:pt x="1042890" y="1591376"/>
                </a:lnTo>
                <a:lnTo>
                  <a:pt x="998526" y="1603128"/>
                </a:lnTo>
                <a:lnTo>
                  <a:pt x="953208" y="1612400"/>
                </a:lnTo>
                <a:lnTo>
                  <a:pt x="907012" y="1619118"/>
                </a:lnTo>
                <a:lnTo>
                  <a:pt x="860015" y="1623204"/>
                </a:lnTo>
                <a:lnTo>
                  <a:pt x="812292" y="1624584"/>
                </a:lnTo>
                <a:lnTo>
                  <a:pt x="764568" y="1623204"/>
                </a:lnTo>
                <a:lnTo>
                  <a:pt x="717571" y="1619118"/>
                </a:lnTo>
                <a:lnTo>
                  <a:pt x="671375" y="1612400"/>
                </a:lnTo>
                <a:lnTo>
                  <a:pt x="626057" y="1603128"/>
                </a:lnTo>
                <a:lnTo>
                  <a:pt x="581693" y="1591376"/>
                </a:lnTo>
                <a:lnTo>
                  <a:pt x="538360" y="1577222"/>
                </a:lnTo>
                <a:lnTo>
                  <a:pt x="496133" y="1560742"/>
                </a:lnTo>
                <a:lnTo>
                  <a:pt x="455089" y="1542012"/>
                </a:lnTo>
                <a:lnTo>
                  <a:pt x="415304" y="1521108"/>
                </a:lnTo>
                <a:lnTo>
                  <a:pt x="376855" y="1498106"/>
                </a:lnTo>
                <a:lnTo>
                  <a:pt x="339817" y="1473084"/>
                </a:lnTo>
                <a:lnTo>
                  <a:pt x="304266" y="1446116"/>
                </a:lnTo>
                <a:lnTo>
                  <a:pt x="270280" y="1417279"/>
                </a:lnTo>
                <a:lnTo>
                  <a:pt x="237934" y="1386649"/>
                </a:lnTo>
                <a:lnTo>
                  <a:pt x="207304" y="1354303"/>
                </a:lnTo>
                <a:lnTo>
                  <a:pt x="178467" y="1320317"/>
                </a:lnTo>
                <a:lnTo>
                  <a:pt x="151499" y="1284766"/>
                </a:lnTo>
                <a:lnTo>
                  <a:pt x="126477" y="1247728"/>
                </a:lnTo>
                <a:lnTo>
                  <a:pt x="103475" y="1209279"/>
                </a:lnTo>
                <a:lnTo>
                  <a:pt x="82571" y="1169494"/>
                </a:lnTo>
                <a:lnTo>
                  <a:pt x="63841" y="1128450"/>
                </a:lnTo>
                <a:lnTo>
                  <a:pt x="47361" y="1086223"/>
                </a:lnTo>
                <a:lnTo>
                  <a:pt x="33207" y="1042890"/>
                </a:lnTo>
                <a:lnTo>
                  <a:pt x="21455" y="998526"/>
                </a:lnTo>
                <a:lnTo>
                  <a:pt x="12183" y="953208"/>
                </a:lnTo>
                <a:lnTo>
                  <a:pt x="5465" y="907012"/>
                </a:lnTo>
                <a:lnTo>
                  <a:pt x="1379" y="860015"/>
                </a:lnTo>
                <a:lnTo>
                  <a:pt x="0" y="812292"/>
                </a:lnTo>
                <a:close/>
              </a:path>
            </a:pathLst>
          </a:custGeom>
          <a:ln w="57912">
            <a:solidFill>
              <a:srgbClr val="999999"/>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00" name="object 6">
            <a:extLst>
              <a:ext uri="{FF2B5EF4-FFF2-40B4-BE49-F238E27FC236}">
                <a16:creationId xmlns:a16="http://schemas.microsoft.com/office/drawing/2014/main" id="{B33E47AD-3B28-4AFC-98CC-64A1201568DA}"/>
              </a:ext>
            </a:extLst>
          </p:cNvPr>
          <p:cNvSpPr/>
          <p:nvPr/>
        </p:nvSpPr>
        <p:spPr>
          <a:xfrm>
            <a:off x="1537208" y="4447032"/>
            <a:ext cx="143255" cy="146304"/>
          </a:xfrm>
          <a:prstGeom prst="rect">
            <a:avLst/>
          </a:prstGeom>
          <a:blipFill>
            <a:blip r:embed="rId2"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01" name="object 7">
            <a:extLst>
              <a:ext uri="{FF2B5EF4-FFF2-40B4-BE49-F238E27FC236}">
                <a16:creationId xmlns:a16="http://schemas.microsoft.com/office/drawing/2014/main" id="{2B92FB96-D83A-4E68-8C7F-5B74EFB829B7}"/>
              </a:ext>
            </a:extLst>
          </p:cNvPr>
          <p:cNvSpPr/>
          <p:nvPr/>
        </p:nvSpPr>
        <p:spPr>
          <a:xfrm>
            <a:off x="1732279" y="2267711"/>
            <a:ext cx="646430" cy="631190"/>
          </a:xfrm>
          <a:custGeom>
            <a:avLst/>
            <a:gdLst/>
            <a:ahLst/>
            <a:cxnLst/>
            <a:rect l="l" t="t" r="r" b="b"/>
            <a:pathLst>
              <a:path w="646430" h="631189">
                <a:moveTo>
                  <a:pt x="155575" y="213105"/>
                </a:moveTo>
                <a:lnTo>
                  <a:pt x="98551" y="213105"/>
                </a:lnTo>
                <a:lnTo>
                  <a:pt x="74421" y="217297"/>
                </a:lnTo>
                <a:lnTo>
                  <a:pt x="35051" y="231901"/>
                </a:lnTo>
                <a:lnTo>
                  <a:pt x="2158" y="271652"/>
                </a:lnTo>
                <a:lnTo>
                  <a:pt x="0" y="286258"/>
                </a:lnTo>
                <a:lnTo>
                  <a:pt x="0" y="553592"/>
                </a:lnTo>
                <a:lnTo>
                  <a:pt x="2158" y="570357"/>
                </a:lnTo>
                <a:lnTo>
                  <a:pt x="8762" y="584962"/>
                </a:lnTo>
                <a:lnTo>
                  <a:pt x="19684" y="597535"/>
                </a:lnTo>
                <a:lnTo>
                  <a:pt x="35051" y="607949"/>
                </a:lnTo>
                <a:lnTo>
                  <a:pt x="52577" y="620522"/>
                </a:lnTo>
                <a:lnTo>
                  <a:pt x="74421" y="624713"/>
                </a:lnTo>
                <a:lnTo>
                  <a:pt x="98551" y="630936"/>
                </a:lnTo>
                <a:lnTo>
                  <a:pt x="148970" y="630936"/>
                </a:lnTo>
                <a:lnTo>
                  <a:pt x="173100" y="624713"/>
                </a:lnTo>
                <a:lnTo>
                  <a:pt x="194944" y="620522"/>
                </a:lnTo>
                <a:lnTo>
                  <a:pt x="212470" y="607949"/>
                </a:lnTo>
                <a:lnTo>
                  <a:pt x="227837" y="597535"/>
                </a:lnTo>
                <a:lnTo>
                  <a:pt x="240919" y="584962"/>
                </a:lnTo>
                <a:lnTo>
                  <a:pt x="245363" y="570357"/>
                </a:lnTo>
                <a:lnTo>
                  <a:pt x="249681" y="553592"/>
                </a:lnTo>
                <a:lnTo>
                  <a:pt x="249681" y="344677"/>
                </a:lnTo>
                <a:lnTo>
                  <a:pt x="124840" y="344677"/>
                </a:lnTo>
                <a:lnTo>
                  <a:pt x="107314" y="340487"/>
                </a:lnTo>
                <a:lnTo>
                  <a:pt x="63500" y="325882"/>
                </a:lnTo>
                <a:lnTo>
                  <a:pt x="39369" y="300863"/>
                </a:lnTo>
                <a:lnTo>
                  <a:pt x="35051" y="290449"/>
                </a:lnTo>
                <a:lnTo>
                  <a:pt x="39369" y="277875"/>
                </a:lnTo>
                <a:lnTo>
                  <a:pt x="41656" y="267462"/>
                </a:lnTo>
                <a:lnTo>
                  <a:pt x="50418" y="259079"/>
                </a:lnTo>
                <a:lnTo>
                  <a:pt x="63500" y="248665"/>
                </a:lnTo>
                <a:lnTo>
                  <a:pt x="74421" y="244475"/>
                </a:lnTo>
                <a:lnTo>
                  <a:pt x="89788" y="238125"/>
                </a:lnTo>
                <a:lnTo>
                  <a:pt x="107314" y="236092"/>
                </a:lnTo>
                <a:lnTo>
                  <a:pt x="216153" y="236092"/>
                </a:lnTo>
                <a:lnTo>
                  <a:pt x="210312" y="231901"/>
                </a:lnTo>
                <a:lnTo>
                  <a:pt x="223487" y="221487"/>
                </a:lnTo>
                <a:lnTo>
                  <a:pt x="184022" y="221487"/>
                </a:lnTo>
                <a:lnTo>
                  <a:pt x="155575" y="213105"/>
                </a:lnTo>
                <a:close/>
              </a:path>
              <a:path w="646430" h="631189">
                <a:moveTo>
                  <a:pt x="216153" y="236092"/>
                </a:moveTo>
                <a:lnTo>
                  <a:pt x="140207" y="236092"/>
                </a:lnTo>
                <a:lnTo>
                  <a:pt x="159893" y="238125"/>
                </a:lnTo>
                <a:lnTo>
                  <a:pt x="173100" y="244475"/>
                </a:lnTo>
                <a:lnTo>
                  <a:pt x="186181" y="248665"/>
                </a:lnTo>
                <a:lnTo>
                  <a:pt x="197103" y="259079"/>
                </a:lnTo>
                <a:lnTo>
                  <a:pt x="208152" y="267462"/>
                </a:lnTo>
                <a:lnTo>
                  <a:pt x="210312" y="277875"/>
                </a:lnTo>
                <a:lnTo>
                  <a:pt x="212470" y="290449"/>
                </a:lnTo>
                <a:lnTo>
                  <a:pt x="210312" y="300863"/>
                </a:lnTo>
                <a:lnTo>
                  <a:pt x="208152" y="309245"/>
                </a:lnTo>
                <a:lnTo>
                  <a:pt x="197103" y="317500"/>
                </a:lnTo>
                <a:lnTo>
                  <a:pt x="186181" y="325882"/>
                </a:lnTo>
                <a:lnTo>
                  <a:pt x="173100" y="332232"/>
                </a:lnTo>
                <a:lnTo>
                  <a:pt x="159893" y="338454"/>
                </a:lnTo>
                <a:lnTo>
                  <a:pt x="140207" y="340487"/>
                </a:lnTo>
                <a:lnTo>
                  <a:pt x="124840" y="344677"/>
                </a:lnTo>
                <a:lnTo>
                  <a:pt x="249681" y="344677"/>
                </a:lnTo>
                <a:lnTo>
                  <a:pt x="249681" y="286258"/>
                </a:lnTo>
                <a:lnTo>
                  <a:pt x="245363" y="271652"/>
                </a:lnTo>
                <a:lnTo>
                  <a:pt x="240919" y="259079"/>
                </a:lnTo>
                <a:lnTo>
                  <a:pt x="227837" y="244475"/>
                </a:lnTo>
                <a:lnTo>
                  <a:pt x="216153" y="236092"/>
                </a:lnTo>
                <a:close/>
              </a:path>
              <a:path w="646430" h="631189">
                <a:moveTo>
                  <a:pt x="586994" y="284099"/>
                </a:moveTo>
                <a:lnTo>
                  <a:pt x="556387" y="284099"/>
                </a:lnTo>
                <a:lnTo>
                  <a:pt x="571753" y="286258"/>
                </a:lnTo>
                <a:lnTo>
                  <a:pt x="586994" y="284099"/>
                </a:lnTo>
                <a:close/>
              </a:path>
              <a:path w="646430" h="631189">
                <a:moveTo>
                  <a:pt x="646176" y="148336"/>
                </a:moveTo>
                <a:lnTo>
                  <a:pt x="411861" y="148336"/>
                </a:lnTo>
                <a:lnTo>
                  <a:pt x="492887" y="167132"/>
                </a:lnTo>
                <a:lnTo>
                  <a:pt x="492887" y="240284"/>
                </a:lnTo>
                <a:lnTo>
                  <a:pt x="495045" y="248665"/>
                </a:lnTo>
                <a:lnTo>
                  <a:pt x="499363" y="259079"/>
                </a:lnTo>
                <a:lnTo>
                  <a:pt x="508126" y="267462"/>
                </a:lnTo>
                <a:lnTo>
                  <a:pt x="530097" y="277875"/>
                </a:lnTo>
                <a:lnTo>
                  <a:pt x="541019" y="284099"/>
                </a:lnTo>
                <a:lnTo>
                  <a:pt x="602361" y="284099"/>
                </a:lnTo>
                <a:lnTo>
                  <a:pt x="613282" y="277875"/>
                </a:lnTo>
                <a:lnTo>
                  <a:pt x="635253" y="267462"/>
                </a:lnTo>
                <a:lnTo>
                  <a:pt x="639571" y="259079"/>
                </a:lnTo>
                <a:lnTo>
                  <a:pt x="646176" y="248665"/>
                </a:lnTo>
                <a:lnTo>
                  <a:pt x="646176" y="148336"/>
                </a:lnTo>
                <a:close/>
              </a:path>
              <a:path w="646430" h="631189">
                <a:moveTo>
                  <a:pt x="411861" y="192150"/>
                </a:moveTo>
                <a:lnTo>
                  <a:pt x="260603" y="192150"/>
                </a:lnTo>
                <a:lnTo>
                  <a:pt x="260603" y="206883"/>
                </a:lnTo>
                <a:lnTo>
                  <a:pt x="265049" y="215137"/>
                </a:lnTo>
                <a:lnTo>
                  <a:pt x="267207" y="223520"/>
                </a:lnTo>
                <a:lnTo>
                  <a:pt x="275970" y="231901"/>
                </a:lnTo>
                <a:lnTo>
                  <a:pt x="284733" y="238125"/>
                </a:lnTo>
                <a:lnTo>
                  <a:pt x="293496" y="244475"/>
                </a:lnTo>
                <a:lnTo>
                  <a:pt x="308863" y="246507"/>
                </a:lnTo>
                <a:lnTo>
                  <a:pt x="321944" y="248665"/>
                </a:lnTo>
                <a:lnTo>
                  <a:pt x="337312" y="252729"/>
                </a:lnTo>
                <a:lnTo>
                  <a:pt x="352678" y="248665"/>
                </a:lnTo>
                <a:lnTo>
                  <a:pt x="365759" y="246507"/>
                </a:lnTo>
                <a:lnTo>
                  <a:pt x="378968" y="244475"/>
                </a:lnTo>
                <a:lnTo>
                  <a:pt x="389889" y="238125"/>
                </a:lnTo>
                <a:lnTo>
                  <a:pt x="400812" y="231901"/>
                </a:lnTo>
                <a:lnTo>
                  <a:pt x="405256" y="223520"/>
                </a:lnTo>
                <a:lnTo>
                  <a:pt x="411861" y="215137"/>
                </a:lnTo>
                <a:lnTo>
                  <a:pt x="411861" y="192150"/>
                </a:lnTo>
                <a:close/>
              </a:path>
              <a:path w="646430" h="631189">
                <a:moveTo>
                  <a:pt x="365759" y="2032"/>
                </a:moveTo>
                <a:lnTo>
                  <a:pt x="308863" y="2032"/>
                </a:lnTo>
                <a:lnTo>
                  <a:pt x="293496" y="8382"/>
                </a:lnTo>
                <a:lnTo>
                  <a:pt x="284733" y="14604"/>
                </a:lnTo>
                <a:lnTo>
                  <a:pt x="275970" y="18796"/>
                </a:lnTo>
                <a:lnTo>
                  <a:pt x="267207" y="29210"/>
                </a:lnTo>
                <a:lnTo>
                  <a:pt x="265049" y="37591"/>
                </a:lnTo>
                <a:lnTo>
                  <a:pt x="260603" y="45974"/>
                </a:lnTo>
                <a:lnTo>
                  <a:pt x="260603" y="156717"/>
                </a:lnTo>
                <a:lnTo>
                  <a:pt x="184022" y="221487"/>
                </a:lnTo>
                <a:lnTo>
                  <a:pt x="223487" y="221487"/>
                </a:lnTo>
                <a:lnTo>
                  <a:pt x="260603" y="192150"/>
                </a:lnTo>
                <a:lnTo>
                  <a:pt x="411861" y="192150"/>
                </a:lnTo>
                <a:lnTo>
                  <a:pt x="411861" y="148336"/>
                </a:lnTo>
                <a:lnTo>
                  <a:pt x="646176" y="148336"/>
                </a:lnTo>
                <a:lnTo>
                  <a:pt x="646176" y="133730"/>
                </a:lnTo>
                <a:lnTo>
                  <a:pt x="492887" y="133730"/>
                </a:lnTo>
                <a:lnTo>
                  <a:pt x="411861" y="116966"/>
                </a:lnTo>
                <a:lnTo>
                  <a:pt x="411861" y="79375"/>
                </a:lnTo>
                <a:lnTo>
                  <a:pt x="337312" y="79375"/>
                </a:lnTo>
                <a:lnTo>
                  <a:pt x="315468" y="77342"/>
                </a:lnTo>
                <a:lnTo>
                  <a:pt x="300100" y="68961"/>
                </a:lnTo>
                <a:lnTo>
                  <a:pt x="289178" y="60578"/>
                </a:lnTo>
                <a:lnTo>
                  <a:pt x="284733" y="54355"/>
                </a:lnTo>
                <a:lnTo>
                  <a:pt x="284733" y="39750"/>
                </a:lnTo>
                <a:lnTo>
                  <a:pt x="289178" y="33400"/>
                </a:lnTo>
                <a:lnTo>
                  <a:pt x="300100" y="22987"/>
                </a:lnTo>
                <a:lnTo>
                  <a:pt x="315468" y="16763"/>
                </a:lnTo>
                <a:lnTo>
                  <a:pt x="337312" y="14604"/>
                </a:lnTo>
                <a:lnTo>
                  <a:pt x="389889" y="14604"/>
                </a:lnTo>
                <a:lnTo>
                  <a:pt x="378968" y="8382"/>
                </a:lnTo>
                <a:lnTo>
                  <a:pt x="365759" y="2032"/>
                </a:lnTo>
                <a:close/>
              </a:path>
              <a:path w="646430" h="631189">
                <a:moveTo>
                  <a:pt x="586994" y="31368"/>
                </a:moveTo>
                <a:lnTo>
                  <a:pt x="556387" y="31368"/>
                </a:lnTo>
                <a:lnTo>
                  <a:pt x="541019" y="33400"/>
                </a:lnTo>
                <a:lnTo>
                  <a:pt x="530097" y="39750"/>
                </a:lnTo>
                <a:lnTo>
                  <a:pt x="516889" y="45974"/>
                </a:lnTo>
                <a:lnTo>
                  <a:pt x="508126" y="52197"/>
                </a:lnTo>
                <a:lnTo>
                  <a:pt x="499363" y="60578"/>
                </a:lnTo>
                <a:lnTo>
                  <a:pt x="495045" y="68961"/>
                </a:lnTo>
                <a:lnTo>
                  <a:pt x="492887" y="77342"/>
                </a:lnTo>
                <a:lnTo>
                  <a:pt x="492887" y="133730"/>
                </a:lnTo>
                <a:lnTo>
                  <a:pt x="646176" y="133730"/>
                </a:lnTo>
                <a:lnTo>
                  <a:pt x="646176" y="110743"/>
                </a:lnTo>
                <a:lnTo>
                  <a:pt x="571753" y="110743"/>
                </a:lnTo>
                <a:lnTo>
                  <a:pt x="549782" y="108585"/>
                </a:lnTo>
                <a:lnTo>
                  <a:pt x="532257" y="100329"/>
                </a:lnTo>
                <a:lnTo>
                  <a:pt x="519175" y="91948"/>
                </a:lnTo>
                <a:lnTo>
                  <a:pt x="516889" y="85598"/>
                </a:lnTo>
                <a:lnTo>
                  <a:pt x="516889" y="70992"/>
                </a:lnTo>
                <a:lnTo>
                  <a:pt x="519175" y="64770"/>
                </a:lnTo>
                <a:lnTo>
                  <a:pt x="532257" y="54355"/>
                </a:lnTo>
                <a:lnTo>
                  <a:pt x="549782" y="48005"/>
                </a:lnTo>
                <a:lnTo>
                  <a:pt x="571753" y="45974"/>
                </a:lnTo>
                <a:lnTo>
                  <a:pt x="626490" y="45974"/>
                </a:lnTo>
                <a:lnTo>
                  <a:pt x="613282" y="39750"/>
                </a:lnTo>
                <a:lnTo>
                  <a:pt x="602361" y="33400"/>
                </a:lnTo>
                <a:lnTo>
                  <a:pt x="586994" y="31368"/>
                </a:lnTo>
                <a:close/>
              </a:path>
              <a:path w="646430" h="631189">
                <a:moveTo>
                  <a:pt x="626490" y="45974"/>
                </a:moveTo>
                <a:lnTo>
                  <a:pt x="571753" y="45974"/>
                </a:lnTo>
                <a:lnTo>
                  <a:pt x="591438" y="48005"/>
                </a:lnTo>
                <a:lnTo>
                  <a:pt x="606806" y="54355"/>
                </a:lnTo>
                <a:lnTo>
                  <a:pt x="619887" y="64770"/>
                </a:lnTo>
                <a:lnTo>
                  <a:pt x="622045" y="70992"/>
                </a:lnTo>
                <a:lnTo>
                  <a:pt x="626490" y="77342"/>
                </a:lnTo>
                <a:lnTo>
                  <a:pt x="622045" y="85598"/>
                </a:lnTo>
                <a:lnTo>
                  <a:pt x="619887" y="91948"/>
                </a:lnTo>
                <a:lnTo>
                  <a:pt x="606806" y="100329"/>
                </a:lnTo>
                <a:lnTo>
                  <a:pt x="591438" y="108585"/>
                </a:lnTo>
                <a:lnTo>
                  <a:pt x="571753" y="110743"/>
                </a:lnTo>
                <a:lnTo>
                  <a:pt x="646176" y="110743"/>
                </a:lnTo>
                <a:lnTo>
                  <a:pt x="646176" y="68961"/>
                </a:lnTo>
                <a:lnTo>
                  <a:pt x="639571" y="60578"/>
                </a:lnTo>
                <a:lnTo>
                  <a:pt x="635253" y="52197"/>
                </a:lnTo>
                <a:lnTo>
                  <a:pt x="626490" y="45974"/>
                </a:lnTo>
                <a:close/>
              </a:path>
              <a:path w="646430" h="631189">
                <a:moveTo>
                  <a:pt x="389889" y="14604"/>
                </a:moveTo>
                <a:lnTo>
                  <a:pt x="337312" y="14604"/>
                </a:lnTo>
                <a:lnTo>
                  <a:pt x="356996" y="16763"/>
                </a:lnTo>
                <a:lnTo>
                  <a:pt x="376808" y="22987"/>
                </a:lnTo>
                <a:lnTo>
                  <a:pt x="385571" y="33400"/>
                </a:lnTo>
                <a:lnTo>
                  <a:pt x="387731" y="39750"/>
                </a:lnTo>
                <a:lnTo>
                  <a:pt x="389889" y="45974"/>
                </a:lnTo>
                <a:lnTo>
                  <a:pt x="356996" y="77342"/>
                </a:lnTo>
                <a:lnTo>
                  <a:pt x="337312" y="79375"/>
                </a:lnTo>
                <a:lnTo>
                  <a:pt x="411861" y="79375"/>
                </a:lnTo>
                <a:lnTo>
                  <a:pt x="411861" y="37591"/>
                </a:lnTo>
                <a:lnTo>
                  <a:pt x="405256" y="29210"/>
                </a:lnTo>
                <a:lnTo>
                  <a:pt x="400812" y="18796"/>
                </a:lnTo>
                <a:lnTo>
                  <a:pt x="389889" y="14604"/>
                </a:lnTo>
                <a:close/>
              </a:path>
              <a:path w="646430" h="631189">
                <a:moveTo>
                  <a:pt x="337312" y="0"/>
                </a:moveTo>
                <a:lnTo>
                  <a:pt x="321944" y="2032"/>
                </a:lnTo>
                <a:lnTo>
                  <a:pt x="352678" y="2032"/>
                </a:lnTo>
                <a:lnTo>
                  <a:pt x="337312" y="0"/>
                </a:lnTo>
                <a:close/>
              </a:path>
            </a:pathLst>
          </a:custGeom>
          <a:solidFill>
            <a:srgbClr val="999999"/>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02" name="object 8">
            <a:extLst>
              <a:ext uri="{FF2B5EF4-FFF2-40B4-BE49-F238E27FC236}">
                <a16:creationId xmlns:a16="http://schemas.microsoft.com/office/drawing/2014/main" id="{93395383-C94B-45DC-B698-03457EF2B1EF}"/>
              </a:ext>
            </a:extLst>
          </p:cNvPr>
          <p:cNvSpPr/>
          <p:nvPr/>
        </p:nvSpPr>
        <p:spPr>
          <a:xfrm>
            <a:off x="1854200" y="2957576"/>
            <a:ext cx="457200" cy="401320"/>
          </a:xfrm>
          <a:custGeom>
            <a:avLst/>
            <a:gdLst/>
            <a:ahLst/>
            <a:cxnLst/>
            <a:rect l="l" t="t" r="r" b="b"/>
            <a:pathLst>
              <a:path w="457200" h="401319">
                <a:moveTo>
                  <a:pt x="422323" y="226060"/>
                </a:moveTo>
                <a:lnTo>
                  <a:pt x="375538" y="226060"/>
                </a:lnTo>
                <a:lnTo>
                  <a:pt x="382777" y="233680"/>
                </a:lnTo>
                <a:lnTo>
                  <a:pt x="331088" y="294640"/>
                </a:lnTo>
                <a:lnTo>
                  <a:pt x="339979" y="341630"/>
                </a:lnTo>
                <a:lnTo>
                  <a:pt x="243205" y="354330"/>
                </a:lnTo>
                <a:lnTo>
                  <a:pt x="239775" y="354330"/>
                </a:lnTo>
                <a:lnTo>
                  <a:pt x="237870" y="355600"/>
                </a:lnTo>
                <a:lnTo>
                  <a:pt x="234061" y="356870"/>
                </a:lnTo>
                <a:lnTo>
                  <a:pt x="232282" y="358140"/>
                </a:lnTo>
                <a:lnTo>
                  <a:pt x="230377" y="358140"/>
                </a:lnTo>
                <a:lnTo>
                  <a:pt x="228473" y="359410"/>
                </a:lnTo>
                <a:lnTo>
                  <a:pt x="224789" y="361950"/>
                </a:lnTo>
                <a:lnTo>
                  <a:pt x="220852" y="364490"/>
                </a:lnTo>
                <a:lnTo>
                  <a:pt x="217297" y="367030"/>
                </a:lnTo>
                <a:lnTo>
                  <a:pt x="213868" y="370840"/>
                </a:lnTo>
                <a:lnTo>
                  <a:pt x="212217" y="372110"/>
                </a:lnTo>
                <a:lnTo>
                  <a:pt x="210693" y="374650"/>
                </a:lnTo>
                <a:lnTo>
                  <a:pt x="209169" y="375920"/>
                </a:lnTo>
                <a:lnTo>
                  <a:pt x="207772" y="378460"/>
                </a:lnTo>
                <a:lnTo>
                  <a:pt x="206375" y="379730"/>
                </a:lnTo>
                <a:lnTo>
                  <a:pt x="205105" y="381000"/>
                </a:lnTo>
                <a:lnTo>
                  <a:pt x="202819" y="386080"/>
                </a:lnTo>
                <a:lnTo>
                  <a:pt x="201802" y="387350"/>
                </a:lnTo>
                <a:lnTo>
                  <a:pt x="200913" y="389890"/>
                </a:lnTo>
                <a:lnTo>
                  <a:pt x="200151" y="391160"/>
                </a:lnTo>
                <a:lnTo>
                  <a:pt x="199517" y="393700"/>
                </a:lnTo>
                <a:lnTo>
                  <a:pt x="199008" y="396240"/>
                </a:lnTo>
                <a:lnTo>
                  <a:pt x="198627" y="397510"/>
                </a:lnTo>
                <a:lnTo>
                  <a:pt x="198247" y="401320"/>
                </a:lnTo>
                <a:lnTo>
                  <a:pt x="457200" y="401320"/>
                </a:lnTo>
                <a:lnTo>
                  <a:pt x="457200" y="318770"/>
                </a:lnTo>
                <a:lnTo>
                  <a:pt x="422323" y="226060"/>
                </a:lnTo>
                <a:close/>
              </a:path>
              <a:path w="457200" h="401319">
                <a:moveTo>
                  <a:pt x="304292" y="297180"/>
                </a:moveTo>
                <a:lnTo>
                  <a:pt x="0" y="297180"/>
                </a:lnTo>
                <a:lnTo>
                  <a:pt x="0" y="318770"/>
                </a:lnTo>
                <a:lnTo>
                  <a:pt x="304292" y="318770"/>
                </a:lnTo>
                <a:lnTo>
                  <a:pt x="304292" y="297180"/>
                </a:lnTo>
                <a:close/>
              </a:path>
              <a:path w="457200" h="401319">
                <a:moveTo>
                  <a:pt x="80010" y="27940"/>
                </a:moveTo>
                <a:lnTo>
                  <a:pt x="65150" y="30480"/>
                </a:lnTo>
                <a:lnTo>
                  <a:pt x="65531" y="43180"/>
                </a:lnTo>
                <a:lnTo>
                  <a:pt x="68325" y="78740"/>
                </a:lnTo>
                <a:lnTo>
                  <a:pt x="69468" y="90170"/>
                </a:lnTo>
                <a:lnTo>
                  <a:pt x="70738" y="101600"/>
                </a:lnTo>
                <a:lnTo>
                  <a:pt x="73787" y="125730"/>
                </a:lnTo>
                <a:lnTo>
                  <a:pt x="25781" y="259080"/>
                </a:lnTo>
                <a:lnTo>
                  <a:pt x="24892" y="261620"/>
                </a:lnTo>
                <a:lnTo>
                  <a:pt x="24511" y="264160"/>
                </a:lnTo>
                <a:lnTo>
                  <a:pt x="24002" y="266700"/>
                </a:lnTo>
                <a:lnTo>
                  <a:pt x="24002" y="274320"/>
                </a:lnTo>
                <a:lnTo>
                  <a:pt x="24511" y="276860"/>
                </a:lnTo>
                <a:lnTo>
                  <a:pt x="25145" y="279400"/>
                </a:lnTo>
                <a:lnTo>
                  <a:pt x="25526" y="280670"/>
                </a:lnTo>
                <a:lnTo>
                  <a:pt x="26162" y="281940"/>
                </a:lnTo>
                <a:lnTo>
                  <a:pt x="26797" y="281940"/>
                </a:lnTo>
                <a:lnTo>
                  <a:pt x="28067" y="284480"/>
                </a:lnTo>
                <a:lnTo>
                  <a:pt x="29718" y="285750"/>
                </a:lnTo>
                <a:lnTo>
                  <a:pt x="30861" y="287020"/>
                </a:lnTo>
                <a:lnTo>
                  <a:pt x="31876" y="287020"/>
                </a:lnTo>
                <a:lnTo>
                  <a:pt x="33019" y="288290"/>
                </a:lnTo>
                <a:lnTo>
                  <a:pt x="35432" y="288290"/>
                </a:lnTo>
                <a:lnTo>
                  <a:pt x="36830" y="289560"/>
                </a:lnTo>
                <a:lnTo>
                  <a:pt x="116205" y="289560"/>
                </a:lnTo>
                <a:lnTo>
                  <a:pt x="116205" y="278130"/>
                </a:lnTo>
                <a:lnTo>
                  <a:pt x="37211" y="278130"/>
                </a:lnTo>
                <a:lnTo>
                  <a:pt x="36449" y="276860"/>
                </a:lnTo>
                <a:lnTo>
                  <a:pt x="35687" y="276860"/>
                </a:lnTo>
                <a:lnTo>
                  <a:pt x="35051" y="275590"/>
                </a:lnTo>
                <a:lnTo>
                  <a:pt x="34543" y="274320"/>
                </a:lnTo>
                <a:lnTo>
                  <a:pt x="34162" y="274320"/>
                </a:lnTo>
                <a:lnTo>
                  <a:pt x="33908" y="273050"/>
                </a:lnTo>
                <a:lnTo>
                  <a:pt x="33908" y="269240"/>
                </a:lnTo>
                <a:lnTo>
                  <a:pt x="34289" y="266700"/>
                </a:lnTo>
                <a:lnTo>
                  <a:pt x="34670" y="265430"/>
                </a:lnTo>
                <a:lnTo>
                  <a:pt x="35306" y="262890"/>
                </a:lnTo>
                <a:lnTo>
                  <a:pt x="77088" y="147320"/>
                </a:lnTo>
                <a:lnTo>
                  <a:pt x="99321" y="147320"/>
                </a:lnTo>
                <a:lnTo>
                  <a:pt x="80010" y="27940"/>
                </a:lnTo>
                <a:close/>
              </a:path>
              <a:path w="457200" h="401319">
                <a:moveTo>
                  <a:pt x="188975" y="242570"/>
                </a:moveTo>
                <a:lnTo>
                  <a:pt x="182372" y="242570"/>
                </a:lnTo>
                <a:lnTo>
                  <a:pt x="179324" y="243840"/>
                </a:lnTo>
                <a:lnTo>
                  <a:pt x="176402" y="245110"/>
                </a:lnTo>
                <a:lnTo>
                  <a:pt x="171069" y="247650"/>
                </a:lnTo>
                <a:lnTo>
                  <a:pt x="168782" y="248920"/>
                </a:lnTo>
                <a:lnTo>
                  <a:pt x="166369" y="250190"/>
                </a:lnTo>
                <a:lnTo>
                  <a:pt x="147574" y="266700"/>
                </a:lnTo>
                <a:lnTo>
                  <a:pt x="146176" y="267970"/>
                </a:lnTo>
                <a:lnTo>
                  <a:pt x="144906" y="269240"/>
                </a:lnTo>
                <a:lnTo>
                  <a:pt x="143891" y="271780"/>
                </a:lnTo>
                <a:lnTo>
                  <a:pt x="143129" y="273050"/>
                </a:lnTo>
                <a:lnTo>
                  <a:pt x="142620" y="274320"/>
                </a:lnTo>
                <a:lnTo>
                  <a:pt x="142494" y="275590"/>
                </a:lnTo>
                <a:lnTo>
                  <a:pt x="142367" y="278130"/>
                </a:lnTo>
                <a:lnTo>
                  <a:pt x="142748" y="279400"/>
                </a:lnTo>
                <a:lnTo>
                  <a:pt x="143382" y="281940"/>
                </a:lnTo>
                <a:lnTo>
                  <a:pt x="144144" y="283210"/>
                </a:lnTo>
                <a:lnTo>
                  <a:pt x="145287" y="284480"/>
                </a:lnTo>
                <a:lnTo>
                  <a:pt x="209804" y="284480"/>
                </a:lnTo>
                <a:lnTo>
                  <a:pt x="226822" y="289560"/>
                </a:lnTo>
                <a:lnTo>
                  <a:pt x="226822" y="278130"/>
                </a:lnTo>
                <a:lnTo>
                  <a:pt x="217246" y="275590"/>
                </a:lnTo>
                <a:lnTo>
                  <a:pt x="155067" y="275590"/>
                </a:lnTo>
                <a:lnTo>
                  <a:pt x="154812" y="274320"/>
                </a:lnTo>
                <a:lnTo>
                  <a:pt x="155067" y="273050"/>
                </a:lnTo>
                <a:lnTo>
                  <a:pt x="155320" y="273050"/>
                </a:lnTo>
                <a:lnTo>
                  <a:pt x="155701" y="271780"/>
                </a:lnTo>
                <a:lnTo>
                  <a:pt x="156844" y="270510"/>
                </a:lnTo>
                <a:lnTo>
                  <a:pt x="173100" y="259080"/>
                </a:lnTo>
                <a:lnTo>
                  <a:pt x="174498" y="257810"/>
                </a:lnTo>
                <a:lnTo>
                  <a:pt x="176022" y="256540"/>
                </a:lnTo>
                <a:lnTo>
                  <a:pt x="177673" y="256540"/>
                </a:lnTo>
                <a:lnTo>
                  <a:pt x="179577" y="255270"/>
                </a:lnTo>
                <a:lnTo>
                  <a:pt x="181610" y="254000"/>
                </a:lnTo>
                <a:lnTo>
                  <a:pt x="226822" y="254000"/>
                </a:lnTo>
                <a:lnTo>
                  <a:pt x="226822" y="243840"/>
                </a:lnTo>
                <a:lnTo>
                  <a:pt x="188975" y="242570"/>
                </a:lnTo>
                <a:close/>
              </a:path>
              <a:path w="457200" h="401319">
                <a:moveTo>
                  <a:pt x="209804" y="284480"/>
                </a:moveTo>
                <a:lnTo>
                  <a:pt x="146176" y="284480"/>
                </a:lnTo>
                <a:lnTo>
                  <a:pt x="147574" y="285750"/>
                </a:lnTo>
                <a:lnTo>
                  <a:pt x="150494" y="285750"/>
                </a:lnTo>
                <a:lnTo>
                  <a:pt x="152019" y="287020"/>
                </a:lnTo>
                <a:lnTo>
                  <a:pt x="152019" y="288290"/>
                </a:lnTo>
                <a:lnTo>
                  <a:pt x="209804" y="288290"/>
                </a:lnTo>
                <a:lnTo>
                  <a:pt x="209804" y="284480"/>
                </a:lnTo>
                <a:close/>
              </a:path>
              <a:path w="457200" h="401319">
                <a:moveTo>
                  <a:pt x="376174" y="116840"/>
                </a:moveTo>
                <a:lnTo>
                  <a:pt x="364236" y="116840"/>
                </a:lnTo>
                <a:lnTo>
                  <a:pt x="358775" y="118110"/>
                </a:lnTo>
                <a:lnTo>
                  <a:pt x="352932" y="120650"/>
                </a:lnTo>
                <a:lnTo>
                  <a:pt x="324866" y="139700"/>
                </a:lnTo>
                <a:lnTo>
                  <a:pt x="321563" y="142240"/>
                </a:lnTo>
                <a:lnTo>
                  <a:pt x="319913" y="144780"/>
                </a:lnTo>
                <a:lnTo>
                  <a:pt x="318388" y="146050"/>
                </a:lnTo>
                <a:lnTo>
                  <a:pt x="316864" y="148590"/>
                </a:lnTo>
                <a:lnTo>
                  <a:pt x="315341" y="149860"/>
                </a:lnTo>
                <a:lnTo>
                  <a:pt x="312800" y="154940"/>
                </a:lnTo>
                <a:lnTo>
                  <a:pt x="308737" y="170180"/>
                </a:lnTo>
                <a:lnTo>
                  <a:pt x="308737" y="172720"/>
                </a:lnTo>
                <a:lnTo>
                  <a:pt x="308991" y="175260"/>
                </a:lnTo>
                <a:lnTo>
                  <a:pt x="312800" y="195580"/>
                </a:lnTo>
                <a:lnTo>
                  <a:pt x="290956" y="229870"/>
                </a:lnTo>
                <a:lnTo>
                  <a:pt x="231394" y="242570"/>
                </a:lnTo>
                <a:lnTo>
                  <a:pt x="231394" y="288290"/>
                </a:lnTo>
                <a:lnTo>
                  <a:pt x="323469" y="288290"/>
                </a:lnTo>
                <a:lnTo>
                  <a:pt x="375538" y="226060"/>
                </a:lnTo>
                <a:lnTo>
                  <a:pt x="422323" y="226060"/>
                </a:lnTo>
                <a:lnTo>
                  <a:pt x="386969" y="132080"/>
                </a:lnTo>
                <a:lnTo>
                  <a:pt x="385825" y="128270"/>
                </a:lnTo>
                <a:lnTo>
                  <a:pt x="383920" y="124460"/>
                </a:lnTo>
                <a:lnTo>
                  <a:pt x="381635" y="120650"/>
                </a:lnTo>
                <a:lnTo>
                  <a:pt x="379730" y="119380"/>
                </a:lnTo>
                <a:lnTo>
                  <a:pt x="378968" y="118110"/>
                </a:lnTo>
                <a:lnTo>
                  <a:pt x="377063" y="118110"/>
                </a:lnTo>
                <a:lnTo>
                  <a:pt x="376174" y="116840"/>
                </a:lnTo>
                <a:close/>
              </a:path>
              <a:path w="457200" h="401319">
                <a:moveTo>
                  <a:pt x="178943" y="265430"/>
                </a:moveTo>
                <a:lnTo>
                  <a:pt x="158623" y="275590"/>
                </a:lnTo>
                <a:lnTo>
                  <a:pt x="217246" y="275590"/>
                </a:lnTo>
                <a:lnTo>
                  <a:pt x="178943" y="265430"/>
                </a:lnTo>
                <a:close/>
              </a:path>
              <a:path w="457200" h="401319">
                <a:moveTo>
                  <a:pt x="99321" y="147320"/>
                </a:moveTo>
                <a:lnTo>
                  <a:pt x="77088" y="147320"/>
                </a:lnTo>
                <a:lnTo>
                  <a:pt x="84455" y="184150"/>
                </a:lnTo>
                <a:lnTo>
                  <a:pt x="87249" y="196850"/>
                </a:lnTo>
                <a:lnTo>
                  <a:pt x="90169" y="209550"/>
                </a:lnTo>
                <a:lnTo>
                  <a:pt x="93344" y="222250"/>
                </a:lnTo>
                <a:lnTo>
                  <a:pt x="96774" y="233680"/>
                </a:lnTo>
                <a:lnTo>
                  <a:pt x="100075" y="246380"/>
                </a:lnTo>
                <a:lnTo>
                  <a:pt x="114935" y="243840"/>
                </a:lnTo>
                <a:lnTo>
                  <a:pt x="99321" y="147320"/>
                </a:lnTo>
                <a:close/>
              </a:path>
              <a:path w="457200" h="401319">
                <a:moveTo>
                  <a:pt x="371729" y="115570"/>
                </a:moveTo>
                <a:lnTo>
                  <a:pt x="369443" y="115570"/>
                </a:lnTo>
                <a:lnTo>
                  <a:pt x="367030" y="116840"/>
                </a:lnTo>
                <a:lnTo>
                  <a:pt x="372872" y="116840"/>
                </a:lnTo>
                <a:lnTo>
                  <a:pt x="371729" y="115570"/>
                </a:lnTo>
                <a:close/>
              </a:path>
              <a:path w="457200" h="401319">
                <a:moveTo>
                  <a:pt x="339725" y="105410"/>
                </a:moveTo>
                <a:lnTo>
                  <a:pt x="319277" y="105410"/>
                </a:lnTo>
                <a:lnTo>
                  <a:pt x="321182" y="106680"/>
                </a:lnTo>
                <a:lnTo>
                  <a:pt x="337693" y="106680"/>
                </a:lnTo>
                <a:lnTo>
                  <a:pt x="339725" y="105410"/>
                </a:lnTo>
                <a:close/>
              </a:path>
              <a:path w="457200" h="401319">
                <a:moveTo>
                  <a:pt x="344550" y="0"/>
                </a:moveTo>
                <a:lnTo>
                  <a:pt x="289306" y="0"/>
                </a:lnTo>
                <a:lnTo>
                  <a:pt x="289306" y="8890"/>
                </a:lnTo>
                <a:lnTo>
                  <a:pt x="303022" y="11430"/>
                </a:lnTo>
                <a:lnTo>
                  <a:pt x="301498" y="13970"/>
                </a:lnTo>
                <a:lnTo>
                  <a:pt x="299974" y="15240"/>
                </a:lnTo>
                <a:lnTo>
                  <a:pt x="297180" y="19050"/>
                </a:lnTo>
                <a:lnTo>
                  <a:pt x="296037" y="21590"/>
                </a:lnTo>
                <a:lnTo>
                  <a:pt x="294894" y="22860"/>
                </a:lnTo>
                <a:lnTo>
                  <a:pt x="291845" y="30480"/>
                </a:lnTo>
                <a:lnTo>
                  <a:pt x="291211" y="31750"/>
                </a:lnTo>
                <a:lnTo>
                  <a:pt x="289941" y="36830"/>
                </a:lnTo>
                <a:lnTo>
                  <a:pt x="289560" y="39370"/>
                </a:lnTo>
                <a:lnTo>
                  <a:pt x="289178" y="43180"/>
                </a:lnTo>
                <a:lnTo>
                  <a:pt x="289178" y="63500"/>
                </a:lnTo>
                <a:lnTo>
                  <a:pt x="289560" y="67310"/>
                </a:lnTo>
                <a:lnTo>
                  <a:pt x="290322" y="72390"/>
                </a:lnTo>
                <a:lnTo>
                  <a:pt x="291592" y="76200"/>
                </a:lnTo>
                <a:lnTo>
                  <a:pt x="292226" y="78740"/>
                </a:lnTo>
                <a:lnTo>
                  <a:pt x="292862" y="80010"/>
                </a:lnTo>
                <a:lnTo>
                  <a:pt x="293877" y="82550"/>
                </a:lnTo>
                <a:lnTo>
                  <a:pt x="294894" y="83820"/>
                </a:lnTo>
                <a:lnTo>
                  <a:pt x="295910" y="86360"/>
                </a:lnTo>
                <a:lnTo>
                  <a:pt x="296925" y="87630"/>
                </a:lnTo>
                <a:lnTo>
                  <a:pt x="298195" y="90170"/>
                </a:lnTo>
                <a:lnTo>
                  <a:pt x="300736" y="92710"/>
                </a:lnTo>
                <a:lnTo>
                  <a:pt x="303530" y="96520"/>
                </a:lnTo>
                <a:lnTo>
                  <a:pt x="305054" y="97790"/>
                </a:lnTo>
                <a:lnTo>
                  <a:pt x="310006" y="101600"/>
                </a:lnTo>
                <a:lnTo>
                  <a:pt x="313563" y="104140"/>
                </a:lnTo>
                <a:lnTo>
                  <a:pt x="315468" y="104140"/>
                </a:lnTo>
                <a:lnTo>
                  <a:pt x="317245" y="105410"/>
                </a:lnTo>
                <a:lnTo>
                  <a:pt x="341630" y="105410"/>
                </a:lnTo>
                <a:lnTo>
                  <a:pt x="345439" y="104140"/>
                </a:lnTo>
                <a:lnTo>
                  <a:pt x="347091" y="102870"/>
                </a:lnTo>
                <a:lnTo>
                  <a:pt x="348995" y="101600"/>
                </a:lnTo>
                <a:lnTo>
                  <a:pt x="352298" y="99060"/>
                </a:lnTo>
                <a:lnTo>
                  <a:pt x="355345" y="96520"/>
                </a:lnTo>
                <a:lnTo>
                  <a:pt x="325119" y="96520"/>
                </a:lnTo>
                <a:lnTo>
                  <a:pt x="323469" y="95250"/>
                </a:lnTo>
                <a:lnTo>
                  <a:pt x="320675" y="95250"/>
                </a:lnTo>
                <a:lnTo>
                  <a:pt x="319277" y="93980"/>
                </a:lnTo>
                <a:lnTo>
                  <a:pt x="315341" y="92710"/>
                </a:lnTo>
                <a:lnTo>
                  <a:pt x="312800" y="90170"/>
                </a:lnTo>
                <a:lnTo>
                  <a:pt x="310514" y="88900"/>
                </a:lnTo>
                <a:lnTo>
                  <a:pt x="308356" y="86360"/>
                </a:lnTo>
                <a:lnTo>
                  <a:pt x="304545" y="81280"/>
                </a:lnTo>
                <a:lnTo>
                  <a:pt x="303022" y="77470"/>
                </a:lnTo>
                <a:lnTo>
                  <a:pt x="301751" y="74930"/>
                </a:lnTo>
                <a:lnTo>
                  <a:pt x="300227" y="69850"/>
                </a:lnTo>
                <a:lnTo>
                  <a:pt x="299466" y="63500"/>
                </a:lnTo>
                <a:lnTo>
                  <a:pt x="299338" y="62230"/>
                </a:lnTo>
                <a:lnTo>
                  <a:pt x="299465" y="43180"/>
                </a:lnTo>
                <a:lnTo>
                  <a:pt x="303022" y="30480"/>
                </a:lnTo>
                <a:lnTo>
                  <a:pt x="304164" y="27940"/>
                </a:lnTo>
                <a:lnTo>
                  <a:pt x="305435" y="25400"/>
                </a:lnTo>
                <a:lnTo>
                  <a:pt x="306705" y="24130"/>
                </a:lnTo>
                <a:lnTo>
                  <a:pt x="307975" y="21590"/>
                </a:lnTo>
                <a:lnTo>
                  <a:pt x="309625" y="20320"/>
                </a:lnTo>
                <a:lnTo>
                  <a:pt x="311150" y="19050"/>
                </a:lnTo>
                <a:lnTo>
                  <a:pt x="312800" y="17780"/>
                </a:lnTo>
                <a:lnTo>
                  <a:pt x="316356" y="15240"/>
                </a:lnTo>
                <a:lnTo>
                  <a:pt x="363516" y="15240"/>
                </a:lnTo>
                <a:lnTo>
                  <a:pt x="362331" y="12700"/>
                </a:lnTo>
                <a:lnTo>
                  <a:pt x="360299" y="10160"/>
                </a:lnTo>
                <a:lnTo>
                  <a:pt x="358139" y="7620"/>
                </a:lnTo>
                <a:lnTo>
                  <a:pt x="355854" y="6350"/>
                </a:lnTo>
                <a:lnTo>
                  <a:pt x="353694" y="3810"/>
                </a:lnTo>
                <a:lnTo>
                  <a:pt x="349123" y="1270"/>
                </a:lnTo>
                <a:lnTo>
                  <a:pt x="346837" y="1270"/>
                </a:lnTo>
                <a:lnTo>
                  <a:pt x="344550" y="0"/>
                </a:lnTo>
                <a:close/>
              </a:path>
              <a:path w="457200" h="401319">
                <a:moveTo>
                  <a:pt x="363516" y="15240"/>
                </a:moveTo>
                <a:lnTo>
                  <a:pt x="316356" y="15240"/>
                </a:lnTo>
                <a:lnTo>
                  <a:pt x="334263" y="19050"/>
                </a:lnTo>
                <a:lnTo>
                  <a:pt x="328294" y="35560"/>
                </a:lnTo>
                <a:lnTo>
                  <a:pt x="344550" y="35560"/>
                </a:lnTo>
                <a:lnTo>
                  <a:pt x="345694" y="58420"/>
                </a:lnTo>
                <a:lnTo>
                  <a:pt x="359663" y="58420"/>
                </a:lnTo>
                <a:lnTo>
                  <a:pt x="359663" y="62230"/>
                </a:lnTo>
                <a:lnTo>
                  <a:pt x="359410" y="63500"/>
                </a:lnTo>
                <a:lnTo>
                  <a:pt x="359410" y="66040"/>
                </a:lnTo>
                <a:lnTo>
                  <a:pt x="358394" y="71120"/>
                </a:lnTo>
                <a:lnTo>
                  <a:pt x="357250" y="74930"/>
                </a:lnTo>
                <a:lnTo>
                  <a:pt x="355854" y="77470"/>
                </a:lnTo>
                <a:lnTo>
                  <a:pt x="354330" y="81280"/>
                </a:lnTo>
                <a:lnTo>
                  <a:pt x="352679" y="83820"/>
                </a:lnTo>
                <a:lnTo>
                  <a:pt x="350647" y="86360"/>
                </a:lnTo>
                <a:lnTo>
                  <a:pt x="348488" y="88900"/>
                </a:lnTo>
                <a:lnTo>
                  <a:pt x="346201" y="90170"/>
                </a:lnTo>
                <a:lnTo>
                  <a:pt x="343535" y="92710"/>
                </a:lnTo>
                <a:lnTo>
                  <a:pt x="339598" y="93980"/>
                </a:lnTo>
                <a:lnTo>
                  <a:pt x="336804" y="95250"/>
                </a:lnTo>
                <a:lnTo>
                  <a:pt x="335406" y="95250"/>
                </a:lnTo>
                <a:lnTo>
                  <a:pt x="332486" y="96520"/>
                </a:lnTo>
                <a:lnTo>
                  <a:pt x="355345" y="96520"/>
                </a:lnTo>
                <a:lnTo>
                  <a:pt x="356869" y="95250"/>
                </a:lnTo>
                <a:lnTo>
                  <a:pt x="358139" y="92710"/>
                </a:lnTo>
                <a:lnTo>
                  <a:pt x="359663" y="91440"/>
                </a:lnTo>
                <a:lnTo>
                  <a:pt x="360933" y="90170"/>
                </a:lnTo>
                <a:lnTo>
                  <a:pt x="361950" y="87630"/>
                </a:lnTo>
                <a:lnTo>
                  <a:pt x="363219" y="86360"/>
                </a:lnTo>
                <a:lnTo>
                  <a:pt x="364236" y="83820"/>
                </a:lnTo>
                <a:lnTo>
                  <a:pt x="365125" y="82550"/>
                </a:lnTo>
                <a:lnTo>
                  <a:pt x="366013" y="80010"/>
                </a:lnTo>
                <a:lnTo>
                  <a:pt x="366775" y="78740"/>
                </a:lnTo>
                <a:lnTo>
                  <a:pt x="367538" y="76200"/>
                </a:lnTo>
                <a:lnTo>
                  <a:pt x="368173" y="73660"/>
                </a:lnTo>
                <a:lnTo>
                  <a:pt x="368681" y="72390"/>
                </a:lnTo>
                <a:lnTo>
                  <a:pt x="369443" y="67310"/>
                </a:lnTo>
                <a:lnTo>
                  <a:pt x="369697" y="64770"/>
                </a:lnTo>
                <a:lnTo>
                  <a:pt x="369824" y="62230"/>
                </a:lnTo>
                <a:lnTo>
                  <a:pt x="369697" y="35560"/>
                </a:lnTo>
                <a:lnTo>
                  <a:pt x="369188" y="30480"/>
                </a:lnTo>
                <a:lnTo>
                  <a:pt x="368807" y="29210"/>
                </a:lnTo>
                <a:lnTo>
                  <a:pt x="368300" y="26670"/>
                </a:lnTo>
                <a:lnTo>
                  <a:pt x="367792" y="25400"/>
                </a:lnTo>
                <a:lnTo>
                  <a:pt x="367156" y="22860"/>
                </a:lnTo>
                <a:lnTo>
                  <a:pt x="366522" y="21590"/>
                </a:lnTo>
                <a:lnTo>
                  <a:pt x="365760" y="19050"/>
                </a:lnTo>
                <a:lnTo>
                  <a:pt x="364108" y="16510"/>
                </a:lnTo>
                <a:lnTo>
                  <a:pt x="363516" y="15240"/>
                </a:lnTo>
                <a:close/>
              </a:path>
            </a:pathLst>
          </a:custGeom>
          <a:solidFill>
            <a:srgbClr val="999999"/>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03" name="object 9">
            <a:extLst>
              <a:ext uri="{FF2B5EF4-FFF2-40B4-BE49-F238E27FC236}">
                <a16:creationId xmlns:a16="http://schemas.microsoft.com/office/drawing/2014/main" id="{0ADAB14F-8643-41AE-85B2-55F4F0B7A53A}"/>
              </a:ext>
            </a:extLst>
          </p:cNvPr>
          <p:cNvSpPr txBox="1"/>
          <p:nvPr/>
        </p:nvSpPr>
        <p:spPr>
          <a:xfrm>
            <a:off x="1815592" y="3896359"/>
            <a:ext cx="3267030" cy="352019"/>
          </a:xfrm>
          <a:prstGeom prst="rect">
            <a:avLst/>
          </a:prstGeom>
        </p:spPr>
        <p:txBody>
          <a:bodyPr vert="horz" wrap="square" lIns="0" tIns="13335" rIns="0" bIns="0" rtlCol="0">
            <a:spAutoFit/>
          </a:bodyPr>
          <a:lstStyle/>
          <a:p>
            <a:pPr marL="12700" eaLnBrk="1" fontAlgn="auto" hangingPunct="1">
              <a:spcBef>
                <a:spcPts val="105"/>
              </a:spcBef>
              <a:spcAft>
                <a:spcPts val="0"/>
              </a:spcAft>
            </a:pPr>
            <a:r>
              <a:rPr lang="en-US" sz="1100" spc="-5" dirty="0">
                <a:solidFill>
                  <a:prstClr val="black"/>
                </a:solidFill>
                <a:latin typeface="EYInterstate Light" panose="02000506000000020004" pitchFamily="2" charset="0"/>
                <a:ea typeface="+mn-ea"/>
                <a:cs typeface="Trebuchet MS"/>
              </a:rPr>
              <a:t>Implementation</a:t>
            </a:r>
            <a:r>
              <a:rPr lang="en-US" sz="1100" spc="-100"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duration</a:t>
            </a:r>
            <a:r>
              <a:rPr lang="en-US" sz="1100" spc="-50"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of</a:t>
            </a:r>
            <a:r>
              <a:rPr lang="en-US" sz="1100" spc="-35" dirty="0">
                <a:solidFill>
                  <a:prstClr val="black"/>
                </a:solidFill>
                <a:latin typeface="EYInterstate Light" panose="02000506000000020004" pitchFamily="2" charset="0"/>
                <a:ea typeface="+mn-ea"/>
                <a:cs typeface="Trebuchet MS"/>
              </a:rPr>
              <a:t> </a:t>
            </a:r>
            <a:r>
              <a:rPr lang="en-US" sz="1100" spc="75" dirty="0">
                <a:solidFill>
                  <a:prstClr val="black"/>
                </a:solidFill>
                <a:latin typeface="EYInterstate Light" panose="02000506000000020004" pitchFamily="2" charset="0"/>
                <a:ea typeface="+mn-ea"/>
                <a:cs typeface="Trebuchet MS"/>
              </a:rPr>
              <a:t>~24+</a:t>
            </a:r>
            <a:r>
              <a:rPr lang="en-US" sz="1100" spc="-55" dirty="0">
                <a:solidFill>
                  <a:prstClr val="black"/>
                </a:solidFill>
                <a:latin typeface="EYInterstate Light" panose="02000506000000020004" pitchFamily="2" charset="0"/>
                <a:ea typeface="+mn-ea"/>
                <a:cs typeface="Trebuchet MS"/>
              </a:rPr>
              <a:t> </a:t>
            </a:r>
            <a:r>
              <a:rPr lang="en-US" sz="1100" spc="20" dirty="0">
                <a:solidFill>
                  <a:prstClr val="black"/>
                </a:solidFill>
                <a:latin typeface="EYInterstate Light" panose="02000506000000020004" pitchFamily="2" charset="0"/>
                <a:ea typeface="+mn-ea"/>
                <a:cs typeface="Trebuchet MS"/>
              </a:rPr>
              <a:t>months</a:t>
            </a:r>
            <a:r>
              <a:rPr lang="en-US" sz="1100" spc="-4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with</a:t>
            </a:r>
            <a:endParaRPr lang="en-US" sz="1100" dirty="0">
              <a:solidFill>
                <a:prstClr val="black"/>
              </a:solidFill>
              <a:latin typeface="EYInterstate Light" panose="02000506000000020004" pitchFamily="2" charset="0"/>
              <a:ea typeface="+mn-ea"/>
              <a:cs typeface="Trebuchet MS"/>
            </a:endParaRPr>
          </a:p>
          <a:p>
            <a:pPr marL="12700" eaLnBrk="1" fontAlgn="auto" hangingPunct="1">
              <a:spcBef>
                <a:spcPts val="10"/>
              </a:spcBef>
              <a:spcAft>
                <a:spcPts val="0"/>
              </a:spcAft>
            </a:pPr>
            <a:r>
              <a:rPr lang="en-US" sz="1100" spc="10" dirty="0">
                <a:solidFill>
                  <a:prstClr val="black"/>
                </a:solidFill>
                <a:latin typeface="EYInterstate Light" panose="02000506000000020004" pitchFamily="2" charset="0"/>
                <a:ea typeface="+mn-ea"/>
                <a:cs typeface="Trebuchet MS"/>
              </a:rPr>
              <a:t>expensive</a:t>
            </a:r>
            <a:r>
              <a:rPr lang="en-US" sz="1100" spc="-13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and</a:t>
            </a:r>
            <a:r>
              <a:rPr lang="en-US" sz="1100" spc="-50"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lengthy</a:t>
            </a:r>
            <a:r>
              <a:rPr lang="en-US" sz="1100" spc="-70"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future</a:t>
            </a:r>
            <a:r>
              <a:rPr lang="en-US" sz="1100" spc="-75" dirty="0">
                <a:solidFill>
                  <a:prstClr val="black"/>
                </a:solidFill>
                <a:latin typeface="EYInterstate Light" panose="02000506000000020004" pitchFamily="2" charset="0"/>
                <a:ea typeface="+mn-ea"/>
                <a:cs typeface="Trebuchet MS"/>
              </a:rPr>
              <a:t> </a:t>
            </a:r>
            <a:r>
              <a:rPr lang="en-US" sz="1100" spc="30" dirty="0">
                <a:solidFill>
                  <a:prstClr val="black"/>
                </a:solidFill>
                <a:latin typeface="EYInterstate Light" panose="02000506000000020004" pitchFamily="2" charset="0"/>
                <a:ea typeface="+mn-ea"/>
                <a:cs typeface="Trebuchet MS"/>
              </a:rPr>
              <a:t>changes</a:t>
            </a:r>
            <a:endParaRPr lang="en-US" sz="1100" dirty="0">
              <a:solidFill>
                <a:prstClr val="black"/>
              </a:solidFill>
              <a:latin typeface="EYInterstate Light" panose="02000506000000020004" pitchFamily="2" charset="0"/>
              <a:ea typeface="+mn-ea"/>
              <a:cs typeface="Trebuchet MS"/>
            </a:endParaRPr>
          </a:p>
        </p:txBody>
      </p:sp>
      <p:sp>
        <p:nvSpPr>
          <p:cNvPr id="104" name="object 10">
            <a:extLst>
              <a:ext uri="{FF2B5EF4-FFF2-40B4-BE49-F238E27FC236}">
                <a16:creationId xmlns:a16="http://schemas.microsoft.com/office/drawing/2014/main" id="{B39DE033-A454-4663-8B2A-E270E174F2B1}"/>
              </a:ext>
            </a:extLst>
          </p:cNvPr>
          <p:cNvSpPr/>
          <p:nvPr/>
        </p:nvSpPr>
        <p:spPr>
          <a:xfrm>
            <a:off x="1537208" y="4002023"/>
            <a:ext cx="143255" cy="146303"/>
          </a:xfrm>
          <a:prstGeom prst="rect">
            <a:avLst/>
          </a:prstGeom>
          <a:blipFill>
            <a:blip r:embed="rId2"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05" name="object 11">
            <a:extLst>
              <a:ext uri="{FF2B5EF4-FFF2-40B4-BE49-F238E27FC236}">
                <a16:creationId xmlns:a16="http://schemas.microsoft.com/office/drawing/2014/main" id="{22A6B886-1C9E-43A9-A7A3-C828FFDB5395}"/>
              </a:ext>
            </a:extLst>
          </p:cNvPr>
          <p:cNvSpPr txBox="1"/>
          <p:nvPr/>
        </p:nvSpPr>
        <p:spPr>
          <a:xfrm>
            <a:off x="1787905" y="5829401"/>
            <a:ext cx="3530846" cy="344646"/>
          </a:xfrm>
          <a:prstGeom prst="rect">
            <a:avLst/>
          </a:prstGeom>
        </p:spPr>
        <p:txBody>
          <a:bodyPr vert="horz" wrap="square" lIns="0" tIns="11430" rIns="0" bIns="0" rtlCol="0">
            <a:spAutoFit/>
          </a:bodyPr>
          <a:lstStyle/>
          <a:p>
            <a:pPr marL="12700" marR="5080" eaLnBrk="1" fontAlgn="auto" hangingPunct="1">
              <a:lnSpc>
                <a:spcPct val="101000"/>
              </a:lnSpc>
              <a:spcBef>
                <a:spcPts val="90"/>
              </a:spcBef>
              <a:spcAft>
                <a:spcPts val="0"/>
              </a:spcAft>
            </a:pPr>
            <a:r>
              <a:rPr lang="en-US" sz="1100" spc="5" dirty="0">
                <a:solidFill>
                  <a:prstClr val="black"/>
                </a:solidFill>
                <a:latin typeface="EYInterstate Light" panose="02000506000000020004" pitchFamily="2" charset="0"/>
                <a:ea typeface="+mn-ea"/>
                <a:cs typeface="Trebuchet MS"/>
              </a:rPr>
              <a:t>Primarily</a:t>
            </a:r>
            <a:r>
              <a:rPr lang="en-US" sz="1100" spc="-75"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suited</a:t>
            </a:r>
            <a:r>
              <a:rPr lang="en-US" sz="1100" spc="-105"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for</a:t>
            </a:r>
            <a:r>
              <a:rPr lang="en-US" sz="1100" spc="-60" dirty="0">
                <a:solidFill>
                  <a:prstClr val="black"/>
                </a:solidFill>
                <a:latin typeface="EYInterstate Light" panose="02000506000000020004" pitchFamily="2" charset="0"/>
                <a:ea typeface="+mn-ea"/>
                <a:cs typeface="Trebuchet MS"/>
              </a:rPr>
              <a:t> </a:t>
            </a:r>
            <a:r>
              <a:rPr lang="en-US" sz="1100" dirty="0">
                <a:solidFill>
                  <a:prstClr val="black"/>
                </a:solidFill>
                <a:latin typeface="EYInterstate Light" panose="02000506000000020004" pitchFamily="2" charset="0"/>
                <a:ea typeface="+mn-ea"/>
                <a:cs typeface="Trebuchet MS"/>
              </a:rPr>
              <a:t>batch-oriented</a:t>
            </a:r>
            <a:r>
              <a:rPr lang="en-US" sz="1100" spc="-100" dirty="0">
                <a:solidFill>
                  <a:prstClr val="black"/>
                </a:solidFill>
                <a:latin typeface="EYInterstate Light" panose="02000506000000020004" pitchFamily="2" charset="0"/>
                <a:ea typeface="+mn-ea"/>
                <a:cs typeface="Trebuchet MS"/>
              </a:rPr>
              <a:t> </a:t>
            </a:r>
            <a:r>
              <a:rPr lang="en-US" sz="1100" spc="30" dirty="0">
                <a:solidFill>
                  <a:prstClr val="black"/>
                </a:solidFill>
                <a:latin typeface="EYInterstate Light" panose="02000506000000020004" pitchFamily="2" charset="0"/>
                <a:ea typeface="+mn-ea"/>
                <a:cs typeface="Trebuchet MS"/>
              </a:rPr>
              <a:t>use</a:t>
            </a:r>
            <a:r>
              <a:rPr lang="en-US" sz="1100" spc="-85" dirty="0">
                <a:solidFill>
                  <a:prstClr val="black"/>
                </a:solidFill>
                <a:latin typeface="EYInterstate Light" panose="02000506000000020004" pitchFamily="2" charset="0"/>
                <a:ea typeface="+mn-ea"/>
                <a:cs typeface="Trebuchet MS"/>
              </a:rPr>
              <a:t> </a:t>
            </a:r>
            <a:r>
              <a:rPr lang="en-US" sz="1100" spc="30" dirty="0">
                <a:solidFill>
                  <a:prstClr val="black"/>
                </a:solidFill>
                <a:latin typeface="EYInterstate Light" panose="02000506000000020004" pitchFamily="2" charset="0"/>
                <a:ea typeface="+mn-ea"/>
                <a:cs typeface="Trebuchet MS"/>
              </a:rPr>
              <a:t>cases</a:t>
            </a:r>
            <a:r>
              <a:rPr lang="en-US" sz="1100" spc="-100" dirty="0">
                <a:solidFill>
                  <a:prstClr val="black"/>
                </a:solidFill>
                <a:latin typeface="EYInterstate Light" panose="02000506000000020004" pitchFamily="2" charset="0"/>
                <a:ea typeface="+mn-ea"/>
                <a:cs typeface="Trebuchet MS"/>
              </a:rPr>
              <a:t> </a:t>
            </a:r>
            <a:r>
              <a:rPr lang="en-US" sz="1100" spc="-40" dirty="0">
                <a:solidFill>
                  <a:prstClr val="black"/>
                </a:solidFill>
                <a:latin typeface="EYInterstate Light" panose="02000506000000020004" pitchFamily="2" charset="0"/>
                <a:ea typeface="+mn-ea"/>
                <a:cs typeface="Trebuchet MS"/>
              </a:rPr>
              <a:t>(i.e.,  </a:t>
            </a:r>
            <a:r>
              <a:rPr lang="en-US" sz="1100" spc="5" dirty="0">
                <a:solidFill>
                  <a:prstClr val="black"/>
                </a:solidFill>
                <a:latin typeface="EYInterstate Light" panose="02000506000000020004" pitchFamily="2" charset="0"/>
                <a:ea typeface="+mn-ea"/>
                <a:cs typeface="Trebuchet MS"/>
              </a:rPr>
              <a:t>reg.</a:t>
            </a:r>
            <a:r>
              <a:rPr lang="en-US" sz="1100" spc="-75"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and</a:t>
            </a:r>
            <a:r>
              <a:rPr lang="en-US" sz="1100" spc="-7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management</a:t>
            </a:r>
            <a:r>
              <a:rPr lang="en-US" sz="1100" spc="-110"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reporting)</a:t>
            </a:r>
            <a:endParaRPr lang="en-US" sz="1100" dirty="0">
              <a:solidFill>
                <a:prstClr val="black"/>
              </a:solidFill>
              <a:latin typeface="EYInterstate Light" panose="02000506000000020004" pitchFamily="2" charset="0"/>
              <a:ea typeface="+mn-ea"/>
              <a:cs typeface="Trebuchet MS"/>
            </a:endParaRPr>
          </a:p>
        </p:txBody>
      </p:sp>
      <p:sp>
        <p:nvSpPr>
          <p:cNvPr id="106" name="object 12">
            <a:extLst>
              <a:ext uri="{FF2B5EF4-FFF2-40B4-BE49-F238E27FC236}">
                <a16:creationId xmlns:a16="http://schemas.microsoft.com/office/drawing/2014/main" id="{D593D76B-0A15-416B-9A54-659D4C678EA3}"/>
              </a:ext>
            </a:extLst>
          </p:cNvPr>
          <p:cNvSpPr/>
          <p:nvPr/>
        </p:nvSpPr>
        <p:spPr>
          <a:xfrm>
            <a:off x="1546352" y="4971288"/>
            <a:ext cx="143255" cy="143256"/>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07" name="object 13">
            <a:extLst>
              <a:ext uri="{FF2B5EF4-FFF2-40B4-BE49-F238E27FC236}">
                <a16:creationId xmlns:a16="http://schemas.microsoft.com/office/drawing/2014/main" id="{348BC441-9C91-41D6-858E-AED673C17603}"/>
              </a:ext>
            </a:extLst>
          </p:cNvPr>
          <p:cNvSpPr/>
          <p:nvPr/>
        </p:nvSpPr>
        <p:spPr>
          <a:xfrm>
            <a:off x="1537208" y="5489447"/>
            <a:ext cx="143255" cy="143256"/>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08" name="object 14">
            <a:extLst>
              <a:ext uri="{FF2B5EF4-FFF2-40B4-BE49-F238E27FC236}">
                <a16:creationId xmlns:a16="http://schemas.microsoft.com/office/drawing/2014/main" id="{4991FD7E-8F19-47E0-BCFB-72D01A3DE0BB}"/>
              </a:ext>
            </a:extLst>
          </p:cNvPr>
          <p:cNvSpPr txBox="1"/>
          <p:nvPr/>
        </p:nvSpPr>
        <p:spPr>
          <a:xfrm>
            <a:off x="1732279" y="4373565"/>
            <a:ext cx="3507938" cy="344646"/>
          </a:xfrm>
          <a:prstGeom prst="rect">
            <a:avLst/>
          </a:prstGeom>
        </p:spPr>
        <p:txBody>
          <a:bodyPr vert="horz" wrap="square" lIns="0" tIns="11430" rIns="0" bIns="0" rtlCol="0">
            <a:spAutoFit/>
          </a:bodyPr>
          <a:lstStyle/>
          <a:p>
            <a:pPr marL="89535" marR="5080" eaLnBrk="1" fontAlgn="auto" hangingPunct="1">
              <a:lnSpc>
                <a:spcPct val="101000"/>
              </a:lnSpc>
              <a:spcBef>
                <a:spcPts val="90"/>
              </a:spcBef>
              <a:spcAft>
                <a:spcPts val="0"/>
              </a:spcAft>
            </a:pPr>
            <a:r>
              <a:rPr lang="en-US" sz="1100" spc="10" dirty="0">
                <a:solidFill>
                  <a:prstClr val="black"/>
                </a:solidFill>
                <a:latin typeface="EYInterstate Light" panose="02000506000000020004" pitchFamily="2" charset="0"/>
                <a:ea typeface="+mn-ea"/>
                <a:cs typeface="Trebuchet MS"/>
              </a:rPr>
              <a:t>Data</a:t>
            </a:r>
            <a:r>
              <a:rPr lang="en-US" sz="1100" spc="-8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management</a:t>
            </a:r>
            <a:r>
              <a:rPr lang="en-US" sz="1100" spc="-11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is</a:t>
            </a:r>
            <a:r>
              <a:rPr lang="en-US" sz="1100" spc="-50" dirty="0">
                <a:solidFill>
                  <a:prstClr val="black"/>
                </a:solidFill>
                <a:latin typeface="EYInterstate Light" panose="02000506000000020004" pitchFamily="2" charset="0"/>
                <a:ea typeface="+mn-ea"/>
                <a:cs typeface="Trebuchet MS"/>
              </a:rPr>
              <a:t> </a:t>
            </a:r>
            <a:r>
              <a:rPr lang="en-US" sz="1100" spc="-20" dirty="0">
                <a:solidFill>
                  <a:prstClr val="black"/>
                </a:solidFill>
                <a:latin typeface="EYInterstate Light" panose="02000506000000020004" pitchFamily="2" charset="0"/>
                <a:ea typeface="+mn-ea"/>
                <a:cs typeface="Trebuchet MS"/>
              </a:rPr>
              <a:t>“offline”</a:t>
            </a:r>
            <a:r>
              <a:rPr lang="en-US" sz="1100" spc="-114"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with</a:t>
            </a:r>
            <a:r>
              <a:rPr lang="en-US" sz="1100" spc="-30" dirty="0">
                <a:solidFill>
                  <a:prstClr val="black"/>
                </a:solidFill>
                <a:latin typeface="EYInterstate Light" panose="02000506000000020004" pitchFamily="2" charset="0"/>
                <a:ea typeface="+mn-ea"/>
                <a:cs typeface="Trebuchet MS"/>
              </a:rPr>
              <a:t> </a:t>
            </a:r>
            <a:r>
              <a:rPr lang="en-US" sz="1100" spc="25" dirty="0">
                <a:solidFill>
                  <a:prstClr val="black"/>
                </a:solidFill>
                <a:latin typeface="EYInterstate Light" panose="02000506000000020004" pitchFamily="2" charset="0"/>
                <a:ea typeface="+mn-ea"/>
                <a:cs typeface="Trebuchet MS"/>
              </a:rPr>
              <a:t>many</a:t>
            </a:r>
            <a:r>
              <a:rPr lang="en-US" sz="1100" spc="-70"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manual  </a:t>
            </a:r>
            <a:r>
              <a:rPr lang="en-US" sz="1100" spc="15" dirty="0">
                <a:solidFill>
                  <a:prstClr val="black"/>
                </a:solidFill>
                <a:latin typeface="EYInterstate Light" panose="02000506000000020004" pitchFamily="2" charset="0"/>
                <a:ea typeface="+mn-ea"/>
                <a:cs typeface="Trebuchet MS"/>
              </a:rPr>
              <a:t>components</a:t>
            </a:r>
            <a:endParaRPr lang="en-US" sz="1100" dirty="0">
              <a:solidFill>
                <a:prstClr val="black"/>
              </a:solidFill>
              <a:latin typeface="EYInterstate Light" panose="02000506000000020004" pitchFamily="2" charset="0"/>
              <a:ea typeface="+mn-ea"/>
              <a:cs typeface="Trebuchet MS"/>
            </a:endParaRPr>
          </a:p>
        </p:txBody>
      </p:sp>
      <p:sp>
        <p:nvSpPr>
          <p:cNvPr id="109" name="object 15">
            <a:extLst>
              <a:ext uri="{FF2B5EF4-FFF2-40B4-BE49-F238E27FC236}">
                <a16:creationId xmlns:a16="http://schemas.microsoft.com/office/drawing/2014/main" id="{B98115F5-D49F-4734-9542-BAF3BC9887E4}"/>
              </a:ext>
            </a:extLst>
          </p:cNvPr>
          <p:cNvSpPr/>
          <p:nvPr/>
        </p:nvSpPr>
        <p:spPr>
          <a:xfrm>
            <a:off x="1537207" y="5934455"/>
            <a:ext cx="146304" cy="146304"/>
          </a:xfrm>
          <a:prstGeom prst="rect">
            <a:avLst/>
          </a:prstGeom>
          <a:blipFill>
            <a:blip r:embed="rId4" cstate="print"/>
            <a:stretch>
              <a:fillRect/>
            </a:stretch>
          </a:blipFill>
        </p:spPr>
        <p:txBody>
          <a:bodyPr wrap="square" lIns="0" tIns="0" rIns="0" bIns="0" rtlCol="0"/>
          <a:lstStyle/>
          <a:p>
            <a:pPr eaLnBrk="1" fontAlgn="auto" hangingPunct="1">
              <a:spcBef>
                <a:spcPts val="0"/>
              </a:spcBef>
              <a:spcAft>
                <a:spcPts val="0"/>
              </a:spcAft>
            </a:pPr>
            <a:endParaRPr lang="en-US" dirty="0">
              <a:solidFill>
                <a:prstClr val="black"/>
              </a:solidFill>
              <a:latin typeface="EYInterstate Light" panose="02000506000000020004" pitchFamily="2" charset="0"/>
              <a:ea typeface="+mn-ea"/>
              <a:cs typeface="+mn-cs"/>
            </a:endParaRPr>
          </a:p>
        </p:txBody>
      </p:sp>
      <p:sp>
        <p:nvSpPr>
          <p:cNvPr id="110" name="object 16">
            <a:extLst>
              <a:ext uri="{FF2B5EF4-FFF2-40B4-BE49-F238E27FC236}">
                <a16:creationId xmlns:a16="http://schemas.microsoft.com/office/drawing/2014/main" id="{FC1A52E9-A430-4AA8-9674-03CCC06D6651}"/>
              </a:ext>
            </a:extLst>
          </p:cNvPr>
          <p:cNvSpPr/>
          <p:nvPr/>
        </p:nvSpPr>
        <p:spPr>
          <a:xfrm>
            <a:off x="7079995" y="2031492"/>
            <a:ext cx="1624965" cy="1624965"/>
          </a:xfrm>
          <a:custGeom>
            <a:avLst/>
            <a:gdLst/>
            <a:ahLst/>
            <a:cxnLst/>
            <a:rect l="l" t="t" r="r" b="b"/>
            <a:pathLst>
              <a:path w="1624965" h="1624964">
                <a:moveTo>
                  <a:pt x="0" y="812292"/>
                </a:moveTo>
                <a:lnTo>
                  <a:pt x="1379" y="764568"/>
                </a:lnTo>
                <a:lnTo>
                  <a:pt x="5465" y="717571"/>
                </a:lnTo>
                <a:lnTo>
                  <a:pt x="12183" y="671375"/>
                </a:lnTo>
                <a:lnTo>
                  <a:pt x="21455" y="626057"/>
                </a:lnTo>
                <a:lnTo>
                  <a:pt x="33207" y="581693"/>
                </a:lnTo>
                <a:lnTo>
                  <a:pt x="47361" y="538360"/>
                </a:lnTo>
                <a:lnTo>
                  <a:pt x="63841" y="496133"/>
                </a:lnTo>
                <a:lnTo>
                  <a:pt x="82571" y="455089"/>
                </a:lnTo>
                <a:lnTo>
                  <a:pt x="103475" y="415304"/>
                </a:lnTo>
                <a:lnTo>
                  <a:pt x="126477" y="376855"/>
                </a:lnTo>
                <a:lnTo>
                  <a:pt x="151499" y="339817"/>
                </a:lnTo>
                <a:lnTo>
                  <a:pt x="178467" y="304266"/>
                </a:lnTo>
                <a:lnTo>
                  <a:pt x="207304" y="270280"/>
                </a:lnTo>
                <a:lnTo>
                  <a:pt x="237934" y="237934"/>
                </a:lnTo>
                <a:lnTo>
                  <a:pt x="270280" y="207304"/>
                </a:lnTo>
                <a:lnTo>
                  <a:pt x="304266" y="178467"/>
                </a:lnTo>
                <a:lnTo>
                  <a:pt x="339817" y="151499"/>
                </a:lnTo>
                <a:lnTo>
                  <a:pt x="376855" y="126477"/>
                </a:lnTo>
                <a:lnTo>
                  <a:pt x="415304" y="103475"/>
                </a:lnTo>
                <a:lnTo>
                  <a:pt x="455089" y="82571"/>
                </a:lnTo>
                <a:lnTo>
                  <a:pt x="496133" y="63841"/>
                </a:lnTo>
                <a:lnTo>
                  <a:pt x="538360" y="47361"/>
                </a:lnTo>
                <a:lnTo>
                  <a:pt x="581693" y="33207"/>
                </a:lnTo>
                <a:lnTo>
                  <a:pt x="626057" y="21455"/>
                </a:lnTo>
                <a:lnTo>
                  <a:pt x="671375" y="12183"/>
                </a:lnTo>
                <a:lnTo>
                  <a:pt x="717571" y="5465"/>
                </a:lnTo>
                <a:lnTo>
                  <a:pt x="764568" y="1379"/>
                </a:lnTo>
                <a:lnTo>
                  <a:pt x="812292" y="0"/>
                </a:lnTo>
                <a:lnTo>
                  <a:pt x="860015" y="1379"/>
                </a:lnTo>
                <a:lnTo>
                  <a:pt x="907012" y="5465"/>
                </a:lnTo>
                <a:lnTo>
                  <a:pt x="953208" y="12183"/>
                </a:lnTo>
                <a:lnTo>
                  <a:pt x="998526" y="21455"/>
                </a:lnTo>
                <a:lnTo>
                  <a:pt x="1042890" y="33207"/>
                </a:lnTo>
                <a:lnTo>
                  <a:pt x="1086223" y="47361"/>
                </a:lnTo>
                <a:lnTo>
                  <a:pt x="1128450" y="63841"/>
                </a:lnTo>
                <a:lnTo>
                  <a:pt x="1169494" y="82571"/>
                </a:lnTo>
                <a:lnTo>
                  <a:pt x="1209279" y="103475"/>
                </a:lnTo>
                <a:lnTo>
                  <a:pt x="1247728" y="126477"/>
                </a:lnTo>
                <a:lnTo>
                  <a:pt x="1284766" y="151499"/>
                </a:lnTo>
                <a:lnTo>
                  <a:pt x="1320317" y="178467"/>
                </a:lnTo>
                <a:lnTo>
                  <a:pt x="1354303" y="207304"/>
                </a:lnTo>
                <a:lnTo>
                  <a:pt x="1386649" y="237934"/>
                </a:lnTo>
                <a:lnTo>
                  <a:pt x="1417279" y="270280"/>
                </a:lnTo>
                <a:lnTo>
                  <a:pt x="1446116" y="304266"/>
                </a:lnTo>
                <a:lnTo>
                  <a:pt x="1473084" y="339817"/>
                </a:lnTo>
                <a:lnTo>
                  <a:pt x="1498106" y="376855"/>
                </a:lnTo>
                <a:lnTo>
                  <a:pt x="1521108" y="415304"/>
                </a:lnTo>
                <a:lnTo>
                  <a:pt x="1542012" y="455089"/>
                </a:lnTo>
                <a:lnTo>
                  <a:pt x="1560742" y="496133"/>
                </a:lnTo>
                <a:lnTo>
                  <a:pt x="1577222" y="538360"/>
                </a:lnTo>
                <a:lnTo>
                  <a:pt x="1591376" y="581693"/>
                </a:lnTo>
                <a:lnTo>
                  <a:pt x="1603128" y="626057"/>
                </a:lnTo>
                <a:lnTo>
                  <a:pt x="1612400" y="671375"/>
                </a:lnTo>
                <a:lnTo>
                  <a:pt x="1619118" y="717571"/>
                </a:lnTo>
                <a:lnTo>
                  <a:pt x="1623204" y="764568"/>
                </a:lnTo>
                <a:lnTo>
                  <a:pt x="1624583" y="812292"/>
                </a:lnTo>
                <a:lnTo>
                  <a:pt x="1623204" y="860015"/>
                </a:lnTo>
                <a:lnTo>
                  <a:pt x="1619118" y="907012"/>
                </a:lnTo>
                <a:lnTo>
                  <a:pt x="1612400" y="953208"/>
                </a:lnTo>
                <a:lnTo>
                  <a:pt x="1603128" y="998526"/>
                </a:lnTo>
                <a:lnTo>
                  <a:pt x="1591376" y="1042890"/>
                </a:lnTo>
                <a:lnTo>
                  <a:pt x="1577222" y="1086223"/>
                </a:lnTo>
                <a:lnTo>
                  <a:pt x="1560742" y="1128450"/>
                </a:lnTo>
                <a:lnTo>
                  <a:pt x="1542012" y="1169494"/>
                </a:lnTo>
                <a:lnTo>
                  <a:pt x="1521108" y="1209279"/>
                </a:lnTo>
                <a:lnTo>
                  <a:pt x="1498106" y="1247728"/>
                </a:lnTo>
                <a:lnTo>
                  <a:pt x="1473084" y="1284766"/>
                </a:lnTo>
                <a:lnTo>
                  <a:pt x="1446116" y="1320317"/>
                </a:lnTo>
                <a:lnTo>
                  <a:pt x="1417279" y="1354303"/>
                </a:lnTo>
                <a:lnTo>
                  <a:pt x="1386649" y="1386649"/>
                </a:lnTo>
                <a:lnTo>
                  <a:pt x="1354303" y="1417279"/>
                </a:lnTo>
                <a:lnTo>
                  <a:pt x="1320317" y="1446116"/>
                </a:lnTo>
                <a:lnTo>
                  <a:pt x="1284766" y="1473084"/>
                </a:lnTo>
                <a:lnTo>
                  <a:pt x="1247728" y="1498106"/>
                </a:lnTo>
                <a:lnTo>
                  <a:pt x="1209279" y="1521108"/>
                </a:lnTo>
                <a:lnTo>
                  <a:pt x="1169494" y="1542012"/>
                </a:lnTo>
                <a:lnTo>
                  <a:pt x="1128450" y="1560742"/>
                </a:lnTo>
                <a:lnTo>
                  <a:pt x="1086223" y="1577222"/>
                </a:lnTo>
                <a:lnTo>
                  <a:pt x="1042890" y="1591376"/>
                </a:lnTo>
                <a:lnTo>
                  <a:pt x="998526" y="1603128"/>
                </a:lnTo>
                <a:lnTo>
                  <a:pt x="953208" y="1612400"/>
                </a:lnTo>
                <a:lnTo>
                  <a:pt x="907012" y="1619118"/>
                </a:lnTo>
                <a:lnTo>
                  <a:pt x="860015" y="1623204"/>
                </a:lnTo>
                <a:lnTo>
                  <a:pt x="812292" y="1624584"/>
                </a:lnTo>
                <a:lnTo>
                  <a:pt x="764568" y="1623204"/>
                </a:lnTo>
                <a:lnTo>
                  <a:pt x="717571" y="1619118"/>
                </a:lnTo>
                <a:lnTo>
                  <a:pt x="671375" y="1612400"/>
                </a:lnTo>
                <a:lnTo>
                  <a:pt x="626057" y="1603128"/>
                </a:lnTo>
                <a:lnTo>
                  <a:pt x="581693" y="1591376"/>
                </a:lnTo>
                <a:lnTo>
                  <a:pt x="538360" y="1577222"/>
                </a:lnTo>
                <a:lnTo>
                  <a:pt x="496133" y="1560742"/>
                </a:lnTo>
                <a:lnTo>
                  <a:pt x="455089" y="1542012"/>
                </a:lnTo>
                <a:lnTo>
                  <a:pt x="415304" y="1521108"/>
                </a:lnTo>
                <a:lnTo>
                  <a:pt x="376855" y="1498106"/>
                </a:lnTo>
                <a:lnTo>
                  <a:pt x="339817" y="1473084"/>
                </a:lnTo>
                <a:lnTo>
                  <a:pt x="304266" y="1446116"/>
                </a:lnTo>
                <a:lnTo>
                  <a:pt x="270280" y="1417279"/>
                </a:lnTo>
                <a:lnTo>
                  <a:pt x="237934" y="1386649"/>
                </a:lnTo>
                <a:lnTo>
                  <a:pt x="207304" y="1354303"/>
                </a:lnTo>
                <a:lnTo>
                  <a:pt x="178467" y="1320317"/>
                </a:lnTo>
                <a:lnTo>
                  <a:pt x="151499" y="1284766"/>
                </a:lnTo>
                <a:lnTo>
                  <a:pt x="126477" y="1247728"/>
                </a:lnTo>
                <a:lnTo>
                  <a:pt x="103475" y="1209279"/>
                </a:lnTo>
                <a:lnTo>
                  <a:pt x="82571" y="1169494"/>
                </a:lnTo>
                <a:lnTo>
                  <a:pt x="63841" y="1128450"/>
                </a:lnTo>
                <a:lnTo>
                  <a:pt x="47361" y="1086223"/>
                </a:lnTo>
                <a:lnTo>
                  <a:pt x="33207" y="1042890"/>
                </a:lnTo>
                <a:lnTo>
                  <a:pt x="21455" y="998526"/>
                </a:lnTo>
                <a:lnTo>
                  <a:pt x="12183" y="953208"/>
                </a:lnTo>
                <a:lnTo>
                  <a:pt x="5465" y="907012"/>
                </a:lnTo>
                <a:lnTo>
                  <a:pt x="1379" y="860015"/>
                </a:lnTo>
                <a:lnTo>
                  <a:pt x="0" y="812292"/>
                </a:lnTo>
                <a:close/>
              </a:path>
            </a:pathLst>
          </a:custGeom>
          <a:ln w="57912">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11" name="object 17">
            <a:extLst>
              <a:ext uri="{FF2B5EF4-FFF2-40B4-BE49-F238E27FC236}">
                <a16:creationId xmlns:a16="http://schemas.microsoft.com/office/drawing/2014/main" id="{5DFA9290-CF3D-4E1E-99DF-71EB16F283AF}"/>
              </a:ext>
            </a:extLst>
          </p:cNvPr>
          <p:cNvSpPr txBox="1"/>
          <p:nvPr/>
        </p:nvSpPr>
        <p:spPr>
          <a:xfrm>
            <a:off x="8901555" y="2252536"/>
            <a:ext cx="2946315" cy="1177245"/>
          </a:xfrm>
          <a:prstGeom prst="rect">
            <a:avLst/>
          </a:prstGeom>
        </p:spPr>
        <p:txBody>
          <a:bodyPr vert="horz" wrap="square" lIns="0" tIns="43180" rIns="0" bIns="0" rtlCol="0">
            <a:spAutoFit/>
          </a:bodyPr>
          <a:lstStyle/>
          <a:p>
            <a:pPr marL="12700" eaLnBrk="1" fontAlgn="auto" hangingPunct="1">
              <a:spcBef>
                <a:spcPts val="340"/>
              </a:spcBef>
              <a:spcAft>
                <a:spcPts val="0"/>
              </a:spcAft>
            </a:pPr>
            <a:r>
              <a:rPr lang="en-US" sz="1600" b="1" spc="110" dirty="0">
                <a:solidFill>
                  <a:prstClr val="black"/>
                </a:solidFill>
                <a:latin typeface="+mj-lt"/>
                <a:ea typeface="+mn-ea"/>
                <a:cs typeface="Trebuchet MS"/>
              </a:rPr>
              <a:t>Next Gen Architecture</a:t>
            </a:r>
            <a:endParaRPr lang="en-US" sz="1600" dirty="0">
              <a:solidFill>
                <a:prstClr val="black"/>
              </a:solidFill>
              <a:latin typeface="+mj-lt"/>
              <a:ea typeface="+mn-ea"/>
              <a:cs typeface="Trebuchet MS"/>
            </a:endParaRPr>
          </a:p>
          <a:p>
            <a:pPr marL="12700" marR="5080" eaLnBrk="1" fontAlgn="auto" hangingPunct="1">
              <a:lnSpc>
                <a:spcPct val="100400"/>
              </a:lnSpc>
              <a:spcBef>
                <a:spcPts val="150"/>
              </a:spcBef>
              <a:spcAft>
                <a:spcPts val="0"/>
              </a:spcAft>
            </a:pPr>
            <a:r>
              <a:rPr lang="en-US" sz="1400" spc="10" dirty="0">
                <a:solidFill>
                  <a:prstClr val="black"/>
                </a:solidFill>
                <a:latin typeface="+mj-lt"/>
                <a:ea typeface="+mn-ea"/>
                <a:cs typeface="Trebuchet MS"/>
              </a:rPr>
              <a:t>Data </a:t>
            </a:r>
            <a:r>
              <a:rPr lang="en-US" sz="1400" spc="-10" dirty="0">
                <a:solidFill>
                  <a:prstClr val="black"/>
                </a:solidFill>
                <a:latin typeface="+mj-lt"/>
                <a:ea typeface="+mn-ea"/>
                <a:cs typeface="Trebuchet MS"/>
              </a:rPr>
              <a:t>lake </a:t>
            </a:r>
            <a:r>
              <a:rPr lang="en-US" sz="1400" spc="20" dirty="0">
                <a:solidFill>
                  <a:prstClr val="black"/>
                </a:solidFill>
                <a:latin typeface="+mj-lt"/>
                <a:ea typeface="+mn-ea"/>
                <a:cs typeface="Trebuchet MS"/>
              </a:rPr>
              <a:t>based </a:t>
            </a:r>
            <a:r>
              <a:rPr lang="en-US" sz="1400" dirty="0">
                <a:solidFill>
                  <a:prstClr val="black"/>
                </a:solidFill>
                <a:latin typeface="+mj-lt"/>
                <a:ea typeface="+mn-ea"/>
                <a:cs typeface="Trebuchet MS"/>
              </a:rPr>
              <a:t>architecture </a:t>
            </a:r>
            <a:r>
              <a:rPr lang="en-US" sz="1400" spc="-15" dirty="0">
                <a:solidFill>
                  <a:prstClr val="black"/>
                </a:solidFill>
                <a:latin typeface="+mj-lt"/>
                <a:ea typeface="+mn-ea"/>
                <a:cs typeface="Trebuchet MS"/>
              </a:rPr>
              <a:t>with  </a:t>
            </a:r>
            <a:r>
              <a:rPr lang="en-US" sz="1400" spc="-5" dirty="0">
                <a:solidFill>
                  <a:prstClr val="black"/>
                </a:solidFill>
                <a:latin typeface="+mj-lt"/>
                <a:ea typeface="+mn-ea"/>
                <a:cs typeface="Trebuchet MS"/>
              </a:rPr>
              <a:t>unified</a:t>
            </a:r>
            <a:r>
              <a:rPr lang="en-US" sz="1400" spc="-85" dirty="0">
                <a:solidFill>
                  <a:prstClr val="black"/>
                </a:solidFill>
                <a:latin typeface="+mj-lt"/>
                <a:ea typeface="+mn-ea"/>
                <a:cs typeface="Trebuchet MS"/>
              </a:rPr>
              <a:t> </a:t>
            </a:r>
            <a:r>
              <a:rPr lang="en-US" sz="1400" spc="25" dirty="0">
                <a:solidFill>
                  <a:prstClr val="black"/>
                </a:solidFill>
                <a:latin typeface="+mj-lt"/>
                <a:ea typeface="+mn-ea"/>
                <a:cs typeface="Trebuchet MS"/>
              </a:rPr>
              <a:t>sourcing</a:t>
            </a:r>
            <a:r>
              <a:rPr lang="en-US" sz="1400" spc="-80" dirty="0">
                <a:solidFill>
                  <a:prstClr val="black"/>
                </a:solidFill>
                <a:latin typeface="+mj-lt"/>
                <a:ea typeface="+mn-ea"/>
                <a:cs typeface="Trebuchet MS"/>
              </a:rPr>
              <a:t> </a:t>
            </a:r>
            <a:r>
              <a:rPr lang="en-US" sz="1400" spc="15" dirty="0">
                <a:solidFill>
                  <a:prstClr val="black"/>
                </a:solidFill>
                <a:latin typeface="+mj-lt"/>
                <a:ea typeface="+mn-ea"/>
                <a:cs typeface="Trebuchet MS"/>
              </a:rPr>
              <a:t>and</a:t>
            </a:r>
            <a:r>
              <a:rPr lang="en-US" sz="1400" spc="-85" dirty="0">
                <a:solidFill>
                  <a:prstClr val="black"/>
                </a:solidFill>
                <a:latin typeface="+mj-lt"/>
                <a:ea typeface="+mn-ea"/>
                <a:cs typeface="Trebuchet MS"/>
              </a:rPr>
              <a:t> </a:t>
            </a:r>
            <a:r>
              <a:rPr lang="en-US" sz="1400" spc="10" dirty="0">
                <a:solidFill>
                  <a:prstClr val="black"/>
                </a:solidFill>
                <a:latin typeface="+mj-lt"/>
                <a:ea typeface="+mn-ea"/>
                <a:cs typeface="Trebuchet MS"/>
              </a:rPr>
              <a:t>consumption,  </a:t>
            </a:r>
            <a:r>
              <a:rPr lang="en-US" sz="1400" spc="-20" dirty="0">
                <a:solidFill>
                  <a:prstClr val="black"/>
                </a:solidFill>
                <a:latin typeface="+mj-lt"/>
                <a:ea typeface="+mn-ea"/>
                <a:cs typeface="Trebuchet MS"/>
              </a:rPr>
              <a:t>flexible </a:t>
            </a:r>
            <a:r>
              <a:rPr lang="en-US" sz="1400" spc="15" dirty="0">
                <a:solidFill>
                  <a:prstClr val="black"/>
                </a:solidFill>
                <a:latin typeface="+mj-lt"/>
                <a:ea typeface="+mn-ea"/>
                <a:cs typeface="Trebuchet MS"/>
              </a:rPr>
              <a:t>and </a:t>
            </a:r>
            <a:r>
              <a:rPr lang="en-US" sz="1400" spc="-10" dirty="0">
                <a:solidFill>
                  <a:prstClr val="black"/>
                </a:solidFill>
                <a:latin typeface="+mj-lt"/>
                <a:ea typeface="+mn-ea"/>
                <a:cs typeface="Trebuchet MS"/>
              </a:rPr>
              <a:t>iterative </a:t>
            </a:r>
            <a:r>
              <a:rPr lang="en-US" sz="1400" dirty="0">
                <a:solidFill>
                  <a:prstClr val="black"/>
                </a:solidFill>
                <a:latin typeface="+mj-lt"/>
                <a:ea typeface="+mn-ea"/>
                <a:cs typeface="Trebuchet MS"/>
              </a:rPr>
              <a:t>data </a:t>
            </a:r>
            <a:r>
              <a:rPr lang="en-US" sz="1400" spc="-10" dirty="0">
                <a:solidFill>
                  <a:prstClr val="black"/>
                </a:solidFill>
                <a:latin typeface="+mj-lt"/>
                <a:ea typeface="+mn-ea"/>
                <a:cs typeface="Trebuchet MS"/>
              </a:rPr>
              <a:t>model,  </a:t>
            </a:r>
            <a:r>
              <a:rPr lang="en-US" sz="1400" spc="15" dirty="0">
                <a:solidFill>
                  <a:prstClr val="black"/>
                </a:solidFill>
                <a:latin typeface="+mj-lt"/>
                <a:ea typeface="+mn-ea"/>
                <a:cs typeface="Trebuchet MS"/>
              </a:rPr>
              <a:t>supported </a:t>
            </a:r>
            <a:r>
              <a:rPr lang="en-US" sz="1400" spc="25" dirty="0">
                <a:solidFill>
                  <a:prstClr val="black"/>
                </a:solidFill>
                <a:latin typeface="+mj-lt"/>
                <a:ea typeface="+mn-ea"/>
                <a:cs typeface="Trebuchet MS"/>
              </a:rPr>
              <a:t>by</a:t>
            </a:r>
            <a:r>
              <a:rPr lang="en-US" sz="1400" spc="-185" dirty="0">
                <a:solidFill>
                  <a:prstClr val="black"/>
                </a:solidFill>
                <a:latin typeface="+mj-lt"/>
                <a:ea typeface="+mn-ea"/>
                <a:cs typeface="Trebuchet MS"/>
              </a:rPr>
              <a:t> </a:t>
            </a:r>
            <a:r>
              <a:rPr lang="en-US" sz="1400" spc="5" dirty="0">
                <a:solidFill>
                  <a:prstClr val="black"/>
                </a:solidFill>
                <a:latin typeface="+mj-lt"/>
                <a:ea typeface="+mn-ea"/>
                <a:cs typeface="Trebuchet MS"/>
              </a:rPr>
              <a:t>automation</a:t>
            </a:r>
            <a:endParaRPr lang="en-US" sz="1400" dirty="0">
              <a:solidFill>
                <a:prstClr val="black"/>
              </a:solidFill>
              <a:latin typeface="+mj-lt"/>
              <a:ea typeface="+mn-ea"/>
              <a:cs typeface="Trebuchet MS"/>
            </a:endParaRPr>
          </a:p>
        </p:txBody>
      </p:sp>
      <p:sp>
        <p:nvSpPr>
          <p:cNvPr id="112" name="object 18">
            <a:extLst>
              <a:ext uri="{FF2B5EF4-FFF2-40B4-BE49-F238E27FC236}">
                <a16:creationId xmlns:a16="http://schemas.microsoft.com/office/drawing/2014/main" id="{FAD4407A-F7E6-42F7-A734-822150EE6F27}"/>
              </a:ext>
            </a:extLst>
          </p:cNvPr>
          <p:cNvSpPr txBox="1"/>
          <p:nvPr/>
        </p:nvSpPr>
        <p:spPr>
          <a:xfrm>
            <a:off x="7615046" y="3892118"/>
            <a:ext cx="3799139" cy="352019"/>
          </a:xfrm>
          <a:prstGeom prst="rect">
            <a:avLst/>
          </a:prstGeom>
        </p:spPr>
        <p:txBody>
          <a:bodyPr vert="horz" wrap="square" lIns="0" tIns="13335" rIns="0" bIns="0" rtlCol="0">
            <a:spAutoFit/>
          </a:bodyPr>
          <a:lstStyle/>
          <a:p>
            <a:pPr marL="12700" eaLnBrk="1" fontAlgn="auto" hangingPunct="1">
              <a:spcBef>
                <a:spcPts val="105"/>
              </a:spcBef>
              <a:spcAft>
                <a:spcPts val="0"/>
              </a:spcAft>
            </a:pPr>
            <a:r>
              <a:rPr lang="en-US" sz="1100" spc="15" dirty="0">
                <a:solidFill>
                  <a:prstClr val="black"/>
                </a:solidFill>
                <a:latin typeface="EYInterstate Light" panose="02000506000000020004" pitchFamily="2" charset="0"/>
                <a:ea typeface="+mn-ea"/>
                <a:cs typeface="Trebuchet MS"/>
              </a:rPr>
              <a:t>Reduced</a:t>
            </a:r>
            <a:r>
              <a:rPr lang="en-US" sz="1100" spc="-100" dirty="0">
                <a:solidFill>
                  <a:prstClr val="black"/>
                </a:solidFill>
                <a:latin typeface="EYInterstate Light" panose="02000506000000020004" pitchFamily="2" charset="0"/>
                <a:ea typeface="+mn-ea"/>
                <a:cs typeface="Trebuchet MS"/>
              </a:rPr>
              <a:t> </a:t>
            </a:r>
            <a:r>
              <a:rPr lang="en-US" sz="1100" spc="20" dirty="0">
                <a:solidFill>
                  <a:prstClr val="black"/>
                </a:solidFill>
                <a:latin typeface="EYInterstate Light" panose="02000506000000020004" pitchFamily="2" charset="0"/>
                <a:ea typeface="+mn-ea"/>
                <a:cs typeface="Trebuchet MS"/>
              </a:rPr>
              <a:t>cost</a:t>
            </a:r>
            <a:r>
              <a:rPr lang="en-US" sz="1100" spc="-70"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due</a:t>
            </a:r>
            <a:r>
              <a:rPr lang="en-US" sz="1100" spc="-75" dirty="0">
                <a:solidFill>
                  <a:prstClr val="black"/>
                </a:solidFill>
                <a:latin typeface="EYInterstate Light" panose="02000506000000020004" pitchFamily="2" charset="0"/>
                <a:ea typeface="+mn-ea"/>
                <a:cs typeface="Trebuchet MS"/>
              </a:rPr>
              <a:t> </a:t>
            </a:r>
            <a:r>
              <a:rPr lang="en-US" sz="1100" dirty="0">
                <a:solidFill>
                  <a:prstClr val="black"/>
                </a:solidFill>
                <a:latin typeface="EYInterstate Light" panose="02000506000000020004" pitchFamily="2" charset="0"/>
                <a:ea typeface="+mn-ea"/>
                <a:cs typeface="Trebuchet MS"/>
              </a:rPr>
              <a:t>to</a:t>
            </a:r>
            <a:r>
              <a:rPr lang="en-US" sz="1100" spc="-35"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rapid</a:t>
            </a:r>
            <a:r>
              <a:rPr lang="en-US" sz="1100" spc="-100"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development</a:t>
            </a:r>
            <a:r>
              <a:rPr lang="en-US" sz="1100" spc="-12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with</a:t>
            </a:r>
            <a:r>
              <a:rPr lang="en-US" sz="1100" spc="-60" dirty="0">
                <a:solidFill>
                  <a:prstClr val="black"/>
                </a:solidFill>
                <a:latin typeface="EYInterstate Light" panose="02000506000000020004" pitchFamily="2" charset="0"/>
                <a:ea typeface="+mn-ea"/>
                <a:cs typeface="Trebuchet MS"/>
              </a:rPr>
              <a:t> </a:t>
            </a:r>
            <a:r>
              <a:rPr lang="en-US" sz="1100" dirty="0">
                <a:solidFill>
                  <a:prstClr val="black"/>
                </a:solidFill>
                <a:latin typeface="EYInterstate Light" panose="02000506000000020004" pitchFamily="2" charset="0"/>
                <a:ea typeface="+mn-ea"/>
                <a:cs typeface="Trebuchet MS"/>
              </a:rPr>
              <a:t>quick</a:t>
            </a:r>
          </a:p>
          <a:p>
            <a:pPr marL="12700" eaLnBrk="1" fontAlgn="auto" hangingPunct="1">
              <a:spcBef>
                <a:spcPts val="15"/>
              </a:spcBef>
              <a:spcAft>
                <a:spcPts val="0"/>
              </a:spcAft>
            </a:pPr>
            <a:r>
              <a:rPr lang="en-US" sz="1100" dirty="0">
                <a:solidFill>
                  <a:prstClr val="black"/>
                </a:solidFill>
                <a:latin typeface="EYInterstate Light" panose="02000506000000020004" pitchFamily="2" charset="0"/>
                <a:ea typeface="+mn-ea"/>
                <a:cs typeface="Trebuchet MS"/>
              </a:rPr>
              <a:t>iterations</a:t>
            </a:r>
            <a:r>
              <a:rPr lang="en-US" sz="1100" spc="-70" dirty="0">
                <a:solidFill>
                  <a:prstClr val="black"/>
                </a:solidFill>
                <a:latin typeface="EYInterstate Light" panose="02000506000000020004" pitchFamily="2" charset="0"/>
                <a:ea typeface="+mn-ea"/>
                <a:cs typeface="Trebuchet MS"/>
              </a:rPr>
              <a:t> </a:t>
            </a:r>
            <a:r>
              <a:rPr lang="en-US" sz="1100" spc="20" dirty="0">
                <a:solidFill>
                  <a:prstClr val="black"/>
                </a:solidFill>
                <a:latin typeface="EYInterstate Light" panose="02000506000000020004" pitchFamily="2" charset="0"/>
                <a:ea typeface="+mn-ea"/>
                <a:cs typeface="Trebuchet MS"/>
              </a:rPr>
              <a:t>having</a:t>
            </a:r>
            <a:r>
              <a:rPr lang="en-US" sz="1100" spc="-70"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duration</a:t>
            </a:r>
            <a:r>
              <a:rPr lang="en-US" sz="1100" spc="-80"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of</a:t>
            </a:r>
            <a:r>
              <a:rPr lang="en-US" sz="1100" spc="-45"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weeks</a:t>
            </a:r>
            <a:r>
              <a:rPr lang="en-US" sz="1100" spc="-95" dirty="0">
                <a:solidFill>
                  <a:prstClr val="black"/>
                </a:solidFill>
                <a:latin typeface="EYInterstate Light" panose="02000506000000020004" pitchFamily="2" charset="0"/>
                <a:ea typeface="+mn-ea"/>
                <a:cs typeface="Trebuchet MS"/>
              </a:rPr>
              <a:t> </a:t>
            </a:r>
            <a:r>
              <a:rPr lang="en-US" sz="1100" dirty="0">
                <a:solidFill>
                  <a:prstClr val="black"/>
                </a:solidFill>
                <a:latin typeface="EYInterstate Light" panose="02000506000000020004" pitchFamily="2" charset="0"/>
                <a:ea typeface="+mn-ea"/>
                <a:cs typeface="Trebuchet MS"/>
              </a:rPr>
              <a:t>to</a:t>
            </a:r>
            <a:r>
              <a:rPr lang="en-US" sz="1100" spc="-30" dirty="0">
                <a:solidFill>
                  <a:prstClr val="black"/>
                </a:solidFill>
                <a:latin typeface="EYInterstate Light" panose="02000506000000020004" pitchFamily="2" charset="0"/>
                <a:ea typeface="+mn-ea"/>
                <a:cs typeface="Trebuchet MS"/>
              </a:rPr>
              <a:t> </a:t>
            </a:r>
            <a:r>
              <a:rPr lang="en-US" sz="1100" spc="20" dirty="0">
                <a:solidFill>
                  <a:prstClr val="black"/>
                </a:solidFill>
                <a:latin typeface="EYInterstate Light" panose="02000506000000020004" pitchFamily="2" charset="0"/>
                <a:ea typeface="+mn-ea"/>
                <a:cs typeface="Trebuchet MS"/>
              </a:rPr>
              <a:t>months</a:t>
            </a:r>
            <a:endParaRPr lang="en-US" sz="1100" dirty="0">
              <a:solidFill>
                <a:prstClr val="black"/>
              </a:solidFill>
              <a:latin typeface="EYInterstate Light" panose="02000506000000020004" pitchFamily="2" charset="0"/>
              <a:ea typeface="+mn-ea"/>
              <a:cs typeface="Trebuchet MS"/>
            </a:endParaRPr>
          </a:p>
        </p:txBody>
      </p:sp>
      <p:sp>
        <p:nvSpPr>
          <p:cNvPr id="113" name="object 19">
            <a:extLst>
              <a:ext uri="{FF2B5EF4-FFF2-40B4-BE49-F238E27FC236}">
                <a16:creationId xmlns:a16="http://schemas.microsoft.com/office/drawing/2014/main" id="{B0FFB427-2C60-49C0-8EEA-15BD4B3E71CF}"/>
              </a:ext>
            </a:extLst>
          </p:cNvPr>
          <p:cNvSpPr/>
          <p:nvPr/>
        </p:nvSpPr>
        <p:spPr>
          <a:xfrm>
            <a:off x="7322311" y="4023359"/>
            <a:ext cx="167640" cy="143256"/>
          </a:xfrm>
          <a:prstGeom prst="rect">
            <a:avLst/>
          </a:prstGeom>
          <a:blipFill>
            <a:blip r:embed="rId5" cstate="print">
              <a:duotone>
                <a:prstClr val="black"/>
                <a:schemeClr val="accent5">
                  <a:tint val="45000"/>
                  <a:satMod val="400000"/>
                </a:schemeClr>
              </a:duotone>
            </a:blip>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14" name="object 20">
            <a:extLst>
              <a:ext uri="{FF2B5EF4-FFF2-40B4-BE49-F238E27FC236}">
                <a16:creationId xmlns:a16="http://schemas.microsoft.com/office/drawing/2014/main" id="{4D3B32B4-5494-484B-A620-0B5E6007670B}"/>
              </a:ext>
            </a:extLst>
          </p:cNvPr>
          <p:cNvSpPr/>
          <p:nvPr/>
        </p:nvSpPr>
        <p:spPr>
          <a:xfrm>
            <a:off x="7761223" y="2328672"/>
            <a:ext cx="268605" cy="323215"/>
          </a:xfrm>
          <a:custGeom>
            <a:avLst/>
            <a:gdLst/>
            <a:ahLst/>
            <a:cxnLst/>
            <a:rect l="l" t="t" r="r" b="b"/>
            <a:pathLst>
              <a:path w="268604" h="323214">
                <a:moveTo>
                  <a:pt x="268224" y="181863"/>
                </a:moveTo>
                <a:lnTo>
                  <a:pt x="90170" y="181863"/>
                </a:lnTo>
                <a:lnTo>
                  <a:pt x="94360" y="186181"/>
                </a:lnTo>
                <a:lnTo>
                  <a:pt x="98678" y="190373"/>
                </a:lnTo>
                <a:lnTo>
                  <a:pt x="98678" y="320928"/>
                </a:lnTo>
                <a:lnTo>
                  <a:pt x="124459" y="323088"/>
                </a:lnTo>
                <a:lnTo>
                  <a:pt x="124459" y="235330"/>
                </a:lnTo>
                <a:lnTo>
                  <a:pt x="126619" y="228980"/>
                </a:lnTo>
                <a:lnTo>
                  <a:pt x="133096" y="226822"/>
                </a:lnTo>
                <a:lnTo>
                  <a:pt x="171703" y="226822"/>
                </a:lnTo>
                <a:lnTo>
                  <a:pt x="171703" y="220344"/>
                </a:lnTo>
                <a:lnTo>
                  <a:pt x="173862" y="211836"/>
                </a:lnTo>
                <a:lnTo>
                  <a:pt x="180212" y="209676"/>
                </a:lnTo>
                <a:lnTo>
                  <a:pt x="268224" y="209676"/>
                </a:lnTo>
                <a:lnTo>
                  <a:pt x="268224" y="181863"/>
                </a:lnTo>
                <a:close/>
              </a:path>
              <a:path w="268604" h="323214">
                <a:moveTo>
                  <a:pt x="171703" y="226822"/>
                </a:moveTo>
                <a:lnTo>
                  <a:pt x="133096" y="226822"/>
                </a:lnTo>
                <a:lnTo>
                  <a:pt x="141604" y="228980"/>
                </a:lnTo>
                <a:lnTo>
                  <a:pt x="145923" y="235330"/>
                </a:lnTo>
                <a:lnTo>
                  <a:pt x="145923" y="323088"/>
                </a:lnTo>
                <a:lnTo>
                  <a:pt x="171703" y="320928"/>
                </a:lnTo>
                <a:lnTo>
                  <a:pt x="171703" y="226822"/>
                </a:lnTo>
                <a:close/>
              </a:path>
              <a:path w="268604" h="323214">
                <a:moveTo>
                  <a:pt x="163068" y="0"/>
                </a:moveTo>
                <a:lnTo>
                  <a:pt x="107315" y="0"/>
                </a:lnTo>
                <a:lnTo>
                  <a:pt x="60071" y="8508"/>
                </a:lnTo>
                <a:lnTo>
                  <a:pt x="38607" y="17144"/>
                </a:lnTo>
                <a:lnTo>
                  <a:pt x="23622" y="27812"/>
                </a:lnTo>
                <a:lnTo>
                  <a:pt x="8635" y="36322"/>
                </a:lnTo>
                <a:lnTo>
                  <a:pt x="4318" y="47116"/>
                </a:lnTo>
                <a:lnTo>
                  <a:pt x="0" y="59943"/>
                </a:lnTo>
                <a:lnTo>
                  <a:pt x="0" y="273938"/>
                </a:lnTo>
                <a:lnTo>
                  <a:pt x="6476" y="282448"/>
                </a:lnTo>
                <a:lnTo>
                  <a:pt x="21462" y="297433"/>
                </a:lnTo>
                <a:lnTo>
                  <a:pt x="45084" y="308101"/>
                </a:lnTo>
                <a:lnTo>
                  <a:pt x="77216" y="318769"/>
                </a:lnTo>
                <a:lnTo>
                  <a:pt x="77216" y="190373"/>
                </a:lnTo>
                <a:lnTo>
                  <a:pt x="79375" y="186181"/>
                </a:lnTo>
                <a:lnTo>
                  <a:pt x="90170" y="181863"/>
                </a:lnTo>
                <a:lnTo>
                  <a:pt x="268224" y="181863"/>
                </a:lnTo>
                <a:lnTo>
                  <a:pt x="268224" y="100583"/>
                </a:lnTo>
                <a:lnTo>
                  <a:pt x="137286" y="100583"/>
                </a:lnTo>
                <a:lnTo>
                  <a:pt x="98678" y="98425"/>
                </a:lnTo>
                <a:lnTo>
                  <a:pt x="79375" y="94106"/>
                </a:lnTo>
                <a:lnTo>
                  <a:pt x="68706" y="87756"/>
                </a:lnTo>
                <a:lnTo>
                  <a:pt x="55752" y="83438"/>
                </a:lnTo>
                <a:lnTo>
                  <a:pt x="47244" y="77088"/>
                </a:lnTo>
                <a:lnTo>
                  <a:pt x="42925" y="68452"/>
                </a:lnTo>
                <a:lnTo>
                  <a:pt x="38607" y="59943"/>
                </a:lnTo>
                <a:lnTo>
                  <a:pt x="42925" y="51307"/>
                </a:lnTo>
                <a:lnTo>
                  <a:pt x="47244" y="44957"/>
                </a:lnTo>
                <a:lnTo>
                  <a:pt x="55752" y="36322"/>
                </a:lnTo>
                <a:lnTo>
                  <a:pt x="68706" y="29972"/>
                </a:lnTo>
                <a:lnTo>
                  <a:pt x="79375" y="23494"/>
                </a:lnTo>
                <a:lnTo>
                  <a:pt x="137286" y="17144"/>
                </a:lnTo>
                <a:lnTo>
                  <a:pt x="231775" y="17144"/>
                </a:lnTo>
                <a:lnTo>
                  <a:pt x="210311" y="8508"/>
                </a:lnTo>
                <a:lnTo>
                  <a:pt x="163068" y="0"/>
                </a:lnTo>
                <a:close/>
              </a:path>
              <a:path w="268604" h="323214">
                <a:moveTo>
                  <a:pt x="268224" y="209676"/>
                </a:moveTo>
                <a:lnTo>
                  <a:pt x="180212" y="209676"/>
                </a:lnTo>
                <a:lnTo>
                  <a:pt x="188849" y="211836"/>
                </a:lnTo>
                <a:lnTo>
                  <a:pt x="193167" y="220344"/>
                </a:lnTo>
                <a:lnTo>
                  <a:pt x="193167" y="318769"/>
                </a:lnTo>
                <a:lnTo>
                  <a:pt x="225298" y="308101"/>
                </a:lnTo>
                <a:lnTo>
                  <a:pt x="248920" y="297433"/>
                </a:lnTo>
                <a:lnTo>
                  <a:pt x="263905" y="282448"/>
                </a:lnTo>
                <a:lnTo>
                  <a:pt x="268224" y="273938"/>
                </a:lnTo>
                <a:lnTo>
                  <a:pt x="268224" y="209676"/>
                </a:lnTo>
                <a:close/>
              </a:path>
              <a:path w="268604" h="323214">
                <a:moveTo>
                  <a:pt x="231775" y="17144"/>
                </a:moveTo>
                <a:lnTo>
                  <a:pt x="137286" y="17144"/>
                </a:lnTo>
                <a:lnTo>
                  <a:pt x="188849" y="23494"/>
                </a:lnTo>
                <a:lnTo>
                  <a:pt x="201675" y="29972"/>
                </a:lnTo>
                <a:lnTo>
                  <a:pt x="212471" y="36322"/>
                </a:lnTo>
                <a:lnTo>
                  <a:pt x="220979" y="44957"/>
                </a:lnTo>
                <a:lnTo>
                  <a:pt x="227456" y="51307"/>
                </a:lnTo>
                <a:lnTo>
                  <a:pt x="231775" y="59943"/>
                </a:lnTo>
                <a:lnTo>
                  <a:pt x="227456" y="68452"/>
                </a:lnTo>
                <a:lnTo>
                  <a:pt x="220979" y="77088"/>
                </a:lnTo>
                <a:lnTo>
                  <a:pt x="212471" y="83438"/>
                </a:lnTo>
                <a:lnTo>
                  <a:pt x="201675" y="87756"/>
                </a:lnTo>
                <a:lnTo>
                  <a:pt x="188849" y="94106"/>
                </a:lnTo>
                <a:lnTo>
                  <a:pt x="171703" y="98425"/>
                </a:lnTo>
                <a:lnTo>
                  <a:pt x="137286" y="100583"/>
                </a:lnTo>
                <a:lnTo>
                  <a:pt x="268224" y="100583"/>
                </a:lnTo>
                <a:lnTo>
                  <a:pt x="268224" y="59943"/>
                </a:lnTo>
                <a:lnTo>
                  <a:pt x="266065" y="47116"/>
                </a:lnTo>
                <a:lnTo>
                  <a:pt x="259587" y="36322"/>
                </a:lnTo>
                <a:lnTo>
                  <a:pt x="244601" y="27812"/>
                </a:lnTo>
                <a:lnTo>
                  <a:pt x="231775" y="17144"/>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15" name="object 21">
            <a:extLst>
              <a:ext uri="{FF2B5EF4-FFF2-40B4-BE49-F238E27FC236}">
                <a16:creationId xmlns:a16="http://schemas.microsoft.com/office/drawing/2014/main" id="{02380C69-7A69-4001-8FD4-6E09DB55FD08}"/>
              </a:ext>
            </a:extLst>
          </p:cNvPr>
          <p:cNvSpPr/>
          <p:nvPr/>
        </p:nvSpPr>
        <p:spPr>
          <a:xfrm>
            <a:off x="7852664" y="2744723"/>
            <a:ext cx="94615" cy="0"/>
          </a:xfrm>
          <a:custGeom>
            <a:avLst/>
            <a:gdLst/>
            <a:ahLst/>
            <a:cxnLst/>
            <a:rect l="l" t="t" r="r" b="b"/>
            <a:pathLst>
              <a:path w="94615">
                <a:moveTo>
                  <a:pt x="0" y="0"/>
                </a:moveTo>
                <a:lnTo>
                  <a:pt x="94488" y="0"/>
                </a:lnTo>
              </a:path>
            </a:pathLst>
          </a:custGeom>
          <a:ln w="64008">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16" name="object 22">
            <a:extLst>
              <a:ext uri="{FF2B5EF4-FFF2-40B4-BE49-F238E27FC236}">
                <a16:creationId xmlns:a16="http://schemas.microsoft.com/office/drawing/2014/main" id="{FCED0A27-7F9C-474A-B645-13FEA8882A7D}"/>
              </a:ext>
            </a:extLst>
          </p:cNvPr>
          <p:cNvSpPr/>
          <p:nvPr/>
        </p:nvSpPr>
        <p:spPr>
          <a:xfrm>
            <a:off x="7502143" y="2558795"/>
            <a:ext cx="125095" cy="0"/>
          </a:xfrm>
          <a:custGeom>
            <a:avLst/>
            <a:gdLst/>
            <a:ahLst/>
            <a:cxnLst/>
            <a:rect l="l" t="t" r="r" b="b"/>
            <a:pathLst>
              <a:path w="125095">
                <a:moveTo>
                  <a:pt x="0" y="0"/>
                </a:moveTo>
                <a:lnTo>
                  <a:pt x="124968" y="0"/>
                </a:lnTo>
              </a:path>
            </a:pathLst>
          </a:custGeom>
          <a:ln w="51815">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17" name="object 23">
            <a:extLst>
              <a:ext uri="{FF2B5EF4-FFF2-40B4-BE49-F238E27FC236}">
                <a16:creationId xmlns:a16="http://schemas.microsoft.com/office/drawing/2014/main" id="{BC54091B-C3B0-480D-89D2-759E7673EB74}"/>
              </a:ext>
            </a:extLst>
          </p:cNvPr>
          <p:cNvSpPr/>
          <p:nvPr/>
        </p:nvSpPr>
        <p:spPr>
          <a:xfrm>
            <a:off x="8172704" y="2558795"/>
            <a:ext cx="121920" cy="0"/>
          </a:xfrm>
          <a:custGeom>
            <a:avLst/>
            <a:gdLst/>
            <a:ahLst/>
            <a:cxnLst/>
            <a:rect l="l" t="t" r="r" b="b"/>
            <a:pathLst>
              <a:path w="121920">
                <a:moveTo>
                  <a:pt x="0" y="0"/>
                </a:moveTo>
                <a:lnTo>
                  <a:pt x="121920" y="0"/>
                </a:lnTo>
              </a:path>
            </a:pathLst>
          </a:custGeom>
          <a:ln w="51815">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18" name="object 24">
            <a:extLst>
              <a:ext uri="{FF2B5EF4-FFF2-40B4-BE49-F238E27FC236}">
                <a16:creationId xmlns:a16="http://schemas.microsoft.com/office/drawing/2014/main" id="{5DC62508-6F25-481A-AA95-C1C20DFF98E0}"/>
              </a:ext>
            </a:extLst>
          </p:cNvPr>
          <p:cNvSpPr/>
          <p:nvPr/>
        </p:nvSpPr>
        <p:spPr>
          <a:xfrm>
            <a:off x="7584440" y="2398776"/>
            <a:ext cx="155575" cy="79375"/>
          </a:xfrm>
          <a:custGeom>
            <a:avLst/>
            <a:gdLst/>
            <a:ahLst/>
            <a:cxnLst/>
            <a:rect l="l" t="t" r="r" b="b"/>
            <a:pathLst>
              <a:path w="155575" h="79375">
                <a:moveTo>
                  <a:pt x="66928" y="0"/>
                </a:moveTo>
                <a:lnTo>
                  <a:pt x="0" y="33400"/>
                </a:lnTo>
                <a:lnTo>
                  <a:pt x="88518" y="79248"/>
                </a:lnTo>
                <a:lnTo>
                  <a:pt x="155448" y="45847"/>
                </a:lnTo>
                <a:lnTo>
                  <a:pt x="66928"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19" name="object 25">
            <a:extLst>
              <a:ext uri="{FF2B5EF4-FFF2-40B4-BE49-F238E27FC236}">
                <a16:creationId xmlns:a16="http://schemas.microsoft.com/office/drawing/2014/main" id="{595A3ACC-7235-4488-9852-7A3A70F464A4}"/>
              </a:ext>
            </a:extLst>
          </p:cNvPr>
          <p:cNvSpPr/>
          <p:nvPr/>
        </p:nvSpPr>
        <p:spPr>
          <a:xfrm>
            <a:off x="8056880" y="2648711"/>
            <a:ext cx="155575" cy="82550"/>
          </a:xfrm>
          <a:custGeom>
            <a:avLst/>
            <a:gdLst/>
            <a:ahLst/>
            <a:cxnLst/>
            <a:rect l="l" t="t" r="r" b="b"/>
            <a:pathLst>
              <a:path w="155575" h="82550">
                <a:moveTo>
                  <a:pt x="68199" y="0"/>
                </a:moveTo>
                <a:lnTo>
                  <a:pt x="0" y="34671"/>
                </a:lnTo>
                <a:lnTo>
                  <a:pt x="87249" y="82296"/>
                </a:lnTo>
                <a:lnTo>
                  <a:pt x="155448" y="47625"/>
                </a:lnTo>
                <a:lnTo>
                  <a:pt x="68199"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0" name="object 26">
            <a:extLst>
              <a:ext uri="{FF2B5EF4-FFF2-40B4-BE49-F238E27FC236}">
                <a16:creationId xmlns:a16="http://schemas.microsoft.com/office/drawing/2014/main" id="{5D3C32D5-8A06-4527-A9BC-D80DDE48DD88}"/>
              </a:ext>
            </a:extLst>
          </p:cNvPr>
          <p:cNvSpPr/>
          <p:nvPr/>
        </p:nvSpPr>
        <p:spPr>
          <a:xfrm>
            <a:off x="7575295" y="2642616"/>
            <a:ext cx="155575" cy="85725"/>
          </a:xfrm>
          <a:custGeom>
            <a:avLst/>
            <a:gdLst/>
            <a:ahLst/>
            <a:cxnLst/>
            <a:rect l="l" t="t" r="r" b="b"/>
            <a:pathLst>
              <a:path w="155575" h="85725">
                <a:moveTo>
                  <a:pt x="89407" y="0"/>
                </a:moveTo>
                <a:lnTo>
                  <a:pt x="0" y="48133"/>
                </a:lnTo>
                <a:lnTo>
                  <a:pt x="68199" y="85344"/>
                </a:lnTo>
                <a:lnTo>
                  <a:pt x="155448" y="39370"/>
                </a:lnTo>
                <a:lnTo>
                  <a:pt x="89407"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1" name="object 27">
            <a:extLst>
              <a:ext uri="{FF2B5EF4-FFF2-40B4-BE49-F238E27FC236}">
                <a16:creationId xmlns:a16="http://schemas.microsoft.com/office/drawing/2014/main" id="{5CF9E864-44BD-49CB-AF0B-43CC669B3273}"/>
              </a:ext>
            </a:extLst>
          </p:cNvPr>
          <p:cNvSpPr/>
          <p:nvPr/>
        </p:nvSpPr>
        <p:spPr>
          <a:xfrm>
            <a:off x="8050783" y="2389632"/>
            <a:ext cx="155575" cy="82550"/>
          </a:xfrm>
          <a:custGeom>
            <a:avLst/>
            <a:gdLst/>
            <a:ahLst/>
            <a:cxnLst/>
            <a:rect l="l" t="t" r="r" b="b"/>
            <a:pathLst>
              <a:path w="155575" h="82550">
                <a:moveTo>
                  <a:pt x="87249" y="0"/>
                </a:moveTo>
                <a:lnTo>
                  <a:pt x="0" y="47625"/>
                </a:lnTo>
                <a:lnTo>
                  <a:pt x="68199" y="82295"/>
                </a:lnTo>
                <a:lnTo>
                  <a:pt x="155448" y="38988"/>
                </a:lnTo>
                <a:lnTo>
                  <a:pt x="87249"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2" name="object 28">
            <a:extLst>
              <a:ext uri="{FF2B5EF4-FFF2-40B4-BE49-F238E27FC236}">
                <a16:creationId xmlns:a16="http://schemas.microsoft.com/office/drawing/2014/main" id="{C5987C68-A737-41B9-B9F9-A2BB84C481D8}"/>
              </a:ext>
            </a:extLst>
          </p:cNvPr>
          <p:cNvSpPr/>
          <p:nvPr/>
        </p:nvSpPr>
        <p:spPr>
          <a:xfrm>
            <a:off x="7962392" y="2688335"/>
            <a:ext cx="137160" cy="82550"/>
          </a:xfrm>
          <a:custGeom>
            <a:avLst/>
            <a:gdLst/>
            <a:ahLst/>
            <a:cxnLst/>
            <a:rect l="l" t="t" r="r" b="b"/>
            <a:pathLst>
              <a:path w="137159" h="82550">
                <a:moveTo>
                  <a:pt x="90042" y="0"/>
                </a:moveTo>
                <a:lnTo>
                  <a:pt x="0" y="19430"/>
                </a:lnTo>
                <a:lnTo>
                  <a:pt x="49275" y="82296"/>
                </a:lnTo>
                <a:lnTo>
                  <a:pt x="137159" y="62864"/>
                </a:lnTo>
                <a:lnTo>
                  <a:pt x="90042"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3" name="object 29">
            <a:extLst>
              <a:ext uri="{FF2B5EF4-FFF2-40B4-BE49-F238E27FC236}">
                <a16:creationId xmlns:a16="http://schemas.microsoft.com/office/drawing/2014/main" id="{45F2F229-1941-470C-9245-E7154A01BDA5}"/>
              </a:ext>
            </a:extLst>
          </p:cNvPr>
          <p:cNvSpPr/>
          <p:nvPr/>
        </p:nvSpPr>
        <p:spPr>
          <a:xfrm>
            <a:off x="7514335" y="2590800"/>
            <a:ext cx="149860" cy="73660"/>
          </a:xfrm>
          <a:custGeom>
            <a:avLst/>
            <a:gdLst/>
            <a:ahLst/>
            <a:cxnLst/>
            <a:rect l="l" t="t" r="r" b="b"/>
            <a:pathLst>
              <a:path w="149859" h="73660">
                <a:moveTo>
                  <a:pt x="113030" y="0"/>
                </a:moveTo>
                <a:lnTo>
                  <a:pt x="0" y="27177"/>
                </a:lnTo>
                <a:lnTo>
                  <a:pt x="34163" y="73151"/>
                </a:lnTo>
                <a:lnTo>
                  <a:pt x="149352" y="45974"/>
                </a:lnTo>
                <a:lnTo>
                  <a:pt x="113030"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4" name="object 30">
            <a:extLst>
              <a:ext uri="{FF2B5EF4-FFF2-40B4-BE49-F238E27FC236}">
                <a16:creationId xmlns:a16="http://schemas.microsoft.com/office/drawing/2014/main" id="{0F9BB479-4201-4739-BFB3-F30174D478B0}"/>
              </a:ext>
            </a:extLst>
          </p:cNvPr>
          <p:cNvSpPr/>
          <p:nvPr/>
        </p:nvSpPr>
        <p:spPr>
          <a:xfrm>
            <a:off x="8133080" y="2456688"/>
            <a:ext cx="149860" cy="70485"/>
          </a:xfrm>
          <a:custGeom>
            <a:avLst/>
            <a:gdLst/>
            <a:ahLst/>
            <a:cxnLst/>
            <a:rect l="l" t="t" r="r" b="b"/>
            <a:pathLst>
              <a:path w="149859" h="70485">
                <a:moveTo>
                  <a:pt x="111505" y="0"/>
                </a:moveTo>
                <a:lnTo>
                  <a:pt x="0" y="23367"/>
                </a:lnTo>
                <a:lnTo>
                  <a:pt x="35814" y="70103"/>
                </a:lnTo>
                <a:lnTo>
                  <a:pt x="149351" y="46736"/>
                </a:lnTo>
                <a:lnTo>
                  <a:pt x="111505"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5" name="object 31">
            <a:extLst>
              <a:ext uri="{FF2B5EF4-FFF2-40B4-BE49-F238E27FC236}">
                <a16:creationId xmlns:a16="http://schemas.microsoft.com/office/drawing/2014/main" id="{8DDEB110-D4E3-4655-9DF0-E2CB20346BFF}"/>
              </a:ext>
            </a:extLst>
          </p:cNvPr>
          <p:cNvSpPr/>
          <p:nvPr/>
        </p:nvSpPr>
        <p:spPr>
          <a:xfrm>
            <a:off x="7517383" y="2459735"/>
            <a:ext cx="149860" cy="73660"/>
          </a:xfrm>
          <a:custGeom>
            <a:avLst/>
            <a:gdLst/>
            <a:ahLst/>
            <a:cxnLst/>
            <a:rect l="l" t="t" r="r" b="b"/>
            <a:pathLst>
              <a:path w="149859" h="73660">
                <a:moveTo>
                  <a:pt x="34163" y="0"/>
                </a:moveTo>
                <a:lnTo>
                  <a:pt x="0" y="47371"/>
                </a:lnTo>
                <a:lnTo>
                  <a:pt x="115189" y="73151"/>
                </a:lnTo>
                <a:lnTo>
                  <a:pt x="149351" y="25780"/>
                </a:lnTo>
                <a:lnTo>
                  <a:pt x="34163"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6" name="object 32">
            <a:extLst>
              <a:ext uri="{FF2B5EF4-FFF2-40B4-BE49-F238E27FC236}">
                <a16:creationId xmlns:a16="http://schemas.microsoft.com/office/drawing/2014/main" id="{B731F53F-4426-4E1E-92D4-18ED23F5D5B0}"/>
              </a:ext>
            </a:extLst>
          </p:cNvPr>
          <p:cNvSpPr/>
          <p:nvPr/>
        </p:nvSpPr>
        <p:spPr>
          <a:xfrm>
            <a:off x="8133080" y="2596895"/>
            <a:ext cx="152400" cy="70485"/>
          </a:xfrm>
          <a:custGeom>
            <a:avLst/>
            <a:gdLst/>
            <a:ahLst/>
            <a:cxnLst/>
            <a:rect l="l" t="t" r="r" b="b"/>
            <a:pathLst>
              <a:path w="152400" h="70485">
                <a:moveTo>
                  <a:pt x="38608" y="0"/>
                </a:moveTo>
                <a:lnTo>
                  <a:pt x="0" y="46736"/>
                </a:lnTo>
                <a:lnTo>
                  <a:pt x="113792" y="70103"/>
                </a:lnTo>
                <a:lnTo>
                  <a:pt x="152400" y="23367"/>
                </a:lnTo>
                <a:lnTo>
                  <a:pt x="38608"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7" name="object 33">
            <a:extLst>
              <a:ext uri="{FF2B5EF4-FFF2-40B4-BE49-F238E27FC236}">
                <a16:creationId xmlns:a16="http://schemas.microsoft.com/office/drawing/2014/main" id="{C506D3B7-B2E0-4D4E-BB0F-2C089B05710F}"/>
              </a:ext>
            </a:extLst>
          </p:cNvPr>
          <p:cNvSpPr/>
          <p:nvPr/>
        </p:nvSpPr>
        <p:spPr>
          <a:xfrm>
            <a:off x="7697216" y="2688335"/>
            <a:ext cx="134620" cy="79375"/>
          </a:xfrm>
          <a:custGeom>
            <a:avLst/>
            <a:gdLst/>
            <a:ahLst/>
            <a:cxnLst/>
            <a:rect l="l" t="t" r="r" b="b"/>
            <a:pathLst>
              <a:path w="134620" h="79375">
                <a:moveTo>
                  <a:pt x="46862" y="0"/>
                </a:moveTo>
                <a:lnTo>
                  <a:pt x="0" y="57785"/>
                </a:lnTo>
                <a:lnTo>
                  <a:pt x="87249" y="79248"/>
                </a:lnTo>
                <a:lnTo>
                  <a:pt x="134111" y="17144"/>
                </a:lnTo>
                <a:lnTo>
                  <a:pt x="46862" y="0"/>
                </a:lnTo>
                <a:close/>
              </a:path>
            </a:pathLst>
          </a:cu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8" name="object 34">
            <a:extLst>
              <a:ext uri="{FF2B5EF4-FFF2-40B4-BE49-F238E27FC236}">
                <a16:creationId xmlns:a16="http://schemas.microsoft.com/office/drawing/2014/main" id="{36E76344-E345-4CFD-A452-B268B58F16E9}"/>
              </a:ext>
            </a:extLst>
          </p:cNvPr>
          <p:cNvSpPr/>
          <p:nvPr/>
        </p:nvSpPr>
        <p:spPr>
          <a:xfrm>
            <a:off x="7703311" y="3279775"/>
            <a:ext cx="424180" cy="0"/>
          </a:xfrm>
          <a:custGeom>
            <a:avLst/>
            <a:gdLst/>
            <a:ahLst/>
            <a:cxnLst/>
            <a:rect l="l" t="t" r="r" b="b"/>
            <a:pathLst>
              <a:path w="424179">
                <a:moveTo>
                  <a:pt x="0" y="0"/>
                </a:moveTo>
                <a:lnTo>
                  <a:pt x="423672" y="0"/>
                </a:lnTo>
              </a:path>
            </a:pathLst>
          </a:custGeom>
          <a:ln w="19050">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29" name="object 35">
            <a:extLst>
              <a:ext uri="{FF2B5EF4-FFF2-40B4-BE49-F238E27FC236}">
                <a16:creationId xmlns:a16="http://schemas.microsoft.com/office/drawing/2014/main" id="{EF009F47-D4DB-441B-B241-9C7471C3364D}"/>
              </a:ext>
            </a:extLst>
          </p:cNvPr>
          <p:cNvSpPr/>
          <p:nvPr/>
        </p:nvSpPr>
        <p:spPr>
          <a:xfrm>
            <a:off x="7711376" y="3009900"/>
            <a:ext cx="0" cy="260350"/>
          </a:xfrm>
          <a:custGeom>
            <a:avLst/>
            <a:gdLst/>
            <a:ahLst/>
            <a:cxnLst/>
            <a:rect l="l" t="t" r="r" b="b"/>
            <a:pathLst>
              <a:path h="260350">
                <a:moveTo>
                  <a:pt x="0" y="0"/>
                </a:moveTo>
                <a:lnTo>
                  <a:pt x="0" y="260350"/>
                </a:lnTo>
              </a:path>
            </a:pathLst>
          </a:custGeom>
          <a:ln w="16129">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30" name="object 36">
            <a:extLst>
              <a:ext uri="{FF2B5EF4-FFF2-40B4-BE49-F238E27FC236}">
                <a16:creationId xmlns:a16="http://schemas.microsoft.com/office/drawing/2014/main" id="{23547688-D378-4C64-8020-2D992D17F0A2}"/>
              </a:ext>
            </a:extLst>
          </p:cNvPr>
          <p:cNvSpPr/>
          <p:nvPr/>
        </p:nvSpPr>
        <p:spPr>
          <a:xfrm>
            <a:off x="7703311" y="3001645"/>
            <a:ext cx="424180" cy="0"/>
          </a:xfrm>
          <a:custGeom>
            <a:avLst/>
            <a:gdLst/>
            <a:ahLst/>
            <a:cxnLst/>
            <a:rect l="l" t="t" r="r" b="b"/>
            <a:pathLst>
              <a:path w="424179">
                <a:moveTo>
                  <a:pt x="0" y="0"/>
                </a:moveTo>
                <a:lnTo>
                  <a:pt x="423672" y="0"/>
                </a:lnTo>
              </a:path>
            </a:pathLst>
          </a:custGeom>
          <a:ln w="16510">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31" name="object 37">
            <a:extLst>
              <a:ext uri="{FF2B5EF4-FFF2-40B4-BE49-F238E27FC236}">
                <a16:creationId xmlns:a16="http://schemas.microsoft.com/office/drawing/2014/main" id="{214AF609-5A69-46D4-A266-4D129F1EE036}"/>
              </a:ext>
            </a:extLst>
          </p:cNvPr>
          <p:cNvSpPr/>
          <p:nvPr/>
        </p:nvSpPr>
        <p:spPr>
          <a:xfrm>
            <a:off x="8118919" y="3009519"/>
            <a:ext cx="0" cy="260350"/>
          </a:xfrm>
          <a:custGeom>
            <a:avLst/>
            <a:gdLst/>
            <a:ahLst/>
            <a:cxnLst/>
            <a:rect l="l" t="t" r="r" b="b"/>
            <a:pathLst>
              <a:path h="260350">
                <a:moveTo>
                  <a:pt x="0" y="0"/>
                </a:moveTo>
                <a:lnTo>
                  <a:pt x="0" y="260222"/>
                </a:lnTo>
              </a:path>
            </a:pathLst>
          </a:custGeom>
          <a:ln w="16128">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32" name="object 38">
            <a:extLst>
              <a:ext uri="{FF2B5EF4-FFF2-40B4-BE49-F238E27FC236}">
                <a16:creationId xmlns:a16="http://schemas.microsoft.com/office/drawing/2014/main" id="{8C8E5286-0930-4122-B9A8-92D816BFD21B}"/>
              </a:ext>
            </a:extLst>
          </p:cNvPr>
          <p:cNvSpPr/>
          <p:nvPr/>
        </p:nvSpPr>
        <p:spPr>
          <a:xfrm>
            <a:off x="7675880" y="3310127"/>
            <a:ext cx="475615" cy="0"/>
          </a:xfrm>
          <a:custGeom>
            <a:avLst/>
            <a:gdLst/>
            <a:ahLst/>
            <a:cxnLst/>
            <a:rect l="l" t="t" r="r" b="b"/>
            <a:pathLst>
              <a:path w="475615">
                <a:moveTo>
                  <a:pt x="0" y="0"/>
                </a:moveTo>
                <a:lnTo>
                  <a:pt x="475488" y="0"/>
                </a:lnTo>
              </a:path>
            </a:pathLst>
          </a:custGeom>
          <a:ln w="24384">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33" name="object 39">
            <a:extLst>
              <a:ext uri="{FF2B5EF4-FFF2-40B4-BE49-F238E27FC236}">
                <a16:creationId xmlns:a16="http://schemas.microsoft.com/office/drawing/2014/main" id="{53CC953D-4B63-44EB-BB19-3328359818AA}"/>
              </a:ext>
            </a:extLst>
          </p:cNvPr>
          <p:cNvSpPr/>
          <p:nvPr/>
        </p:nvSpPr>
        <p:spPr>
          <a:xfrm>
            <a:off x="7675880" y="3334511"/>
            <a:ext cx="475615" cy="0"/>
          </a:xfrm>
          <a:custGeom>
            <a:avLst/>
            <a:gdLst/>
            <a:ahLst/>
            <a:cxnLst/>
            <a:rect l="l" t="t" r="r" b="b"/>
            <a:pathLst>
              <a:path w="475615">
                <a:moveTo>
                  <a:pt x="0" y="0"/>
                </a:moveTo>
                <a:lnTo>
                  <a:pt x="475488" y="0"/>
                </a:lnTo>
              </a:path>
            </a:pathLst>
          </a:custGeom>
          <a:ln w="12192">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34" name="object 40">
            <a:extLst>
              <a:ext uri="{FF2B5EF4-FFF2-40B4-BE49-F238E27FC236}">
                <a16:creationId xmlns:a16="http://schemas.microsoft.com/office/drawing/2014/main" id="{DDCBDCCC-9862-481F-A01C-4B5FA8A87BC5}"/>
              </a:ext>
            </a:extLst>
          </p:cNvPr>
          <p:cNvSpPr/>
          <p:nvPr/>
        </p:nvSpPr>
        <p:spPr>
          <a:xfrm>
            <a:off x="7800847" y="3023616"/>
            <a:ext cx="216407" cy="237744"/>
          </a:xfrm>
          <a:prstGeom prst="rect">
            <a:avLst/>
          </a:prstGeom>
          <a:solidFill>
            <a:schemeClr val="accent5"/>
          </a:solidFill>
          <a:ln>
            <a:solidFill>
              <a:schemeClr val="accent5"/>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35" name="object 41">
            <a:extLst>
              <a:ext uri="{FF2B5EF4-FFF2-40B4-BE49-F238E27FC236}">
                <a16:creationId xmlns:a16="http://schemas.microsoft.com/office/drawing/2014/main" id="{F19AC9B5-AF71-4219-A1BF-14438F981950}"/>
              </a:ext>
            </a:extLst>
          </p:cNvPr>
          <p:cNvSpPr txBox="1"/>
          <p:nvPr/>
        </p:nvSpPr>
        <p:spPr>
          <a:xfrm>
            <a:off x="7628126" y="5339587"/>
            <a:ext cx="3796771" cy="344646"/>
          </a:xfrm>
          <a:prstGeom prst="rect">
            <a:avLst/>
          </a:prstGeom>
        </p:spPr>
        <p:txBody>
          <a:bodyPr vert="horz" wrap="square" lIns="0" tIns="11430" rIns="0" bIns="0" rtlCol="0">
            <a:spAutoFit/>
          </a:bodyPr>
          <a:lstStyle/>
          <a:p>
            <a:pPr marL="12700" marR="5080" eaLnBrk="1" fontAlgn="auto" hangingPunct="1">
              <a:lnSpc>
                <a:spcPct val="101000"/>
              </a:lnSpc>
              <a:spcBef>
                <a:spcPts val="90"/>
              </a:spcBef>
              <a:spcAft>
                <a:spcPts val="0"/>
              </a:spcAft>
            </a:pPr>
            <a:r>
              <a:rPr lang="en-US" sz="1100" spc="-5" dirty="0">
                <a:solidFill>
                  <a:prstClr val="black"/>
                </a:solidFill>
                <a:latin typeface="EYInterstate Light" panose="02000506000000020004" pitchFamily="2" charset="0"/>
                <a:ea typeface="+mn-ea"/>
                <a:cs typeface="Trebuchet MS"/>
              </a:rPr>
              <a:t>Ability</a:t>
            </a:r>
            <a:r>
              <a:rPr lang="en-US" sz="1100" spc="-60" dirty="0">
                <a:solidFill>
                  <a:prstClr val="black"/>
                </a:solidFill>
                <a:latin typeface="EYInterstate Light" panose="02000506000000020004" pitchFamily="2" charset="0"/>
                <a:ea typeface="+mn-ea"/>
                <a:cs typeface="Trebuchet MS"/>
              </a:rPr>
              <a:t> </a:t>
            </a:r>
            <a:r>
              <a:rPr lang="en-US" sz="1100" dirty="0">
                <a:solidFill>
                  <a:prstClr val="black"/>
                </a:solidFill>
                <a:latin typeface="EYInterstate Light" panose="02000506000000020004" pitchFamily="2" charset="0"/>
                <a:ea typeface="+mn-ea"/>
                <a:cs typeface="Trebuchet MS"/>
              </a:rPr>
              <a:t>to</a:t>
            </a:r>
            <a:r>
              <a:rPr lang="en-US" sz="1100" spc="-25"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scale</a:t>
            </a:r>
            <a:r>
              <a:rPr lang="en-US" sz="1100" spc="-95"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horizontally,</a:t>
            </a:r>
            <a:r>
              <a:rPr lang="en-US" sz="1100" spc="-65"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relatively</a:t>
            </a:r>
            <a:r>
              <a:rPr lang="en-US" sz="1100" spc="-85"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cheaply</a:t>
            </a:r>
            <a:r>
              <a:rPr lang="en-US" sz="1100" spc="-8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and  </a:t>
            </a:r>
            <a:r>
              <a:rPr lang="en-US" sz="1100" spc="-5" dirty="0">
                <a:solidFill>
                  <a:prstClr val="black"/>
                </a:solidFill>
                <a:latin typeface="EYInterstate Light" panose="02000506000000020004" pitchFamily="2" charset="0"/>
                <a:ea typeface="+mn-ea"/>
                <a:cs typeface="Trebuchet MS"/>
              </a:rPr>
              <a:t>without</a:t>
            </a:r>
            <a:r>
              <a:rPr lang="en-US" sz="1100" spc="-65" dirty="0">
                <a:solidFill>
                  <a:prstClr val="black"/>
                </a:solidFill>
                <a:latin typeface="EYInterstate Light" panose="02000506000000020004" pitchFamily="2" charset="0"/>
                <a:ea typeface="+mn-ea"/>
                <a:cs typeface="Trebuchet MS"/>
              </a:rPr>
              <a:t> </a:t>
            </a:r>
            <a:r>
              <a:rPr lang="en-US" sz="1100" spc="30" dirty="0">
                <a:solidFill>
                  <a:prstClr val="black"/>
                </a:solidFill>
                <a:latin typeface="EYInterstate Light" panose="02000506000000020004" pitchFamily="2" charset="0"/>
                <a:ea typeface="+mn-ea"/>
                <a:cs typeface="Trebuchet MS"/>
              </a:rPr>
              <a:t>any</a:t>
            </a:r>
            <a:r>
              <a:rPr lang="en-US" sz="1100" spc="-40" dirty="0">
                <a:solidFill>
                  <a:prstClr val="black"/>
                </a:solidFill>
                <a:latin typeface="EYInterstate Light" panose="02000506000000020004" pitchFamily="2" charset="0"/>
                <a:ea typeface="+mn-ea"/>
                <a:cs typeface="Trebuchet MS"/>
              </a:rPr>
              <a:t> </a:t>
            </a:r>
            <a:r>
              <a:rPr lang="en-US" sz="1100" spc="-35" dirty="0">
                <a:solidFill>
                  <a:prstClr val="black"/>
                </a:solidFill>
                <a:latin typeface="EYInterstate Light" panose="02000506000000020004" pitchFamily="2" charset="0"/>
                <a:ea typeface="+mn-ea"/>
                <a:cs typeface="Trebuchet MS"/>
              </a:rPr>
              <a:t>limit,</a:t>
            </a:r>
            <a:r>
              <a:rPr lang="en-US" sz="1100" spc="-45"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and</a:t>
            </a:r>
            <a:r>
              <a:rPr lang="en-US" sz="1100" spc="-70" dirty="0">
                <a:solidFill>
                  <a:prstClr val="black"/>
                </a:solidFill>
                <a:latin typeface="EYInterstate Light" panose="02000506000000020004" pitchFamily="2" charset="0"/>
                <a:ea typeface="+mn-ea"/>
                <a:cs typeface="Trebuchet MS"/>
              </a:rPr>
              <a:t> </a:t>
            </a:r>
            <a:r>
              <a:rPr lang="en-US" sz="1100" spc="30" dirty="0">
                <a:solidFill>
                  <a:prstClr val="black"/>
                </a:solidFill>
                <a:latin typeface="EYInterstate Light" panose="02000506000000020004" pitchFamily="2" charset="0"/>
                <a:ea typeface="+mn-ea"/>
                <a:cs typeface="Trebuchet MS"/>
              </a:rPr>
              <a:t>on</a:t>
            </a:r>
            <a:r>
              <a:rPr lang="en-US" sz="1100" spc="-35"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demand</a:t>
            </a:r>
            <a:endParaRPr lang="en-US" sz="1100" dirty="0">
              <a:solidFill>
                <a:prstClr val="black"/>
              </a:solidFill>
              <a:latin typeface="EYInterstate Light" panose="02000506000000020004" pitchFamily="2" charset="0"/>
              <a:ea typeface="+mn-ea"/>
              <a:cs typeface="Trebuchet MS"/>
            </a:endParaRPr>
          </a:p>
        </p:txBody>
      </p:sp>
      <p:sp>
        <p:nvSpPr>
          <p:cNvPr id="136" name="object 42">
            <a:extLst>
              <a:ext uri="{FF2B5EF4-FFF2-40B4-BE49-F238E27FC236}">
                <a16:creationId xmlns:a16="http://schemas.microsoft.com/office/drawing/2014/main" id="{052D34D7-FA84-4DCB-8725-AF0654232B82}"/>
              </a:ext>
            </a:extLst>
          </p:cNvPr>
          <p:cNvSpPr/>
          <p:nvPr/>
        </p:nvSpPr>
        <p:spPr>
          <a:xfrm>
            <a:off x="7331455" y="4443983"/>
            <a:ext cx="167640" cy="143256"/>
          </a:xfrm>
          <a:prstGeom prst="rect">
            <a:avLst/>
          </a:prstGeom>
          <a:blipFill>
            <a:blip r:embed="rId5" cstate="print">
              <a:duotone>
                <a:prstClr val="black"/>
                <a:schemeClr val="accent5">
                  <a:tint val="45000"/>
                  <a:satMod val="400000"/>
                </a:schemeClr>
              </a:duotone>
            </a:blip>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37" name="object 43">
            <a:extLst>
              <a:ext uri="{FF2B5EF4-FFF2-40B4-BE49-F238E27FC236}">
                <a16:creationId xmlns:a16="http://schemas.microsoft.com/office/drawing/2014/main" id="{BB9913C1-BA42-4A54-B37D-CE50E564C55D}"/>
              </a:ext>
            </a:extLst>
          </p:cNvPr>
          <p:cNvSpPr txBox="1"/>
          <p:nvPr/>
        </p:nvSpPr>
        <p:spPr>
          <a:xfrm>
            <a:off x="7646669" y="5765393"/>
            <a:ext cx="3813347" cy="344646"/>
          </a:xfrm>
          <a:prstGeom prst="rect">
            <a:avLst/>
          </a:prstGeom>
        </p:spPr>
        <p:txBody>
          <a:bodyPr vert="horz" wrap="square" lIns="0" tIns="11430" rIns="0" bIns="0" rtlCol="0">
            <a:spAutoFit/>
          </a:bodyPr>
          <a:lstStyle/>
          <a:p>
            <a:pPr marL="12700" marR="5080" eaLnBrk="1" fontAlgn="auto" hangingPunct="1">
              <a:lnSpc>
                <a:spcPct val="101000"/>
              </a:lnSpc>
              <a:spcBef>
                <a:spcPts val="90"/>
              </a:spcBef>
              <a:spcAft>
                <a:spcPts val="0"/>
              </a:spcAft>
            </a:pPr>
            <a:r>
              <a:rPr lang="en-US" sz="1100" spc="30" dirty="0">
                <a:solidFill>
                  <a:prstClr val="black"/>
                </a:solidFill>
                <a:latin typeface="EYInterstate Light" panose="02000506000000020004" pitchFamily="2" charset="0"/>
                <a:ea typeface="+mn-ea"/>
                <a:cs typeface="Trebuchet MS"/>
              </a:rPr>
              <a:t>Supports</a:t>
            </a:r>
            <a:r>
              <a:rPr lang="en-US" sz="1100" spc="-75"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multi-speed</a:t>
            </a:r>
            <a:r>
              <a:rPr lang="en-US" sz="1100" spc="-125" dirty="0">
                <a:solidFill>
                  <a:prstClr val="black"/>
                </a:solidFill>
                <a:latin typeface="EYInterstate Light" panose="02000506000000020004" pitchFamily="2" charset="0"/>
                <a:ea typeface="+mn-ea"/>
                <a:cs typeface="Trebuchet MS"/>
              </a:rPr>
              <a:t> </a:t>
            </a:r>
            <a:r>
              <a:rPr lang="en-US" sz="1100" dirty="0">
                <a:solidFill>
                  <a:prstClr val="black"/>
                </a:solidFill>
                <a:latin typeface="EYInterstate Light" panose="02000506000000020004" pitchFamily="2" charset="0"/>
                <a:ea typeface="+mn-ea"/>
                <a:cs typeface="Trebuchet MS"/>
              </a:rPr>
              <a:t>batch-oriented</a:t>
            </a:r>
            <a:r>
              <a:rPr lang="en-US" sz="1100" spc="-10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and</a:t>
            </a:r>
            <a:r>
              <a:rPr lang="en-US" sz="1100" spc="-7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real-time  </a:t>
            </a:r>
            <a:r>
              <a:rPr lang="en-US" sz="1100" spc="30" dirty="0">
                <a:solidFill>
                  <a:prstClr val="black"/>
                </a:solidFill>
                <a:latin typeface="EYInterstate Light" panose="02000506000000020004" pitchFamily="2" charset="0"/>
                <a:ea typeface="+mn-ea"/>
                <a:cs typeface="Trebuchet MS"/>
              </a:rPr>
              <a:t>use</a:t>
            </a:r>
            <a:r>
              <a:rPr lang="en-US" sz="1100" spc="-80" dirty="0">
                <a:solidFill>
                  <a:prstClr val="black"/>
                </a:solidFill>
                <a:latin typeface="EYInterstate Light" panose="02000506000000020004" pitchFamily="2" charset="0"/>
                <a:ea typeface="+mn-ea"/>
                <a:cs typeface="Trebuchet MS"/>
              </a:rPr>
              <a:t> </a:t>
            </a:r>
            <a:r>
              <a:rPr lang="en-US" sz="1100" spc="30" dirty="0">
                <a:solidFill>
                  <a:prstClr val="black"/>
                </a:solidFill>
                <a:latin typeface="EYInterstate Light" panose="02000506000000020004" pitchFamily="2" charset="0"/>
                <a:ea typeface="+mn-ea"/>
                <a:cs typeface="Trebuchet MS"/>
              </a:rPr>
              <a:t>cases</a:t>
            </a:r>
            <a:r>
              <a:rPr lang="en-US" sz="1100" spc="-95" dirty="0">
                <a:solidFill>
                  <a:prstClr val="black"/>
                </a:solidFill>
                <a:latin typeface="EYInterstate Light" panose="02000506000000020004" pitchFamily="2" charset="0"/>
                <a:ea typeface="+mn-ea"/>
                <a:cs typeface="Trebuchet MS"/>
              </a:rPr>
              <a:t> </a:t>
            </a:r>
            <a:r>
              <a:rPr lang="en-US" sz="1100" spc="-25" dirty="0">
                <a:solidFill>
                  <a:prstClr val="black"/>
                </a:solidFill>
                <a:latin typeface="EYInterstate Light" panose="02000506000000020004" pitchFamily="2" charset="0"/>
                <a:ea typeface="+mn-ea"/>
                <a:cs typeface="Trebuchet MS"/>
              </a:rPr>
              <a:t>(e.g.,</a:t>
            </a:r>
            <a:r>
              <a:rPr lang="en-US" sz="1100" spc="-95"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fraud</a:t>
            </a:r>
            <a:r>
              <a:rPr lang="en-US" sz="1100" spc="-70"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detection)</a:t>
            </a:r>
            <a:endParaRPr lang="en-US" sz="1100" dirty="0">
              <a:solidFill>
                <a:prstClr val="black"/>
              </a:solidFill>
              <a:latin typeface="EYInterstate Light" panose="02000506000000020004" pitchFamily="2" charset="0"/>
              <a:ea typeface="+mn-ea"/>
              <a:cs typeface="Trebuchet MS"/>
            </a:endParaRPr>
          </a:p>
        </p:txBody>
      </p:sp>
      <p:sp>
        <p:nvSpPr>
          <p:cNvPr id="138" name="object 44">
            <a:extLst>
              <a:ext uri="{FF2B5EF4-FFF2-40B4-BE49-F238E27FC236}">
                <a16:creationId xmlns:a16="http://schemas.microsoft.com/office/drawing/2014/main" id="{51AF0F75-1363-4F2A-B1C7-2F09794E9A22}"/>
              </a:ext>
            </a:extLst>
          </p:cNvPr>
          <p:cNvSpPr/>
          <p:nvPr/>
        </p:nvSpPr>
        <p:spPr>
          <a:xfrm>
            <a:off x="7322311" y="4867655"/>
            <a:ext cx="167640" cy="143256"/>
          </a:xfrm>
          <a:prstGeom prst="rect">
            <a:avLst/>
          </a:prstGeom>
          <a:blipFill>
            <a:blip r:embed="rId5" cstate="print">
              <a:duotone>
                <a:prstClr val="black"/>
                <a:schemeClr val="accent5">
                  <a:tint val="45000"/>
                  <a:satMod val="400000"/>
                </a:schemeClr>
              </a:duotone>
            </a:blip>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39" name="object 45">
            <a:extLst>
              <a:ext uri="{FF2B5EF4-FFF2-40B4-BE49-F238E27FC236}">
                <a16:creationId xmlns:a16="http://schemas.microsoft.com/office/drawing/2014/main" id="{27DC8D22-3736-4AAB-8629-E497A2DF413A}"/>
              </a:ext>
            </a:extLst>
          </p:cNvPr>
          <p:cNvSpPr txBox="1"/>
          <p:nvPr/>
        </p:nvSpPr>
        <p:spPr>
          <a:xfrm>
            <a:off x="7626602" y="4746116"/>
            <a:ext cx="4031997" cy="521297"/>
          </a:xfrm>
          <a:prstGeom prst="rect">
            <a:avLst/>
          </a:prstGeom>
        </p:spPr>
        <p:txBody>
          <a:bodyPr vert="horz" wrap="square" lIns="0" tIns="13335" rIns="0" bIns="0" rtlCol="0">
            <a:spAutoFit/>
          </a:bodyPr>
          <a:lstStyle/>
          <a:p>
            <a:pPr marL="12700" marR="5080" eaLnBrk="1" fontAlgn="auto" hangingPunct="1">
              <a:lnSpc>
                <a:spcPct val="100099"/>
              </a:lnSpc>
              <a:spcBef>
                <a:spcPts val="105"/>
              </a:spcBef>
              <a:spcAft>
                <a:spcPts val="0"/>
              </a:spcAft>
            </a:pPr>
            <a:r>
              <a:rPr lang="en-US" sz="1100" spc="25" dirty="0">
                <a:solidFill>
                  <a:prstClr val="black"/>
                </a:solidFill>
                <a:latin typeface="EYInterstate Light" panose="02000506000000020004" pitchFamily="2" charset="0"/>
                <a:ea typeface="+mn-ea"/>
                <a:cs typeface="Trebuchet MS"/>
              </a:rPr>
              <a:t>Support </a:t>
            </a:r>
            <a:r>
              <a:rPr lang="en-US" sz="1100" spc="15" dirty="0">
                <a:solidFill>
                  <a:prstClr val="black"/>
                </a:solidFill>
                <a:latin typeface="EYInterstate Light" panose="02000506000000020004" pitchFamily="2" charset="0"/>
                <a:ea typeface="+mn-ea"/>
                <a:cs typeface="Trebuchet MS"/>
              </a:rPr>
              <a:t>for </a:t>
            </a:r>
            <a:r>
              <a:rPr lang="en-US" sz="1100" spc="-25" dirty="0">
                <a:solidFill>
                  <a:prstClr val="black"/>
                </a:solidFill>
                <a:latin typeface="EYInterstate Light" panose="02000506000000020004" pitchFamily="2" charset="0"/>
                <a:ea typeface="+mn-ea"/>
                <a:cs typeface="Trebuchet MS"/>
              </a:rPr>
              <a:t>all </a:t>
            </a:r>
            <a:r>
              <a:rPr lang="en-US" sz="1100" dirty="0">
                <a:solidFill>
                  <a:prstClr val="black"/>
                </a:solidFill>
                <a:latin typeface="EYInterstate Light" panose="02000506000000020004" pitchFamily="2" charset="0"/>
                <a:ea typeface="+mn-ea"/>
                <a:cs typeface="Trebuchet MS"/>
              </a:rPr>
              <a:t>data </a:t>
            </a:r>
            <a:r>
              <a:rPr lang="en-US" sz="1100" spc="15" dirty="0">
                <a:solidFill>
                  <a:prstClr val="black"/>
                </a:solidFill>
                <a:latin typeface="EYInterstate Light" panose="02000506000000020004" pitchFamily="2" charset="0"/>
                <a:ea typeface="+mn-ea"/>
                <a:cs typeface="Trebuchet MS"/>
              </a:rPr>
              <a:t>types </a:t>
            </a:r>
            <a:r>
              <a:rPr lang="en-US" sz="1100" spc="-15" dirty="0">
                <a:solidFill>
                  <a:prstClr val="black"/>
                </a:solidFill>
                <a:latin typeface="EYInterstate Light" panose="02000506000000020004" pitchFamily="2" charset="0"/>
                <a:ea typeface="+mn-ea"/>
                <a:cs typeface="Trebuchet MS"/>
              </a:rPr>
              <a:t>with </a:t>
            </a:r>
            <a:r>
              <a:rPr lang="en-US" sz="1100" spc="-10" dirty="0">
                <a:solidFill>
                  <a:prstClr val="black"/>
                </a:solidFill>
                <a:latin typeface="EYInterstate Light" panose="02000506000000020004" pitchFamily="2" charset="0"/>
                <a:ea typeface="+mn-ea"/>
                <a:cs typeface="Trebuchet MS"/>
              </a:rPr>
              <a:t>potential </a:t>
            </a:r>
            <a:r>
              <a:rPr lang="en-US" sz="1100" dirty="0">
                <a:solidFill>
                  <a:prstClr val="black"/>
                </a:solidFill>
                <a:latin typeface="EYInterstate Light" panose="02000506000000020004" pitchFamily="2" charset="0"/>
                <a:ea typeface="+mn-ea"/>
                <a:cs typeface="Trebuchet MS"/>
              </a:rPr>
              <a:t>to </a:t>
            </a:r>
            <a:r>
              <a:rPr lang="en-US" sz="1100" spc="5" dirty="0">
                <a:solidFill>
                  <a:prstClr val="black"/>
                </a:solidFill>
                <a:latin typeface="EYInterstate Light" panose="02000506000000020004" pitchFamily="2" charset="0"/>
                <a:ea typeface="+mn-ea"/>
                <a:cs typeface="Trebuchet MS"/>
              </a:rPr>
              <a:t>unlock  </a:t>
            </a:r>
            <a:r>
              <a:rPr lang="en-US" sz="1100" dirty="0">
                <a:solidFill>
                  <a:prstClr val="black"/>
                </a:solidFill>
                <a:latin typeface="EYInterstate Light" panose="02000506000000020004" pitchFamily="2" charset="0"/>
                <a:ea typeface="+mn-ea"/>
                <a:cs typeface="Trebuchet MS"/>
              </a:rPr>
              <a:t>data</a:t>
            </a:r>
            <a:r>
              <a:rPr lang="en-US" sz="1100" spc="-70" dirty="0">
                <a:solidFill>
                  <a:prstClr val="black"/>
                </a:solidFill>
                <a:latin typeface="EYInterstate Light" panose="02000506000000020004" pitchFamily="2" charset="0"/>
                <a:ea typeface="+mn-ea"/>
                <a:cs typeface="Trebuchet MS"/>
              </a:rPr>
              <a:t> </a:t>
            </a:r>
            <a:r>
              <a:rPr lang="en-US" sz="1100" spc="10" dirty="0">
                <a:solidFill>
                  <a:prstClr val="black"/>
                </a:solidFill>
                <a:latin typeface="EYInterstate Light" panose="02000506000000020004" pitchFamily="2" charset="0"/>
                <a:ea typeface="+mn-ea"/>
                <a:cs typeface="Trebuchet MS"/>
              </a:rPr>
              <a:t>not</a:t>
            </a:r>
            <a:r>
              <a:rPr lang="en-US" sz="1100" spc="-30" dirty="0">
                <a:solidFill>
                  <a:prstClr val="black"/>
                </a:solidFill>
                <a:latin typeface="EYInterstate Light" panose="02000506000000020004" pitchFamily="2" charset="0"/>
                <a:ea typeface="+mn-ea"/>
                <a:cs typeface="Trebuchet MS"/>
              </a:rPr>
              <a:t> </a:t>
            </a:r>
            <a:r>
              <a:rPr lang="en-US" sz="1100" dirty="0">
                <a:solidFill>
                  <a:prstClr val="black"/>
                </a:solidFill>
                <a:latin typeface="EYInterstate Light" panose="02000506000000020004" pitchFamily="2" charset="0"/>
                <a:ea typeface="+mn-ea"/>
                <a:cs typeface="Trebuchet MS"/>
              </a:rPr>
              <a:t>yet</a:t>
            </a:r>
            <a:r>
              <a:rPr lang="en-US" sz="1100" spc="-55"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utilized</a:t>
            </a:r>
            <a:r>
              <a:rPr lang="en-US" sz="1100" spc="-60" dirty="0">
                <a:solidFill>
                  <a:prstClr val="black"/>
                </a:solidFill>
                <a:latin typeface="EYInterstate Light" panose="02000506000000020004" pitchFamily="2" charset="0"/>
                <a:ea typeface="+mn-ea"/>
                <a:cs typeface="Trebuchet MS"/>
              </a:rPr>
              <a:t> </a:t>
            </a:r>
            <a:r>
              <a:rPr lang="en-US" sz="1100" spc="-25" dirty="0">
                <a:solidFill>
                  <a:prstClr val="black"/>
                </a:solidFill>
                <a:latin typeface="EYInterstate Light" panose="02000506000000020004" pitchFamily="2" charset="0"/>
                <a:ea typeface="+mn-ea"/>
                <a:cs typeface="Trebuchet MS"/>
              </a:rPr>
              <a:t>(e.g.,</a:t>
            </a:r>
            <a:r>
              <a:rPr lang="en-US" sz="1100" spc="-85"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loan</a:t>
            </a:r>
            <a:r>
              <a:rPr lang="en-US" sz="1100" spc="-45"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origination</a:t>
            </a:r>
            <a:r>
              <a:rPr lang="en-US" sz="1100" spc="-70" dirty="0">
                <a:solidFill>
                  <a:prstClr val="black"/>
                </a:solidFill>
                <a:latin typeface="EYInterstate Light" panose="02000506000000020004" pitchFamily="2" charset="0"/>
                <a:ea typeface="+mn-ea"/>
                <a:cs typeface="Trebuchet MS"/>
              </a:rPr>
              <a:t> </a:t>
            </a:r>
            <a:r>
              <a:rPr lang="en-US" sz="1100" spc="20" dirty="0">
                <a:solidFill>
                  <a:prstClr val="black"/>
                </a:solidFill>
                <a:latin typeface="EYInterstate Light" panose="02000506000000020004" pitchFamily="2" charset="0"/>
                <a:ea typeface="+mn-ea"/>
                <a:cs typeface="Trebuchet MS"/>
              </a:rPr>
              <a:t>processes,  </a:t>
            </a:r>
            <a:r>
              <a:rPr lang="en-US" sz="1100" spc="-20" dirty="0">
                <a:solidFill>
                  <a:prstClr val="black"/>
                </a:solidFill>
                <a:latin typeface="EYInterstate Light" panose="02000506000000020004" pitchFamily="2" charset="0"/>
                <a:ea typeface="+mn-ea"/>
                <a:cs typeface="Trebuchet MS"/>
              </a:rPr>
              <a:t>call </a:t>
            </a:r>
            <a:r>
              <a:rPr lang="en-US" sz="1100" spc="15" dirty="0">
                <a:solidFill>
                  <a:prstClr val="black"/>
                </a:solidFill>
                <a:latin typeface="EYInterstate Light" panose="02000506000000020004" pitchFamily="2" charset="0"/>
                <a:ea typeface="+mn-ea"/>
                <a:cs typeface="Trebuchet MS"/>
              </a:rPr>
              <a:t>log </a:t>
            </a:r>
            <a:r>
              <a:rPr lang="en-US" sz="1100" spc="5" dirty="0">
                <a:solidFill>
                  <a:prstClr val="black"/>
                </a:solidFill>
                <a:latin typeface="EYInterstate Light" panose="02000506000000020004" pitchFamily="2" charset="0"/>
                <a:ea typeface="+mn-ea"/>
                <a:cs typeface="Trebuchet MS"/>
              </a:rPr>
              <a:t>transcripts,</a:t>
            </a:r>
            <a:r>
              <a:rPr lang="en-US" sz="1100" spc="-170" dirty="0">
                <a:solidFill>
                  <a:prstClr val="black"/>
                </a:solidFill>
                <a:latin typeface="EYInterstate Light" panose="02000506000000020004" pitchFamily="2" charset="0"/>
                <a:ea typeface="+mn-ea"/>
                <a:cs typeface="Trebuchet MS"/>
              </a:rPr>
              <a:t> </a:t>
            </a:r>
            <a:r>
              <a:rPr lang="en-US" sz="1100" spc="-25" dirty="0">
                <a:solidFill>
                  <a:prstClr val="black"/>
                </a:solidFill>
                <a:latin typeface="EYInterstate Light" panose="02000506000000020004" pitchFamily="2" charset="0"/>
                <a:ea typeface="+mn-ea"/>
                <a:cs typeface="Trebuchet MS"/>
              </a:rPr>
              <a:t>etc.)</a:t>
            </a:r>
            <a:endParaRPr lang="en-US" sz="1100" dirty="0">
              <a:solidFill>
                <a:prstClr val="black"/>
              </a:solidFill>
              <a:latin typeface="EYInterstate Light" panose="02000506000000020004" pitchFamily="2" charset="0"/>
              <a:ea typeface="+mn-ea"/>
              <a:cs typeface="Trebuchet MS"/>
            </a:endParaRPr>
          </a:p>
        </p:txBody>
      </p:sp>
      <p:sp>
        <p:nvSpPr>
          <p:cNvPr id="140" name="object 46">
            <a:extLst>
              <a:ext uri="{FF2B5EF4-FFF2-40B4-BE49-F238E27FC236}">
                <a16:creationId xmlns:a16="http://schemas.microsoft.com/office/drawing/2014/main" id="{487D04D0-8BB0-46B7-8F88-275D838D25D5}"/>
              </a:ext>
            </a:extLst>
          </p:cNvPr>
          <p:cNvSpPr/>
          <p:nvPr/>
        </p:nvSpPr>
        <p:spPr>
          <a:xfrm>
            <a:off x="7322311" y="5394960"/>
            <a:ext cx="167640" cy="143256"/>
          </a:xfrm>
          <a:prstGeom prst="rect">
            <a:avLst/>
          </a:prstGeom>
          <a:blipFill>
            <a:blip r:embed="rId5" cstate="print">
              <a:duotone>
                <a:prstClr val="black"/>
                <a:schemeClr val="accent5">
                  <a:tint val="45000"/>
                  <a:satMod val="400000"/>
                </a:schemeClr>
              </a:duotone>
            </a:blip>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41" name="object 47">
            <a:extLst>
              <a:ext uri="{FF2B5EF4-FFF2-40B4-BE49-F238E27FC236}">
                <a16:creationId xmlns:a16="http://schemas.microsoft.com/office/drawing/2014/main" id="{29A0CC79-A654-4488-A662-F6EEAAC73EA2}"/>
              </a:ext>
            </a:extLst>
          </p:cNvPr>
          <p:cNvSpPr txBox="1"/>
          <p:nvPr/>
        </p:nvSpPr>
        <p:spPr>
          <a:xfrm>
            <a:off x="7617459" y="4306061"/>
            <a:ext cx="3831502" cy="352019"/>
          </a:xfrm>
          <a:prstGeom prst="rect">
            <a:avLst/>
          </a:prstGeom>
        </p:spPr>
        <p:txBody>
          <a:bodyPr vert="horz" wrap="square" lIns="0" tIns="13335" rIns="0" bIns="0" rtlCol="0">
            <a:spAutoFit/>
          </a:bodyPr>
          <a:lstStyle/>
          <a:p>
            <a:pPr marL="12700" eaLnBrk="1" fontAlgn="auto" hangingPunct="1">
              <a:spcBef>
                <a:spcPts val="105"/>
              </a:spcBef>
              <a:spcAft>
                <a:spcPts val="0"/>
              </a:spcAft>
            </a:pPr>
            <a:r>
              <a:rPr lang="en-US" sz="1100" spc="10" dirty="0">
                <a:solidFill>
                  <a:prstClr val="black"/>
                </a:solidFill>
                <a:latin typeface="EYInterstate Light" panose="02000506000000020004" pitchFamily="2" charset="0"/>
                <a:ea typeface="+mn-ea"/>
                <a:cs typeface="Trebuchet MS"/>
              </a:rPr>
              <a:t>Improved</a:t>
            </a:r>
            <a:r>
              <a:rPr lang="en-US" sz="1100" spc="-95"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insights</a:t>
            </a:r>
            <a:r>
              <a:rPr lang="en-US" sz="1100" spc="-70" dirty="0">
                <a:solidFill>
                  <a:prstClr val="black"/>
                </a:solidFill>
                <a:latin typeface="EYInterstate Light" panose="02000506000000020004" pitchFamily="2" charset="0"/>
                <a:ea typeface="+mn-ea"/>
                <a:cs typeface="Trebuchet MS"/>
              </a:rPr>
              <a:t> </a:t>
            </a:r>
            <a:r>
              <a:rPr lang="en-US" sz="1100" spc="45" dirty="0">
                <a:solidFill>
                  <a:prstClr val="black"/>
                </a:solidFill>
                <a:latin typeface="EYInterstate Light" panose="02000506000000020004" pitchFamily="2" charset="0"/>
                <a:ea typeface="+mn-ea"/>
                <a:cs typeface="Trebuchet MS"/>
              </a:rPr>
              <a:t>as</a:t>
            </a:r>
            <a:r>
              <a:rPr lang="en-US" sz="1100" spc="-65" dirty="0">
                <a:solidFill>
                  <a:prstClr val="black"/>
                </a:solidFill>
                <a:latin typeface="EYInterstate Light" panose="02000506000000020004" pitchFamily="2" charset="0"/>
                <a:ea typeface="+mn-ea"/>
                <a:cs typeface="Trebuchet MS"/>
              </a:rPr>
              <a:t> </a:t>
            </a:r>
            <a:r>
              <a:rPr lang="en-US" sz="1100" dirty="0">
                <a:solidFill>
                  <a:prstClr val="black"/>
                </a:solidFill>
                <a:latin typeface="EYInterstate Light" panose="02000506000000020004" pitchFamily="2" charset="0"/>
                <a:ea typeface="+mn-ea"/>
                <a:cs typeface="Trebuchet MS"/>
              </a:rPr>
              <a:t>data</a:t>
            </a:r>
            <a:r>
              <a:rPr lang="en-US" sz="1100" spc="-75"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is</a:t>
            </a:r>
            <a:r>
              <a:rPr lang="en-US" sz="1100" spc="-40" dirty="0">
                <a:solidFill>
                  <a:prstClr val="black"/>
                </a:solidFill>
                <a:latin typeface="EYInterstate Light" panose="02000506000000020004" pitchFamily="2" charset="0"/>
                <a:ea typeface="+mn-ea"/>
                <a:cs typeface="Trebuchet MS"/>
              </a:rPr>
              <a:t> </a:t>
            </a:r>
            <a:r>
              <a:rPr lang="en-US" sz="1100" spc="20" dirty="0">
                <a:solidFill>
                  <a:prstClr val="black"/>
                </a:solidFill>
                <a:latin typeface="EYInterstate Light" panose="02000506000000020004" pitchFamily="2" charset="0"/>
                <a:ea typeface="+mn-ea"/>
                <a:cs typeface="Trebuchet MS"/>
              </a:rPr>
              <a:t>processed</a:t>
            </a:r>
            <a:r>
              <a:rPr lang="en-US" sz="1100" spc="-12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inline)</a:t>
            </a:r>
            <a:r>
              <a:rPr lang="en-US" sz="1100" spc="-60" dirty="0">
                <a:solidFill>
                  <a:prstClr val="black"/>
                </a:solidFill>
                <a:latin typeface="EYInterstate Light" panose="02000506000000020004" pitchFamily="2" charset="0"/>
                <a:ea typeface="+mn-ea"/>
                <a:cs typeface="Trebuchet MS"/>
              </a:rPr>
              <a:t> </a:t>
            </a:r>
            <a:r>
              <a:rPr lang="en-US" sz="1100" spc="-15" dirty="0">
                <a:solidFill>
                  <a:prstClr val="black"/>
                </a:solidFill>
                <a:latin typeface="EYInterstate Light" panose="02000506000000020004" pitchFamily="2" charset="0"/>
                <a:ea typeface="+mn-ea"/>
                <a:cs typeface="Trebuchet MS"/>
              </a:rPr>
              <a:t>with</a:t>
            </a:r>
            <a:endParaRPr lang="en-US" sz="1100" dirty="0">
              <a:solidFill>
                <a:prstClr val="black"/>
              </a:solidFill>
              <a:latin typeface="EYInterstate Light" panose="02000506000000020004" pitchFamily="2" charset="0"/>
              <a:ea typeface="+mn-ea"/>
              <a:cs typeface="Trebuchet MS"/>
            </a:endParaRPr>
          </a:p>
          <a:p>
            <a:pPr marL="12700" eaLnBrk="1" fontAlgn="auto" hangingPunct="1">
              <a:spcBef>
                <a:spcPts val="10"/>
              </a:spcBef>
              <a:spcAft>
                <a:spcPts val="0"/>
              </a:spcAft>
            </a:pPr>
            <a:r>
              <a:rPr lang="en-US" sz="1100" spc="15" dirty="0">
                <a:solidFill>
                  <a:prstClr val="black"/>
                </a:solidFill>
                <a:latin typeface="EYInterstate Light" panose="02000506000000020004" pitchFamily="2" charset="0"/>
                <a:ea typeface="+mn-ea"/>
                <a:cs typeface="Trebuchet MS"/>
              </a:rPr>
              <a:t>continuous </a:t>
            </a:r>
            <a:r>
              <a:rPr lang="en-US" sz="1100" spc="5" dirty="0">
                <a:solidFill>
                  <a:prstClr val="black"/>
                </a:solidFill>
                <a:latin typeface="EYInterstate Light" panose="02000506000000020004" pitchFamily="2" charset="0"/>
                <a:ea typeface="+mn-ea"/>
                <a:cs typeface="Trebuchet MS"/>
              </a:rPr>
              <a:t>learning </a:t>
            </a:r>
            <a:r>
              <a:rPr lang="en-US" sz="1100" spc="15" dirty="0">
                <a:solidFill>
                  <a:prstClr val="black"/>
                </a:solidFill>
                <a:latin typeface="EYInterstate Light" panose="02000506000000020004" pitchFamily="2" charset="0"/>
                <a:ea typeface="+mn-ea"/>
                <a:cs typeface="Trebuchet MS"/>
              </a:rPr>
              <a:t>and</a:t>
            </a:r>
            <a:r>
              <a:rPr lang="en-US" sz="1100" spc="-210" dirty="0">
                <a:solidFill>
                  <a:prstClr val="black"/>
                </a:solidFill>
                <a:latin typeface="EYInterstate Light" panose="02000506000000020004" pitchFamily="2" charset="0"/>
                <a:ea typeface="+mn-ea"/>
                <a:cs typeface="Trebuchet MS"/>
              </a:rPr>
              <a:t> </a:t>
            </a:r>
            <a:r>
              <a:rPr lang="en-US" sz="1100" spc="5" dirty="0">
                <a:solidFill>
                  <a:prstClr val="black"/>
                </a:solidFill>
                <a:latin typeface="EYInterstate Light" panose="02000506000000020004" pitchFamily="2" charset="0"/>
                <a:ea typeface="+mn-ea"/>
                <a:cs typeface="Trebuchet MS"/>
              </a:rPr>
              <a:t>improvement</a:t>
            </a:r>
            <a:endParaRPr lang="en-US" sz="1100" dirty="0">
              <a:solidFill>
                <a:prstClr val="black"/>
              </a:solidFill>
              <a:latin typeface="EYInterstate Light" panose="02000506000000020004" pitchFamily="2" charset="0"/>
              <a:ea typeface="+mn-ea"/>
              <a:cs typeface="Trebuchet MS"/>
            </a:endParaRPr>
          </a:p>
        </p:txBody>
      </p:sp>
      <p:sp>
        <p:nvSpPr>
          <p:cNvPr id="142" name="object 48">
            <a:extLst>
              <a:ext uri="{FF2B5EF4-FFF2-40B4-BE49-F238E27FC236}">
                <a16:creationId xmlns:a16="http://schemas.microsoft.com/office/drawing/2014/main" id="{A5AE3F7D-CA37-40BE-8BAA-488CE098533D}"/>
              </a:ext>
            </a:extLst>
          </p:cNvPr>
          <p:cNvSpPr/>
          <p:nvPr/>
        </p:nvSpPr>
        <p:spPr>
          <a:xfrm>
            <a:off x="7313167" y="5852159"/>
            <a:ext cx="167640" cy="143255"/>
          </a:xfrm>
          <a:prstGeom prst="rect">
            <a:avLst/>
          </a:prstGeom>
          <a:blipFill>
            <a:blip r:embed="rId6" cstate="print">
              <a:duotone>
                <a:prstClr val="black"/>
                <a:schemeClr val="accent5">
                  <a:tint val="45000"/>
                  <a:satMod val="400000"/>
                </a:schemeClr>
              </a:duotone>
            </a:blip>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4" name="Rectangle 3">
            <a:extLst>
              <a:ext uri="{FF2B5EF4-FFF2-40B4-BE49-F238E27FC236}">
                <a16:creationId xmlns:a16="http://schemas.microsoft.com/office/drawing/2014/main" id="{BB63D3F3-113D-4904-921A-1A0E7B70A7D4}"/>
              </a:ext>
            </a:extLst>
          </p:cNvPr>
          <p:cNvSpPr/>
          <p:nvPr/>
        </p:nvSpPr>
        <p:spPr>
          <a:xfrm>
            <a:off x="1638457" y="4860893"/>
            <a:ext cx="3857401" cy="425437"/>
          </a:xfrm>
          <a:prstGeom prst="rect">
            <a:avLst/>
          </a:prstGeom>
        </p:spPr>
        <p:txBody>
          <a:bodyPr wrap="square">
            <a:spAutoFit/>
          </a:bodyPr>
          <a:lstStyle/>
          <a:p>
            <a:pPr marL="89535" marR="5080" eaLnBrk="1" fontAlgn="auto" hangingPunct="1">
              <a:lnSpc>
                <a:spcPct val="101000"/>
              </a:lnSpc>
              <a:spcBef>
                <a:spcPts val="90"/>
              </a:spcBef>
              <a:spcAft>
                <a:spcPts val="0"/>
              </a:spcAft>
            </a:pPr>
            <a:r>
              <a:rPr lang="en-US" sz="1100" spc="35" dirty="0">
                <a:solidFill>
                  <a:prstClr val="black"/>
                </a:solidFill>
                <a:latin typeface="EYInterstate Light" panose="02000506000000020004" pitchFamily="2" charset="0"/>
                <a:cs typeface="Trebuchet MS"/>
              </a:rPr>
              <a:t>Does</a:t>
            </a:r>
            <a:r>
              <a:rPr lang="en-US" sz="1100" spc="-70" dirty="0">
                <a:solidFill>
                  <a:prstClr val="black"/>
                </a:solidFill>
                <a:latin typeface="EYInterstate Light" panose="02000506000000020004" pitchFamily="2" charset="0"/>
                <a:cs typeface="Trebuchet MS"/>
              </a:rPr>
              <a:t> </a:t>
            </a:r>
            <a:r>
              <a:rPr lang="en-US" sz="1100" spc="10" dirty="0">
                <a:solidFill>
                  <a:prstClr val="black"/>
                </a:solidFill>
                <a:latin typeface="EYInterstate Light" panose="02000506000000020004" pitchFamily="2" charset="0"/>
                <a:cs typeface="Trebuchet MS"/>
              </a:rPr>
              <a:t>not</a:t>
            </a:r>
            <a:r>
              <a:rPr lang="en-US" sz="1100" spc="-60" dirty="0">
                <a:solidFill>
                  <a:prstClr val="black"/>
                </a:solidFill>
                <a:latin typeface="EYInterstate Light" panose="02000506000000020004" pitchFamily="2" charset="0"/>
                <a:cs typeface="Trebuchet MS"/>
              </a:rPr>
              <a:t> </a:t>
            </a:r>
            <a:r>
              <a:rPr lang="en-US" sz="1100" spc="20" dirty="0">
                <a:solidFill>
                  <a:prstClr val="black"/>
                </a:solidFill>
                <a:latin typeface="EYInterstate Light" panose="02000506000000020004" pitchFamily="2" charset="0"/>
                <a:cs typeface="Trebuchet MS"/>
              </a:rPr>
              <a:t>support</a:t>
            </a:r>
            <a:r>
              <a:rPr lang="en-US" sz="1100" spc="-85" dirty="0">
                <a:solidFill>
                  <a:prstClr val="black"/>
                </a:solidFill>
                <a:latin typeface="EYInterstate Light" panose="02000506000000020004" pitchFamily="2" charset="0"/>
                <a:cs typeface="Trebuchet MS"/>
              </a:rPr>
              <a:t> </a:t>
            </a:r>
            <a:r>
              <a:rPr lang="en-US" sz="1100" spc="10" dirty="0">
                <a:solidFill>
                  <a:prstClr val="black"/>
                </a:solidFill>
                <a:latin typeface="EYInterstate Light" panose="02000506000000020004" pitchFamily="2" charset="0"/>
                <a:cs typeface="Trebuchet MS"/>
              </a:rPr>
              <a:t>semi</a:t>
            </a:r>
            <a:r>
              <a:rPr lang="en-US" sz="1100" spc="-75" dirty="0">
                <a:solidFill>
                  <a:prstClr val="black"/>
                </a:solidFill>
                <a:latin typeface="EYInterstate Light" panose="02000506000000020004" pitchFamily="2" charset="0"/>
                <a:cs typeface="Trebuchet MS"/>
              </a:rPr>
              <a:t> </a:t>
            </a:r>
            <a:r>
              <a:rPr lang="en-US" sz="1100" spc="15" dirty="0">
                <a:solidFill>
                  <a:prstClr val="black"/>
                </a:solidFill>
                <a:latin typeface="EYInterstate Light" panose="02000506000000020004" pitchFamily="2" charset="0"/>
                <a:cs typeface="Trebuchet MS"/>
              </a:rPr>
              <a:t>and</a:t>
            </a:r>
            <a:r>
              <a:rPr lang="en-US" sz="1100" spc="-50" dirty="0">
                <a:solidFill>
                  <a:prstClr val="black"/>
                </a:solidFill>
                <a:latin typeface="EYInterstate Light" panose="02000506000000020004" pitchFamily="2" charset="0"/>
                <a:cs typeface="Trebuchet MS"/>
              </a:rPr>
              <a:t> </a:t>
            </a:r>
            <a:r>
              <a:rPr lang="en-US" sz="1100" spc="10" dirty="0">
                <a:solidFill>
                  <a:prstClr val="black"/>
                </a:solidFill>
                <a:latin typeface="EYInterstate Light" panose="02000506000000020004" pitchFamily="2" charset="0"/>
                <a:cs typeface="Trebuchet MS"/>
              </a:rPr>
              <a:t>unstructured</a:t>
            </a:r>
            <a:r>
              <a:rPr lang="en-US" sz="1100" spc="-90" dirty="0">
                <a:solidFill>
                  <a:prstClr val="black"/>
                </a:solidFill>
                <a:latin typeface="EYInterstate Light" panose="02000506000000020004" pitchFamily="2" charset="0"/>
                <a:cs typeface="Trebuchet MS"/>
              </a:rPr>
              <a:t> </a:t>
            </a:r>
            <a:r>
              <a:rPr lang="en-US" sz="1100" dirty="0">
                <a:solidFill>
                  <a:prstClr val="black"/>
                </a:solidFill>
                <a:latin typeface="EYInterstate Light" panose="02000506000000020004" pitchFamily="2" charset="0"/>
                <a:cs typeface="Trebuchet MS"/>
              </a:rPr>
              <a:t>data  </a:t>
            </a:r>
            <a:r>
              <a:rPr lang="en-US" sz="1100" spc="10" dirty="0">
                <a:solidFill>
                  <a:prstClr val="black"/>
                </a:solidFill>
                <a:latin typeface="EYInterstate Light" panose="02000506000000020004" pitchFamily="2" charset="0"/>
                <a:cs typeface="Trebuchet MS"/>
              </a:rPr>
              <a:t>increasingly</a:t>
            </a:r>
            <a:r>
              <a:rPr lang="en-US" sz="1100" spc="-110" dirty="0">
                <a:solidFill>
                  <a:prstClr val="black"/>
                </a:solidFill>
                <a:latin typeface="EYInterstate Light" panose="02000506000000020004" pitchFamily="2" charset="0"/>
                <a:cs typeface="Trebuchet MS"/>
              </a:rPr>
              <a:t> </a:t>
            </a:r>
            <a:r>
              <a:rPr lang="en-US" sz="1100" dirty="0">
                <a:solidFill>
                  <a:prstClr val="black"/>
                </a:solidFill>
                <a:latin typeface="EYInterstate Light" panose="02000506000000020004" pitchFamily="2" charset="0"/>
                <a:cs typeface="Trebuchet MS"/>
              </a:rPr>
              <a:t>relevant</a:t>
            </a:r>
            <a:r>
              <a:rPr lang="en-US" sz="1100" spc="-105" dirty="0">
                <a:solidFill>
                  <a:prstClr val="black"/>
                </a:solidFill>
                <a:latin typeface="EYInterstate Light" panose="02000506000000020004" pitchFamily="2" charset="0"/>
                <a:cs typeface="Trebuchet MS"/>
              </a:rPr>
              <a:t> </a:t>
            </a:r>
            <a:r>
              <a:rPr lang="en-US" sz="1100" spc="15" dirty="0">
                <a:solidFill>
                  <a:prstClr val="black"/>
                </a:solidFill>
                <a:latin typeface="EYInterstate Light" panose="02000506000000020004" pitchFamily="2" charset="0"/>
                <a:cs typeface="Trebuchet MS"/>
              </a:rPr>
              <a:t>for</a:t>
            </a:r>
            <a:r>
              <a:rPr lang="en-US" sz="1100" spc="-45" dirty="0">
                <a:solidFill>
                  <a:prstClr val="black"/>
                </a:solidFill>
                <a:latin typeface="EYInterstate Light" panose="02000506000000020004" pitchFamily="2" charset="0"/>
                <a:cs typeface="Trebuchet MS"/>
              </a:rPr>
              <a:t> </a:t>
            </a:r>
            <a:r>
              <a:rPr lang="en-US" sz="1100" dirty="0">
                <a:solidFill>
                  <a:prstClr val="black"/>
                </a:solidFill>
                <a:latin typeface="EYInterstate Light" panose="02000506000000020004" pitchFamily="2" charset="0"/>
                <a:cs typeface="Trebuchet MS"/>
              </a:rPr>
              <a:t>data</a:t>
            </a:r>
            <a:r>
              <a:rPr lang="en-US" sz="1100" spc="-70" dirty="0">
                <a:solidFill>
                  <a:prstClr val="black"/>
                </a:solidFill>
                <a:latin typeface="EYInterstate Light" panose="02000506000000020004" pitchFamily="2" charset="0"/>
                <a:cs typeface="Trebuchet MS"/>
              </a:rPr>
              <a:t> </a:t>
            </a:r>
            <a:r>
              <a:rPr lang="en-US" sz="1100" spc="5" dirty="0">
                <a:solidFill>
                  <a:prstClr val="black"/>
                </a:solidFill>
                <a:latin typeface="EYInterstate Light" panose="02000506000000020004" pitchFamily="2" charset="0"/>
                <a:cs typeface="Trebuchet MS"/>
              </a:rPr>
              <a:t>enrichment</a:t>
            </a:r>
            <a:r>
              <a:rPr lang="en-US" sz="1100" spc="-85" dirty="0">
                <a:solidFill>
                  <a:prstClr val="black"/>
                </a:solidFill>
                <a:latin typeface="EYInterstate Light" panose="02000506000000020004" pitchFamily="2" charset="0"/>
                <a:cs typeface="Trebuchet MS"/>
              </a:rPr>
              <a:t> </a:t>
            </a:r>
            <a:r>
              <a:rPr lang="en-US" sz="1100" spc="15" dirty="0">
                <a:solidFill>
                  <a:prstClr val="black"/>
                </a:solidFill>
                <a:latin typeface="EYInterstate Light" panose="02000506000000020004" pitchFamily="2" charset="0"/>
                <a:cs typeface="Trebuchet MS"/>
              </a:rPr>
              <a:t>and </a:t>
            </a:r>
            <a:r>
              <a:rPr lang="en-US" sz="1100" spc="5" dirty="0">
                <a:solidFill>
                  <a:prstClr val="black"/>
                </a:solidFill>
                <a:latin typeface="EYInterstate Light" panose="02000506000000020004" pitchFamily="2" charset="0"/>
                <a:cs typeface="Trebuchet MS"/>
              </a:rPr>
              <a:t>analytics</a:t>
            </a:r>
          </a:p>
        </p:txBody>
      </p:sp>
      <p:sp>
        <p:nvSpPr>
          <p:cNvPr id="5" name="Rectangle 4">
            <a:extLst>
              <a:ext uri="{FF2B5EF4-FFF2-40B4-BE49-F238E27FC236}">
                <a16:creationId xmlns:a16="http://schemas.microsoft.com/office/drawing/2014/main" id="{FFBDB99D-535C-4402-8C6D-F21D478DC169}"/>
              </a:ext>
            </a:extLst>
          </p:cNvPr>
          <p:cNvSpPr/>
          <p:nvPr/>
        </p:nvSpPr>
        <p:spPr>
          <a:xfrm>
            <a:off x="1627029" y="5368923"/>
            <a:ext cx="3630422" cy="425437"/>
          </a:xfrm>
          <a:prstGeom prst="rect">
            <a:avLst/>
          </a:prstGeom>
        </p:spPr>
        <p:txBody>
          <a:bodyPr wrap="square">
            <a:spAutoFit/>
          </a:bodyPr>
          <a:lstStyle/>
          <a:p>
            <a:pPr marL="89535" marR="5080" eaLnBrk="1" fontAlgn="auto" hangingPunct="1">
              <a:lnSpc>
                <a:spcPct val="101000"/>
              </a:lnSpc>
              <a:spcBef>
                <a:spcPts val="90"/>
              </a:spcBef>
              <a:spcAft>
                <a:spcPts val="0"/>
              </a:spcAft>
            </a:pPr>
            <a:r>
              <a:rPr lang="en-US" sz="1100" dirty="0">
                <a:solidFill>
                  <a:prstClr val="black"/>
                </a:solidFill>
                <a:latin typeface="EYInterstate Light" panose="02000506000000020004" pitchFamily="2" charset="0"/>
                <a:cs typeface="Trebuchet MS"/>
              </a:rPr>
              <a:t>Vertical</a:t>
            </a:r>
            <a:r>
              <a:rPr lang="en-US" sz="1100" spc="-85" dirty="0">
                <a:solidFill>
                  <a:prstClr val="black"/>
                </a:solidFill>
                <a:latin typeface="EYInterstate Light" panose="02000506000000020004" pitchFamily="2" charset="0"/>
                <a:cs typeface="Trebuchet MS"/>
              </a:rPr>
              <a:t> </a:t>
            </a:r>
            <a:r>
              <a:rPr lang="en-US" sz="1100" spc="-5" dirty="0">
                <a:solidFill>
                  <a:prstClr val="black"/>
                </a:solidFill>
                <a:latin typeface="EYInterstate Light" panose="02000506000000020004" pitchFamily="2" charset="0"/>
                <a:cs typeface="Trebuchet MS"/>
              </a:rPr>
              <a:t>scalability</a:t>
            </a:r>
            <a:r>
              <a:rPr lang="en-US" sz="1100" spc="-110" dirty="0">
                <a:solidFill>
                  <a:prstClr val="black"/>
                </a:solidFill>
                <a:latin typeface="EYInterstate Light" panose="02000506000000020004" pitchFamily="2" charset="0"/>
                <a:cs typeface="Trebuchet MS"/>
              </a:rPr>
              <a:t> </a:t>
            </a:r>
            <a:r>
              <a:rPr lang="en-US" sz="1100" dirty="0">
                <a:solidFill>
                  <a:prstClr val="black"/>
                </a:solidFill>
                <a:latin typeface="EYInterstate Light" panose="02000506000000020004" pitchFamily="2" charset="0"/>
                <a:cs typeface="Trebuchet MS"/>
              </a:rPr>
              <a:t>to</a:t>
            </a:r>
            <a:r>
              <a:rPr lang="en-US" sz="1100" spc="-30" dirty="0">
                <a:solidFill>
                  <a:prstClr val="black"/>
                </a:solidFill>
                <a:latin typeface="EYInterstate Light" panose="02000506000000020004" pitchFamily="2" charset="0"/>
                <a:cs typeface="Trebuchet MS"/>
              </a:rPr>
              <a:t> </a:t>
            </a:r>
            <a:r>
              <a:rPr lang="en-US" sz="1100" spc="10" dirty="0">
                <a:solidFill>
                  <a:prstClr val="black"/>
                </a:solidFill>
                <a:latin typeface="EYInterstate Light" panose="02000506000000020004" pitchFamily="2" charset="0"/>
                <a:cs typeface="Trebuchet MS"/>
              </a:rPr>
              <a:t>enhance</a:t>
            </a:r>
            <a:r>
              <a:rPr lang="en-US" sz="1100" spc="-75" dirty="0">
                <a:solidFill>
                  <a:prstClr val="black"/>
                </a:solidFill>
                <a:latin typeface="EYInterstate Light" panose="02000506000000020004" pitchFamily="2" charset="0"/>
                <a:cs typeface="Trebuchet MS"/>
              </a:rPr>
              <a:t> </a:t>
            </a:r>
            <a:r>
              <a:rPr lang="en-US" sz="1100" dirty="0">
                <a:solidFill>
                  <a:prstClr val="black"/>
                </a:solidFill>
                <a:latin typeface="EYInterstate Light" panose="02000506000000020004" pitchFamily="2" charset="0"/>
                <a:cs typeface="Trebuchet MS"/>
              </a:rPr>
              <a:t>data</a:t>
            </a:r>
            <a:r>
              <a:rPr lang="en-US" sz="1100" spc="-75" dirty="0">
                <a:solidFill>
                  <a:prstClr val="black"/>
                </a:solidFill>
                <a:latin typeface="EYInterstate Light" panose="02000506000000020004" pitchFamily="2" charset="0"/>
                <a:cs typeface="Trebuchet MS"/>
              </a:rPr>
              <a:t> </a:t>
            </a:r>
            <a:r>
              <a:rPr lang="en-US" sz="1100" spc="25" dirty="0">
                <a:solidFill>
                  <a:prstClr val="black"/>
                </a:solidFill>
                <a:latin typeface="EYInterstate Light" panose="02000506000000020004" pitchFamily="2" charset="0"/>
                <a:cs typeface="Trebuchet MS"/>
              </a:rPr>
              <a:t>processing  </a:t>
            </a:r>
            <a:r>
              <a:rPr lang="en-US" sz="1100" spc="-5" dirty="0">
                <a:solidFill>
                  <a:prstClr val="black"/>
                </a:solidFill>
                <a:latin typeface="EYInterstate Light" panose="02000506000000020004" pitchFamily="2" charset="0"/>
                <a:cs typeface="Trebuchet MS"/>
              </a:rPr>
              <a:t>capability</a:t>
            </a:r>
            <a:r>
              <a:rPr lang="en-US" sz="1100" spc="-85" dirty="0">
                <a:solidFill>
                  <a:prstClr val="black"/>
                </a:solidFill>
                <a:latin typeface="EYInterstate Light" panose="02000506000000020004" pitchFamily="2" charset="0"/>
                <a:cs typeface="Trebuchet MS"/>
              </a:rPr>
              <a:t> </a:t>
            </a:r>
            <a:r>
              <a:rPr lang="en-US" sz="1100" spc="35" dirty="0">
                <a:solidFill>
                  <a:prstClr val="black"/>
                </a:solidFill>
                <a:latin typeface="EYInterstate Light" panose="02000506000000020004" pitchFamily="2" charset="0"/>
                <a:cs typeface="Trebuchet MS"/>
              </a:rPr>
              <a:t>has</a:t>
            </a:r>
            <a:r>
              <a:rPr lang="en-US" sz="1100" spc="-70" dirty="0">
                <a:solidFill>
                  <a:prstClr val="black"/>
                </a:solidFill>
                <a:latin typeface="EYInterstate Light" panose="02000506000000020004" pitchFamily="2" charset="0"/>
                <a:cs typeface="Trebuchet MS"/>
              </a:rPr>
              <a:t> </a:t>
            </a:r>
            <a:r>
              <a:rPr lang="en-US" sz="1100" spc="5" dirty="0">
                <a:solidFill>
                  <a:prstClr val="black"/>
                </a:solidFill>
                <a:latin typeface="EYInterstate Light" panose="02000506000000020004" pitchFamily="2" charset="0"/>
                <a:cs typeface="Trebuchet MS"/>
              </a:rPr>
              <a:t>become</a:t>
            </a:r>
            <a:r>
              <a:rPr lang="en-US" sz="1100" spc="-100" dirty="0">
                <a:solidFill>
                  <a:prstClr val="black"/>
                </a:solidFill>
                <a:latin typeface="EYInterstate Light" panose="02000506000000020004" pitchFamily="2" charset="0"/>
                <a:cs typeface="Trebuchet MS"/>
              </a:rPr>
              <a:t> </a:t>
            </a:r>
            <a:r>
              <a:rPr lang="en-US" sz="1100" spc="20" dirty="0">
                <a:solidFill>
                  <a:prstClr val="black"/>
                </a:solidFill>
                <a:latin typeface="EYInterstate Light" panose="02000506000000020004" pitchFamily="2" charset="0"/>
                <a:cs typeface="Trebuchet MS"/>
              </a:rPr>
              <a:t>cost</a:t>
            </a:r>
            <a:r>
              <a:rPr lang="en-US" sz="1100" spc="-65" dirty="0">
                <a:solidFill>
                  <a:prstClr val="black"/>
                </a:solidFill>
                <a:latin typeface="EYInterstate Light" panose="02000506000000020004" pitchFamily="2" charset="0"/>
                <a:cs typeface="Trebuchet MS"/>
              </a:rPr>
              <a:t> </a:t>
            </a:r>
            <a:r>
              <a:rPr lang="en-US" sz="1100" spc="-5" dirty="0">
                <a:solidFill>
                  <a:prstClr val="black"/>
                </a:solidFill>
                <a:latin typeface="EYInterstate Light" panose="02000506000000020004" pitchFamily="2" charset="0"/>
                <a:cs typeface="Trebuchet MS"/>
              </a:rPr>
              <a:t>prohibitive</a:t>
            </a:r>
          </a:p>
        </p:txBody>
      </p:sp>
      <p:sp>
        <p:nvSpPr>
          <p:cNvPr id="52" name="object 5">
            <a:extLst>
              <a:ext uri="{FF2B5EF4-FFF2-40B4-BE49-F238E27FC236}">
                <a16:creationId xmlns:a16="http://schemas.microsoft.com/office/drawing/2014/main" id="{C55BFE1D-F674-4F9D-B512-AC23548EA372}"/>
              </a:ext>
            </a:extLst>
          </p:cNvPr>
          <p:cNvSpPr txBox="1"/>
          <p:nvPr/>
        </p:nvSpPr>
        <p:spPr>
          <a:xfrm>
            <a:off x="855875" y="1088818"/>
            <a:ext cx="10991996" cy="457200"/>
          </a:xfrm>
          <a:prstGeom prst="rect">
            <a:avLst/>
          </a:prstGeom>
          <a:solidFill>
            <a:srgbClr val="EFEFEF"/>
          </a:solidFill>
        </p:spPr>
        <p:txBody>
          <a:bodyPr vert="horz" wrap="square" lIns="0" tIns="0" rIns="0" bIns="0" rtlCol="0" anchor="ctr">
            <a:noAutofit/>
          </a:bodyPr>
          <a:lstStyle>
            <a:defPPr>
              <a:defRPr lang="en-US"/>
            </a:defPPr>
            <a:lvl1pPr marL="30480" eaLnBrk="1" fontAlgn="auto" hangingPunct="1">
              <a:spcBef>
                <a:spcPts val="830"/>
              </a:spcBef>
              <a:spcAft>
                <a:spcPts val="0"/>
              </a:spcAft>
              <a:defRPr sz="1200">
                <a:solidFill>
                  <a:prstClr val="black"/>
                </a:solidFill>
                <a:latin typeface="EYInterstate Light" panose="02000506000000020004" pitchFamily="2" charset="0"/>
                <a:ea typeface="+mn-ea"/>
                <a:cs typeface="Arial"/>
              </a:defRPr>
            </a:lvl1pPr>
          </a:lstStyle>
          <a:p>
            <a:r>
              <a:rPr lang="en-US" dirty="0"/>
              <a:t>While firms have desired an integrated risk and finance architecture for many years, legacy technology constraints have made this challenging to achieve. Advances in new technologies like low cost cloud based infrastructure and machine learning have made such an architecture possible.</a:t>
            </a:r>
          </a:p>
        </p:txBody>
      </p:sp>
      <p:sp>
        <p:nvSpPr>
          <p:cNvPr id="56" name="Chevron 26">
            <a:extLst>
              <a:ext uri="{FF2B5EF4-FFF2-40B4-BE49-F238E27FC236}">
                <a16:creationId xmlns:a16="http://schemas.microsoft.com/office/drawing/2014/main" id="{C206F266-8FF9-4E7B-95DF-E4A838CDE0A0}"/>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dirty="0">
                <a:solidFill>
                  <a:schemeClr val="bg2"/>
                </a:solidFill>
                <a:latin typeface="EYInterstate"/>
                <a:sym typeface="EYInterstate Light" panose="02000506000000020004" pitchFamily="2" charset="0"/>
              </a:rPr>
              <a:t>Point of View</a:t>
            </a:r>
          </a:p>
        </p:txBody>
      </p:sp>
    </p:spTree>
    <p:extLst>
      <p:ext uri="{BB962C8B-B14F-4D97-AF65-F5344CB8AC3E}">
        <p14:creationId xmlns:p14="http://schemas.microsoft.com/office/powerpoint/2010/main" val="1909596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74140-A9FE-4948-9EEE-AD0A7DEBA5D2}"/>
              </a:ext>
            </a:extLst>
          </p:cNvPr>
          <p:cNvSpPr>
            <a:spLocks noGrp="1"/>
          </p:cNvSpPr>
          <p:nvPr>
            <p:ph type="title"/>
          </p:nvPr>
        </p:nvSpPr>
        <p:spPr/>
        <p:txBody>
          <a:bodyPr/>
          <a:lstStyle/>
          <a:p>
            <a:r>
              <a:rPr lang="en-US" dirty="0"/>
              <a:t>The Next Generation Data value proposition rises as one climbs up the pyramid to adopt data-driven decisioning &amp; insight generation</a:t>
            </a:r>
          </a:p>
        </p:txBody>
      </p:sp>
      <p:sp>
        <p:nvSpPr>
          <p:cNvPr id="4" name="object 3">
            <a:extLst>
              <a:ext uri="{FF2B5EF4-FFF2-40B4-BE49-F238E27FC236}">
                <a16:creationId xmlns:a16="http://schemas.microsoft.com/office/drawing/2014/main" id="{6F1AD12D-77BD-44E7-B89F-997B7E326539}"/>
              </a:ext>
            </a:extLst>
          </p:cNvPr>
          <p:cNvSpPr txBox="1"/>
          <p:nvPr/>
        </p:nvSpPr>
        <p:spPr>
          <a:xfrm>
            <a:off x="859536" y="1298448"/>
            <a:ext cx="11049000" cy="475771"/>
          </a:xfrm>
          <a:prstGeom prst="rect">
            <a:avLst/>
          </a:prstGeom>
          <a:solidFill>
            <a:srgbClr val="EFEFEF"/>
          </a:solidFill>
        </p:spPr>
        <p:txBody>
          <a:bodyPr vert="horz" wrap="square" lIns="0" tIns="0" rIns="0" bIns="0" rtlCol="0" anchor="ctr">
            <a:noAutofit/>
          </a:bodyPr>
          <a:lstStyle>
            <a:defPPr>
              <a:defRPr lang="en-US"/>
            </a:defPPr>
            <a:lvl1pPr marL="30480" eaLnBrk="1" fontAlgn="auto" hangingPunct="1">
              <a:spcBef>
                <a:spcPts val="830"/>
              </a:spcBef>
              <a:spcAft>
                <a:spcPts val="0"/>
              </a:spcAft>
              <a:defRPr sz="1200">
                <a:solidFill>
                  <a:prstClr val="black"/>
                </a:solidFill>
                <a:latin typeface="EYInterstate Light" panose="02000506000000020004" pitchFamily="2" charset="0"/>
                <a:ea typeface="+mn-ea"/>
                <a:cs typeface="Arial"/>
              </a:defRPr>
            </a:lvl1pPr>
          </a:lstStyle>
          <a:p>
            <a:r>
              <a:rPr lang="en-US" dirty="0"/>
              <a:t>Initial investments in infrastructure and foundational capabilities are more than offset  through deceleration in spends. Real value is unlocked by progressing from the bottom of the pyramid to the top where analytical capabilities are enabled to generate real insights.</a:t>
            </a:r>
          </a:p>
        </p:txBody>
      </p:sp>
      <p:sp>
        <p:nvSpPr>
          <p:cNvPr id="5" name="object 4">
            <a:extLst>
              <a:ext uri="{FF2B5EF4-FFF2-40B4-BE49-F238E27FC236}">
                <a16:creationId xmlns:a16="http://schemas.microsoft.com/office/drawing/2014/main" id="{A8C3C5AA-637B-495D-A183-EA31E301B05E}"/>
              </a:ext>
            </a:extLst>
          </p:cNvPr>
          <p:cNvSpPr/>
          <p:nvPr/>
        </p:nvSpPr>
        <p:spPr>
          <a:xfrm>
            <a:off x="7937499" y="5507738"/>
            <a:ext cx="460248" cy="518159"/>
          </a:xfrm>
          <a:prstGeom prst="rect">
            <a:avLst/>
          </a:prstGeom>
          <a:blipFill>
            <a:blip r:embed="rId2" cstate="print">
              <a:duotone>
                <a:prstClr val="black"/>
                <a:schemeClr val="accent5">
                  <a:tint val="45000"/>
                  <a:satMod val="400000"/>
                </a:schemeClr>
              </a:duotone>
              <a:extLst>
                <a:ext uri="{BEBA8EAE-BF5A-486C-A8C5-ECC9F3942E4B}">
                  <a14:imgProps xmlns:a14="http://schemas.microsoft.com/office/drawing/2010/main">
                    <a14:imgLayer r:embed="rId3">
                      <a14:imgEffect>
                        <a14:saturation sat="400000"/>
                      </a14:imgEffect>
                    </a14:imgLayer>
                  </a14:imgProps>
                </a:ext>
              </a:extLst>
            </a:blip>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6" name="object 5">
            <a:extLst>
              <a:ext uri="{FF2B5EF4-FFF2-40B4-BE49-F238E27FC236}">
                <a16:creationId xmlns:a16="http://schemas.microsoft.com/office/drawing/2014/main" id="{1D099F76-F1E3-401A-BA92-31B8A2D96996}"/>
              </a:ext>
            </a:extLst>
          </p:cNvPr>
          <p:cNvSpPr/>
          <p:nvPr/>
        </p:nvSpPr>
        <p:spPr>
          <a:xfrm>
            <a:off x="7984996" y="2706130"/>
            <a:ext cx="438912" cy="493775"/>
          </a:xfrm>
          <a:prstGeom prst="rect">
            <a:avLst/>
          </a:prstGeom>
          <a:blipFill>
            <a:blip r:embed="rId4" cstate="print">
              <a:duotone>
                <a:prstClr val="black"/>
                <a:schemeClr val="accent5">
                  <a:tint val="45000"/>
                  <a:satMod val="400000"/>
                </a:schemeClr>
              </a:duotone>
              <a:extLst>
                <a:ext uri="{BEBA8EAE-BF5A-486C-A8C5-ECC9F3942E4B}">
                  <a14:imgProps xmlns:a14="http://schemas.microsoft.com/office/drawing/2010/main">
                    <a14:imgLayer r:embed="rId5">
                      <a14:imgEffect>
                        <a14:saturation sat="400000"/>
                      </a14:imgEffect>
                    </a14:imgLayer>
                  </a14:imgProps>
                </a:ext>
              </a:extLst>
            </a:blip>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8" name="object 7">
            <a:extLst>
              <a:ext uri="{FF2B5EF4-FFF2-40B4-BE49-F238E27FC236}">
                <a16:creationId xmlns:a16="http://schemas.microsoft.com/office/drawing/2014/main" id="{C03FD450-2086-4C5F-86B3-407865BEE9CA}"/>
              </a:ext>
            </a:extLst>
          </p:cNvPr>
          <p:cNvSpPr/>
          <p:nvPr/>
        </p:nvSpPr>
        <p:spPr>
          <a:xfrm>
            <a:off x="7935974" y="4168648"/>
            <a:ext cx="432816" cy="487680"/>
          </a:xfrm>
          <a:prstGeom prst="rect">
            <a:avLst/>
          </a:prstGeom>
          <a:blipFill>
            <a:blip r:embed="rId6" cstate="print">
              <a:duotone>
                <a:prstClr val="black"/>
                <a:schemeClr val="accent5">
                  <a:tint val="45000"/>
                  <a:satMod val="400000"/>
                </a:schemeClr>
              </a:duotone>
              <a:extLst>
                <a:ext uri="{BEBA8EAE-BF5A-486C-A8C5-ECC9F3942E4B}">
                  <a14:imgProps xmlns:a14="http://schemas.microsoft.com/office/drawing/2010/main">
                    <a14:imgLayer r:embed="rId7">
                      <a14:imgEffect>
                        <a14:colorTemperature colorTemp="11200"/>
                      </a14:imgEffect>
                      <a14:imgEffect>
                        <a14:saturation sat="400000"/>
                      </a14:imgEffect>
                    </a14:imgLayer>
                  </a14:imgProps>
                </a:ext>
              </a:extLst>
            </a:blip>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0" name="object 9">
            <a:extLst>
              <a:ext uri="{FF2B5EF4-FFF2-40B4-BE49-F238E27FC236}">
                <a16:creationId xmlns:a16="http://schemas.microsoft.com/office/drawing/2014/main" id="{1E89EFC5-9625-4354-9A16-5DA5DBD00F0A}"/>
              </a:ext>
            </a:extLst>
          </p:cNvPr>
          <p:cNvSpPr txBox="1"/>
          <p:nvPr/>
        </p:nvSpPr>
        <p:spPr>
          <a:xfrm>
            <a:off x="8465311" y="5188839"/>
            <a:ext cx="3159125" cy="1343958"/>
          </a:xfrm>
          <a:prstGeom prst="rect">
            <a:avLst/>
          </a:prstGeom>
        </p:spPr>
        <p:txBody>
          <a:bodyPr vert="horz" wrap="square" lIns="0" tIns="12700" rIns="0" bIns="0" rtlCol="0">
            <a:spAutoFit/>
          </a:bodyPr>
          <a:lstStyle/>
          <a:p>
            <a:pPr marL="12700" marR="5080" eaLnBrk="1" fontAlgn="auto" hangingPunct="1">
              <a:spcBef>
                <a:spcPts val="100"/>
              </a:spcBef>
              <a:spcAft>
                <a:spcPts val="0"/>
              </a:spcAft>
            </a:pPr>
            <a:r>
              <a:rPr lang="en-US" sz="1200" spc="10" dirty="0">
                <a:solidFill>
                  <a:srgbClr val="636363"/>
                </a:solidFill>
                <a:latin typeface="EY interstate light"/>
                <a:ea typeface="+mn-ea"/>
                <a:cs typeface="Trebuchet MS"/>
              </a:rPr>
              <a:t>Infrastructure </a:t>
            </a:r>
            <a:r>
              <a:rPr lang="en-US" sz="1200" spc="-30" dirty="0">
                <a:solidFill>
                  <a:srgbClr val="636363"/>
                </a:solidFill>
                <a:latin typeface="EY interstate light"/>
                <a:ea typeface="+mn-ea"/>
                <a:cs typeface="Trebuchet MS"/>
              </a:rPr>
              <a:t>&amp; </a:t>
            </a:r>
            <a:r>
              <a:rPr lang="en-US" sz="1200" spc="-10" dirty="0">
                <a:solidFill>
                  <a:srgbClr val="636363"/>
                </a:solidFill>
                <a:latin typeface="EY interstate light"/>
                <a:ea typeface="+mn-ea"/>
                <a:cs typeface="Trebuchet MS"/>
              </a:rPr>
              <a:t>Foundational </a:t>
            </a:r>
            <a:r>
              <a:rPr lang="en-US" sz="1200" dirty="0">
                <a:solidFill>
                  <a:srgbClr val="636363"/>
                </a:solidFill>
                <a:latin typeface="EY interstate light"/>
                <a:ea typeface="+mn-ea"/>
                <a:cs typeface="Trebuchet MS"/>
              </a:rPr>
              <a:t>Capabilities:  </a:t>
            </a:r>
            <a:r>
              <a:rPr lang="en-US" sz="1200" spc="-5" dirty="0">
                <a:solidFill>
                  <a:srgbClr val="636363"/>
                </a:solidFill>
                <a:latin typeface="EY interstate light"/>
                <a:ea typeface="+mn-ea"/>
                <a:cs typeface="Trebuchet MS"/>
              </a:rPr>
              <a:t>Scalable </a:t>
            </a:r>
            <a:r>
              <a:rPr lang="en-US" sz="1200" spc="-35" dirty="0">
                <a:solidFill>
                  <a:srgbClr val="636363"/>
                </a:solidFill>
                <a:latin typeface="EY interstate light"/>
                <a:ea typeface="+mn-ea"/>
                <a:cs typeface="Trebuchet MS"/>
              </a:rPr>
              <a:t>&amp; </a:t>
            </a:r>
            <a:r>
              <a:rPr lang="en-US" sz="1200" dirty="0">
                <a:solidFill>
                  <a:srgbClr val="636363"/>
                </a:solidFill>
                <a:latin typeface="EY interstate light"/>
                <a:ea typeface="+mn-ea"/>
                <a:cs typeface="Trebuchet MS"/>
              </a:rPr>
              <a:t>Secure </a:t>
            </a:r>
            <a:r>
              <a:rPr lang="en-US" sz="1200" spc="-5" dirty="0">
                <a:solidFill>
                  <a:srgbClr val="636363"/>
                </a:solidFill>
                <a:latin typeface="EY interstate light"/>
                <a:ea typeface="+mn-ea"/>
                <a:cs typeface="Trebuchet MS"/>
              </a:rPr>
              <a:t>Platforms, </a:t>
            </a:r>
            <a:r>
              <a:rPr lang="en-US" sz="1200" spc="10" dirty="0">
                <a:solidFill>
                  <a:srgbClr val="636363"/>
                </a:solidFill>
                <a:latin typeface="EY interstate light"/>
                <a:ea typeface="+mn-ea"/>
                <a:cs typeface="Trebuchet MS"/>
              </a:rPr>
              <a:t>Managing Data  </a:t>
            </a:r>
            <a:r>
              <a:rPr lang="en-US" sz="1200" spc="40" dirty="0">
                <a:solidFill>
                  <a:srgbClr val="636363"/>
                </a:solidFill>
                <a:latin typeface="EY interstate light"/>
                <a:ea typeface="+mn-ea"/>
                <a:cs typeface="Trebuchet MS"/>
              </a:rPr>
              <a:t>as </a:t>
            </a:r>
            <a:r>
              <a:rPr lang="en-US" sz="1200" spc="20" dirty="0">
                <a:solidFill>
                  <a:srgbClr val="636363"/>
                </a:solidFill>
                <a:latin typeface="EY interstate light"/>
                <a:ea typeface="+mn-ea"/>
                <a:cs typeface="Trebuchet MS"/>
              </a:rPr>
              <a:t>a </a:t>
            </a:r>
            <a:r>
              <a:rPr lang="en-US" sz="1200" spc="-15" dirty="0">
                <a:solidFill>
                  <a:srgbClr val="636363"/>
                </a:solidFill>
                <a:latin typeface="EY interstate light"/>
                <a:ea typeface="+mn-ea"/>
                <a:cs typeface="Trebuchet MS"/>
              </a:rPr>
              <a:t>Corporate</a:t>
            </a:r>
            <a:r>
              <a:rPr lang="en-US" sz="1200" spc="-114" dirty="0">
                <a:solidFill>
                  <a:srgbClr val="636363"/>
                </a:solidFill>
                <a:latin typeface="EY interstate light"/>
                <a:ea typeface="+mn-ea"/>
                <a:cs typeface="Trebuchet MS"/>
              </a:rPr>
              <a:t> </a:t>
            </a:r>
            <a:r>
              <a:rPr lang="en-US" sz="1200" spc="50" dirty="0">
                <a:solidFill>
                  <a:srgbClr val="636363"/>
                </a:solidFill>
                <a:latin typeface="EY interstate light"/>
                <a:ea typeface="+mn-ea"/>
                <a:cs typeface="Trebuchet MS"/>
              </a:rPr>
              <a:t>Asset</a:t>
            </a:r>
          </a:p>
          <a:p>
            <a:pPr marL="12700" marR="5080" eaLnBrk="1" fontAlgn="auto" hangingPunct="1">
              <a:spcBef>
                <a:spcPts val="100"/>
              </a:spcBef>
              <a:spcAft>
                <a:spcPts val="0"/>
              </a:spcAft>
            </a:pPr>
            <a:endParaRPr lang="en-US" sz="1200" spc="50" dirty="0">
              <a:solidFill>
                <a:srgbClr val="636363"/>
              </a:solidFill>
              <a:latin typeface="EY interstate light"/>
              <a:ea typeface="+mn-ea"/>
              <a:cs typeface="Trebuchet MS"/>
            </a:endParaRPr>
          </a:p>
          <a:p>
            <a:pPr marL="12700" marR="5080" eaLnBrk="1" fontAlgn="auto" hangingPunct="1">
              <a:spcBef>
                <a:spcPts val="100"/>
              </a:spcBef>
              <a:spcAft>
                <a:spcPts val="0"/>
              </a:spcAft>
            </a:pPr>
            <a:r>
              <a:rPr lang="en-US" sz="1200" i="1" spc="20" dirty="0">
                <a:solidFill>
                  <a:srgbClr val="636363"/>
                </a:solidFill>
                <a:latin typeface="EY interstate light"/>
                <a:cs typeface="Trebuchet MS"/>
              </a:rPr>
              <a:t>Robust </a:t>
            </a:r>
            <a:r>
              <a:rPr lang="en-US" sz="1200" i="1" spc="5" dirty="0">
                <a:solidFill>
                  <a:srgbClr val="636363"/>
                </a:solidFill>
                <a:latin typeface="EY interstate light"/>
                <a:cs typeface="Trebuchet MS"/>
              </a:rPr>
              <a:t>Data </a:t>
            </a:r>
            <a:r>
              <a:rPr lang="en-US" sz="1200" i="1" spc="15" dirty="0">
                <a:solidFill>
                  <a:srgbClr val="636363"/>
                </a:solidFill>
                <a:latin typeface="EY interstate light"/>
                <a:cs typeface="Trebuchet MS"/>
              </a:rPr>
              <a:t>Management </a:t>
            </a:r>
            <a:r>
              <a:rPr lang="en-US" sz="1200" i="1" spc="-75" dirty="0">
                <a:solidFill>
                  <a:srgbClr val="636363"/>
                </a:solidFill>
                <a:latin typeface="EY interstate light"/>
                <a:cs typeface="Trebuchet MS"/>
              </a:rPr>
              <a:t>&amp; </a:t>
            </a:r>
            <a:r>
              <a:rPr lang="en-US" sz="1200" i="1" spc="-10" dirty="0">
                <a:solidFill>
                  <a:srgbClr val="636363"/>
                </a:solidFill>
                <a:latin typeface="EY interstate light"/>
                <a:cs typeface="Trebuchet MS"/>
              </a:rPr>
              <a:t>Governance,</a:t>
            </a:r>
            <a:r>
              <a:rPr lang="en-US" sz="1200" i="1" spc="-155" dirty="0">
                <a:solidFill>
                  <a:srgbClr val="636363"/>
                </a:solidFill>
                <a:latin typeface="EY interstate light"/>
                <a:cs typeface="Trebuchet MS"/>
              </a:rPr>
              <a:t> </a:t>
            </a:r>
            <a:r>
              <a:rPr lang="en-US" sz="1200" i="1" spc="-35" dirty="0">
                <a:solidFill>
                  <a:srgbClr val="636363"/>
                </a:solidFill>
                <a:latin typeface="EY interstate light"/>
                <a:cs typeface="Trebuchet MS"/>
              </a:rPr>
              <a:t>“Fit  </a:t>
            </a:r>
            <a:r>
              <a:rPr lang="en-US" sz="1200" i="1" dirty="0">
                <a:solidFill>
                  <a:srgbClr val="636363"/>
                </a:solidFill>
                <a:latin typeface="EY interstate light"/>
                <a:cs typeface="Trebuchet MS"/>
              </a:rPr>
              <a:t>for </a:t>
            </a:r>
            <a:r>
              <a:rPr lang="en-US" sz="1200" i="1" spc="-5" dirty="0">
                <a:solidFill>
                  <a:srgbClr val="636363"/>
                </a:solidFill>
                <a:latin typeface="EY interstate light"/>
                <a:cs typeface="Trebuchet MS"/>
              </a:rPr>
              <a:t>Use” </a:t>
            </a:r>
            <a:r>
              <a:rPr lang="en-US" sz="1200" i="1" spc="5" dirty="0">
                <a:solidFill>
                  <a:srgbClr val="636363"/>
                </a:solidFill>
                <a:latin typeface="EY interstate light"/>
                <a:cs typeface="Trebuchet MS"/>
              </a:rPr>
              <a:t>Data</a:t>
            </a:r>
            <a:r>
              <a:rPr lang="en-US" sz="1200" i="1" spc="-175" dirty="0">
                <a:solidFill>
                  <a:srgbClr val="636363"/>
                </a:solidFill>
                <a:latin typeface="EY interstate light"/>
                <a:cs typeface="Trebuchet MS"/>
              </a:rPr>
              <a:t> </a:t>
            </a:r>
            <a:r>
              <a:rPr lang="en-US" sz="1200" i="1" spc="15" dirty="0">
                <a:solidFill>
                  <a:srgbClr val="636363"/>
                </a:solidFill>
                <a:latin typeface="EY interstate light"/>
                <a:cs typeface="Trebuchet MS"/>
              </a:rPr>
              <a:t>Ecosystem</a:t>
            </a:r>
            <a:endParaRPr lang="en-US" sz="1200" i="1" dirty="0">
              <a:solidFill>
                <a:prstClr val="black"/>
              </a:solidFill>
              <a:latin typeface="EY interstate light"/>
              <a:cs typeface="Trebuchet MS"/>
            </a:endParaRPr>
          </a:p>
          <a:p>
            <a:pPr marL="12700" marR="5080" eaLnBrk="1" fontAlgn="auto" hangingPunct="1">
              <a:spcBef>
                <a:spcPts val="100"/>
              </a:spcBef>
              <a:spcAft>
                <a:spcPts val="0"/>
              </a:spcAft>
            </a:pPr>
            <a:endParaRPr lang="en-US" sz="1200" dirty="0">
              <a:solidFill>
                <a:prstClr val="black"/>
              </a:solidFill>
              <a:latin typeface="EY interstate light"/>
              <a:ea typeface="+mn-ea"/>
              <a:cs typeface="Trebuchet MS"/>
            </a:endParaRPr>
          </a:p>
        </p:txBody>
      </p:sp>
      <p:sp>
        <p:nvSpPr>
          <p:cNvPr id="12" name="object 11">
            <a:extLst>
              <a:ext uri="{FF2B5EF4-FFF2-40B4-BE49-F238E27FC236}">
                <a16:creationId xmlns:a16="http://schemas.microsoft.com/office/drawing/2014/main" id="{FFC54965-CB8C-4336-8F20-0A3C7DE0D5FD}"/>
              </a:ext>
            </a:extLst>
          </p:cNvPr>
          <p:cNvSpPr txBox="1"/>
          <p:nvPr/>
        </p:nvSpPr>
        <p:spPr>
          <a:xfrm>
            <a:off x="8465311" y="3919728"/>
            <a:ext cx="3200400" cy="1097280"/>
          </a:xfrm>
          <a:prstGeom prst="rect">
            <a:avLst/>
          </a:prstGeom>
        </p:spPr>
        <p:txBody>
          <a:bodyPr vert="horz" wrap="square" lIns="0" tIns="12700" rIns="0" bIns="0" rtlCol="0">
            <a:spAutoFit/>
          </a:bodyPr>
          <a:lstStyle/>
          <a:p>
            <a:pPr marL="12700" marR="5080" eaLnBrk="1" fontAlgn="auto" hangingPunct="1">
              <a:spcBef>
                <a:spcPts val="100"/>
              </a:spcBef>
              <a:spcAft>
                <a:spcPts val="0"/>
              </a:spcAft>
            </a:pPr>
            <a:r>
              <a:rPr lang="en-US" sz="1200" spc="50" dirty="0">
                <a:solidFill>
                  <a:srgbClr val="636363"/>
                </a:solidFill>
                <a:latin typeface="EY interstate light"/>
                <a:ea typeface="+mn-ea"/>
                <a:cs typeface="Trebuchet MS"/>
              </a:rPr>
              <a:t>Business </a:t>
            </a:r>
            <a:r>
              <a:rPr lang="en-US" sz="1200" spc="-10" dirty="0">
                <a:solidFill>
                  <a:srgbClr val="636363"/>
                </a:solidFill>
                <a:latin typeface="EY interstate light"/>
                <a:ea typeface="+mn-ea"/>
                <a:cs typeface="Trebuchet MS"/>
              </a:rPr>
              <a:t>Intelligence: Reporting, </a:t>
            </a:r>
            <a:r>
              <a:rPr lang="en-US" sz="1200" spc="-15" dirty="0">
                <a:solidFill>
                  <a:srgbClr val="636363"/>
                </a:solidFill>
                <a:latin typeface="EY interstate light"/>
                <a:ea typeface="+mn-ea"/>
                <a:cs typeface="Trebuchet MS"/>
              </a:rPr>
              <a:t>historical  </a:t>
            </a:r>
            <a:r>
              <a:rPr lang="en-US" sz="1200" spc="-25" dirty="0">
                <a:solidFill>
                  <a:srgbClr val="636363"/>
                </a:solidFill>
                <a:latin typeface="EY interstate light"/>
                <a:ea typeface="+mn-ea"/>
                <a:cs typeface="Trebuchet MS"/>
              </a:rPr>
              <a:t>trend </a:t>
            </a:r>
            <a:r>
              <a:rPr lang="en-US" sz="1200" spc="5" dirty="0">
                <a:solidFill>
                  <a:srgbClr val="636363"/>
                </a:solidFill>
                <a:latin typeface="EY interstate light"/>
                <a:ea typeface="+mn-ea"/>
                <a:cs typeface="Trebuchet MS"/>
              </a:rPr>
              <a:t>analysis </a:t>
            </a:r>
            <a:r>
              <a:rPr lang="en-US" sz="1200" spc="-35" dirty="0">
                <a:solidFill>
                  <a:srgbClr val="636363"/>
                </a:solidFill>
                <a:latin typeface="EY interstate light"/>
                <a:ea typeface="+mn-ea"/>
                <a:cs typeface="Trebuchet MS"/>
              </a:rPr>
              <a:t>&amp;</a:t>
            </a:r>
            <a:r>
              <a:rPr lang="en-US" sz="1200" spc="-60" dirty="0">
                <a:solidFill>
                  <a:srgbClr val="636363"/>
                </a:solidFill>
                <a:latin typeface="EY interstate light"/>
                <a:ea typeface="+mn-ea"/>
                <a:cs typeface="Trebuchet MS"/>
              </a:rPr>
              <a:t> </a:t>
            </a:r>
            <a:r>
              <a:rPr lang="en-US" sz="1200" spc="-5" dirty="0">
                <a:solidFill>
                  <a:srgbClr val="636363"/>
                </a:solidFill>
                <a:latin typeface="EY interstate light"/>
                <a:ea typeface="+mn-ea"/>
                <a:cs typeface="Trebuchet MS"/>
              </a:rPr>
              <a:t>forecasting</a:t>
            </a:r>
            <a:endParaRPr lang="en-US" sz="1200" dirty="0">
              <a:solidFill>
                <a:prstClr val="black"/>
              </a:solidFill>
              <a:latin typeface="EY interstate light"/>
              <a:ea typeface="+mn-ea"/>
              <a:cs typeface="Trebuchet MS"/>
            </a:endParaRPr>
          </a:p>
          <a:p>
            <a:pPr marL="12700" marR="5080" eaLnBrk="1" fontAlgn="auto" hangingPunct="1">
              <a:spcBef>
                <a:spcPts val="100"/>
              </a:spcBef>
              <a:spcAft>
                <a:spcPts val="0"/>
              </a:spcAft>
            </a:pPr>
            <a:endParaRPr lang="en-US" sz="1200" i="1" spc="10" dirty="0">
              <a:solidFill>
                <a:prstClr val="black"/>
              </a:solidFill>
              <a:latin typeface="EY interstate light"/>
              <a:ea typeface="+mn-ea"/>
              <a:cs typeface="Trebuchet MS"/>
            </a:endParaRPr>
          </a:p>
          <a:p>
            <a:pPr marL="12700" marR="5080" eaLnBrk="1" fontAlgn="auto" hangingPunct="1">
              <a:spcBef>
                <a:spcPts val="100"/>
              </a:spcBef>
              <a:spcAft>
                <a:spcPts val="0"/>
              </a:spcAft>
            </a:pPr>
            <a:r>
              <a:rPr lang="en-US" sz="1200" i="1" spc="10" dirty="0">
                <a:solidFill>
                  <a:srgbClr val="636363"/>
                </a:solidFill>
                <a:latin typeface="EY interstate light"/>
                <a:ea typeface="+mn-ea"/>
                <a:cs typeface="Trebuchet MS"/>
              </a:rPr>
              <a:t>Ad-hoc </a:t>
            </a:r>
            <a:r>
              <a:rPr lang="en-US" sz="1200" i="1" spc="-10" dirty="0">
                <a:solidFill>
                  <a:srgbClr val="636363"/>
                </a:solidFill>
                <a:latin typeface="EY interstate light"/>
                <a:ea typeface="+mn-ea"/>
                <a:cs typeface="Trebuchet MS"/>
              </a:rPr>
              <a:t>queries, </a:t>
            </a:r>
            <a:r>
              <a:rPr lang="en-US" sz="1200" i="1" spc="20" dirty="0">
                <a:solidFill>
                  <a:srgbClr val="636363"/>
                </a:solidFill>
                <a:latin typeface="EY interstate light"/>
                <a:ea typeface="+mn-ea"/>
                <a:cs typeface="Trebuchet MS"/>
              </a:rPr>
              <a:t>Dashboards </a:t>
            </a:r>
            <a:r>
              <a:rPr lang="en-US" sz="1200" i="1" spc="10" dirty="0">
                <a:solidFill>
                  <a:srgbClr val="636363"/>
                </a:solidFill>
                <a:latin typeface="EY interstate light"/>
                <a:ea typeface="+mn-ea"/>
                <a:cs typeface="Trebuchet MS"/>
              </a:rPr>
              <a:t>and</a:t>
            </a:r>
            <a:r>
              <a:rPr lang="en-US" sz="1200" i="1" spc="-145" dirty="0">
                <a:solidFill>
                  <a:srgbClr val="636363"/>
                </a:solidFill>
                <a:latin typeface="EY interstate light"/>
                <a:ea typeface="+mn-ea"/>
                <a:cs typeface="Trebuchet MS"/>
              </a:rPr>
              <a:t> </a:t>
            </a:r>
            <a:r>
              <a:rPr lang="en-US" sz="1200" i="1" spc="15" dirty="0">
                <a:solidFill>
                  <a:srgbClr val="636363"/>
                </a:solidFill>
                <a:latin typeface="EY interstate light"/>
                <a:ea typeface="+mn-ea"/>
                <a:cs typeface="Trebuchet MS"/>
              </a:rPr>
              <a:t>Scorecards</a:t>
            </a:r>
            <a:endParaRPr lang="en-US" sz="1200" i="1" dirty="0">
              <a:solidFill>
                <a:prstClr val="black"/>
              </a:solidFill>
              <a:latin typeface="EY interstate light"/>
              <a:ea typeface="+mn-ea"/>
              <a:cs typeface="Trebuchet MS"/>
            </a:endParaRPr>
          </a:p>
        </p:txBody>
      </p:sp>
      <p:sp>
        <p:nvSpPr>
          <p:cNvPr id="14" name="object 13">
            <a:extLst>
              <a:ext uri="{FF2B5EF4-FFF2-40B4-BE49-F238E27FC236}">
                <a16:creationId xmlns:a16="http://schemas.microsoft.com/office/drawing/2014/main" id="{E35AF540-C161-4B8A-9C3B-7828CEB4EB4C}"/>
              </a:ext>
            </a:extLst>
          </p:cNvPr>
          <p:cNvSpPr/>
          <p:nvPr/>
        </p:nvSpPr>
        <p:spPr>
          <a:xfrm>
            <a:off x="4871212" y="2001517"/>
            <a:ext cx="1164590" cy="1140460"/>
          </a:xfrm>
          <a:custGeom>
            <a:avLst/>
            <a:gdLst/>
            <a:ahLst/>
            <a:cxnLst/>
            <a:rect l="l" t="t" r="r" b="b"/>
            <a:pathLst>
              <a:path w="1164589" h="1140460">
                <a:moveTo>
                  <a:pt x="651256" y="0"/>
                </a:moveTo>
                <a:lnTo>
                  <a:pt x="0" y="1139952"/>
                </a:lnTo>
                <a:lnTo>
                  <a:pt x="1164336" y="1139952"/>
                </a:lnTo>
                <a:lnTo>
                  <a:pt x="651256" y="0"/>
                </a:lnTo>
                <a:close/>
              </a:path>
            </a:pathLst>
          </a:custGeom>
          <a:solidFill>
            <a:srgbClr val="FFE600"/>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5" name="object 14">
            <a:extLst>
              <a:ext uri="{FF2B5EF4-FFF2-40B4-BE49-F238E27FC236}">
                <a16:creationId xmlns:a16="http://schemas.microsoft.com/office/drawing/2014/main" id="{59846E61-E921-4115-82F3-BD7D049CCC49}"/>
              </a:ext>
            </a:extLst>
          </p:cNvPr>
          <p:cNvSpPr/>
          <p:nvPr/>
        </p:nvSpPr>
        <p:spPr>
          <a:xfrm>
            <a:off x="4871212" y="2001517"/>
            <a:ext cx="1164590" cy="1140460"/>
          </a:xfrm>
          <a:custGeom>
            <a:avLst/>
            <a:gdLst/>
            <a:ahLst/>
            <a:cxnLst/>
            <a:rect l="l" t="t" r="r" b="b"/>
            <a:pathLst>
              <a:path w="1164589" h="1140460">
                <a:moveTo>
                  <a:pt x="0" y="1139952"/>
                </a:moveTo>
                <a:lnTo>
                  <a:pt x="651256" y="0"/>
                </a:lnTo>
                <a:lnTo>
                  <a:pt x="1164336" y="1139952"/>
                </a:lnTo>
                <a:lnTo>
                  <a:pt x="0" y="1139952"/>
                </a:lnTo>
                <a:close/>
              </a:path>
            </a:pathLst>
          </a:custGeom>
          <a:ln w="9144">
            <a:solidFill>
              <a:srgbClr val="9A9A9A"/>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6" name="object 15">
            <a:extLst>
              <a:ext uri="{FF2B5EF4-FFF2-40B4-BE49-F238E27FC236}">
                <a16:creationId xmlns:a16="http://schemas.microsoft.com/office/drawing/2014/main" id="{E1DCB9B7-F206-4244-8CD9-5098B6EC8A47}"/>
              </a:ext>
            </a:extLst>
          </p:cNvPr>
          <p:cNvSpPr/>
          <p:nvPr/>
        </p:nvSpPr>
        <p:spPr>
          <a:xfrm>
            <a:off x="5509640" y="2023489"/>
            <a:ext cx="679450" cy="1133475"/>
          </a:xfrm>
          <a:custGeom>
            <a:avLst/>
            <a:gdLst/>
            <a:ahLst/>
            <a:cxnLst/>
            <a:rect l="l" t="t" r="r" b="b"/>
            <a:pathLst>
              <a:path w="679450" h="1133475">
                <a:moveTo>
                  <a:pt x="0" y="0"/>
                </a:moveTo>
                <a:lnTo>
                  <a:pt x="542925" y="1133093"/>
                </a:lnTo>
                <a:lnTo>
                  <a:pt x="679069" y="938021"/>
                </a:lnTo>
                <a:lnTo>
                  <a:pt x="0" y="0"/>
                </a:lnTo>
                <a:close/>
              </a:path>
            </a:pathLst>
          </a:custGeom>
          <a:solidFill>
            <a:srgbClr val="FFE600"/>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7" name="object 16">
            <a:extLst>
              <a:ext uri="{FF2B5EF4-FFF2-40B4-BE49-F238E27FC236}">
                <a16:creationId xmlns:a16="http://schemas.microsoft.com/office/drawing/2014/main" id="{7C9B0EC8-32F3-4846-9397-26E46DA220F1}"/>
              </a:ext>
            </a:extLst>
          </p:cNvPr>
          <p:cNvSpPr/>
          <p:nvPr/>
        </p:nvSpPr>
        <p:spPr>
          <a:xfrm>
            <a:off x="5509640" y="2023489"/>
            <a:ext cx="679450" cy="1133475"/>
          </a:xfrm>
          <a:custGeom>
            <a:avLst/>
            <a:gdLst/>
            <a:ahLst/>
            <a:cxnLst/>
            <a:rect l="l" t="t" r="r" b="b"/>
            <a:pathLst>
              <a:path w="679450" h="1133475">
                <a:moveTo>
                  <a:pt x="542925" y="1133093"/>
                </a:moveTo>
                <a:lnTo>
                  <a:pt x="0" y="0"/>
                </a:lnTo>
                <a:lnTo>
                  <a:pt x="679069" y="938021"/>
                </a:lnTo>
                <a:lnTo>
                  <a:pt x="542925" y="1133093"/>
                </a:lnTo>
                <a:close/>
              </a:path>
            </a:pathLst>
          </a:custGeom>
          <a:ln w="9525">
            <a:solidFill>
              <a:srgbClr val="9A9A9A"/>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8" name="object 17">
            <a:extLst>
              <a:ext uri="{FF2B5EF4-FFF2-40B4-BE49-F238E27FC236}">
                <a16:creationId xmlns:a16="http://schemas.microsoft.com/office/drawing/2014/main" id="{3524759D-F4BF-4402-B341-4ABE8827D60F}"/>
              </a:ext>
            </a:extLst>
          </p:cNvPr>
          <p:cNvSpPr/>
          <p:nvPr/>
        </p:nvSpPr>
        <p:spPr>
          <a:xfrm>
            <a:off x="3124707" y="4369814"/>
            <a:ext cx="4270375" cy="1828800"/>
          </a:xfrm>
          <a:custGeom>
            <a:avLst/>
            <a:gdLst/>
            <a:ahLst/>
            <a:cxnLst/>
            <a:rect l="l" t="t" r="r" b="b"/>
            <a:pathLst>
              <a:path w="4270375" h="1828800">
                <a:moveTo>
                  <a:pt x="1042416" y="0"/>
                </a:moveTo>
                <a:lnTo>
                  <a:pt x="0" y="1818500"/>
                </a:lnTo>
                <a:lnTo>
                  <a:pt x="4270248" y="1828800"/>
                </a:lnTo>
                <a:lnTo>
                  <a:pt x="3445256" y="5207"/>
                </a:lnTo>
                <a:lnTo>
                  <a:pt x="1042416" y="0"/>
                </a:lnTo>
                <a:close/>
              </a:path>
            </a:pathLst>
          </a:custGeom>
          <a:solidFill>
            <a:srgbClr val="B1B1B1"/>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19" name="object 18">
            <a:extLst>
              <a:ext uri="{FF2B5EF4-FFF2-40B4-BE49-F238E27FC236}">
                <a16:creationId xmlns:a16="http://schemas.microsoft.com/office/drawing/2014/main" id="{D3C85EB9-564E-4BB2-87DD-3E8AC2D07B59}"/>
              </a:ext>
            </a:extLst>
          </p:cNvPr>
          <p:cNvSpPr/>
          <p:nvPr/>
        </p:nvSpPr>
        <p:spPr>
          <a:xfrm>
            <a:off x="3124707" y="4369814"/>
            <a:ext cx="4270375" cy="1828800"/>
          </a:xfrm>
          <a:custGeom>
            <a:avLst/>
            <a:gdLst/>
            <a:ahLst/>
            <a:cxnLst/>
            <a:rect l="l" t="t" r="r" b="b"/>
            <a:pathLst>
              <a:path w="4270375" h="1828800">
                <a:moveTo>
                  <a:pt x="0" y="1818500"/>
                </a:moveTo>
                <a:lnTo>
                  <a:pt x="1042416" y="0"/>
                </a:lnTo>
                <a:lnTo>
                  <a:pt x="3445255" y="5207"/>
                </a:lnTo>
                <a:lnTo>
                  <a:pt x="4270248" y="1828800"/>
                </a:lnTo>
                <a:lnTo>
                  <a:pt x="0" y="1818500"/>
                </a:lnTo>
                <a:close/>
              </a:path>
            </a:pathLst>
          </a:custGeom>
          <a:ln w="9144">
            <a:solidFill>
              <a:srgbClr val="9A9A9A"/>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20" name="object 19">
            <a:extLst>
              <a:ext uri="{FF2B5EF4-FFF2-40B4-BE49-F238E27FC236}">
                <a16:creationId xmlns:a16="http://schemas.microsoft.com/office/drawing/2014/main" id="{AB705923-0935-46AA-BCC9-6F868761558A}"/>
              </a:ext>
            </a:extLst>
          </p:cNvPr>
          <p:cNvSpPr/>
          <p:nvPr/>
        </p:nvSpPr>
        <p:spPr>
          <a:xfrm>
            <a:off x="4182364" y="3141470"/>
            <a:ext cx="2395855" cy="1207135"/>
          </a:xfrm>
          <a:custGeom>
            <a:avLst/>
            <a:gdLst/>
            <a:ahLst/>
            <a:cxnLst/>
            <a:rect l="l" t="t" r="r" b="b"/>
            <a:pathLst>
              <a:path w="2395854" h="1207135">
                <a:moveTo>
                  <a:pt x="692150" y="0"/>
                </a:moveTo>
                <a:lnTo>
                  <a:pt x="0" y="1207008"/>
                </a:lnTo>
                <a:lnTo>
                  <a:pt x="2395728" y="1204468"/>
                </a:lnTo>
                <a:lnTo>
                  <a:pt x="1866011" y="5207"/>
                </a:lnTo>
                <a:lnTo>
                  <a:pt x="692150" y="0"/>
                </a:lnTo>
                <a:close/>
              </a:path>
            </a:pathLst>
          </a:custGeom>
          <a:solidFill>
            <a:srgbClr val="D9D9D9"/>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21" name="object 20">
            <a:extLst>
              <a:ext uri="{FF2B5EF4-FFF2-40B4-BE49-F238E27FC236}">
                <a16:creationId xmlns:a16="http://schemas.microsoft.com/office/drawing/2014/main" id="{3F84ECAD-0580-439C-BEE9-3D4115116F09}"/>
              </a:ext>
            </a:extLst>
          </p:cNvPr>
          <p:cNvSpPr/>
          <p:nvPr/>
        </p:nvSpPr>
        <p:spPr>
          <a:xfrm>
            <a:off x="4182364" y="3141470"/>
            <a:ext cx="2395855" cy="1207135"/>
          </a:xfrm>
          <a:custGeom>
            <a:avLst/>
            <a:gdLst/>
            <a:ahLst/>
            <a:cxnLst/>
            <a:rect l="l" t="t" r="r" b="b"/>
            <a:pathLst>
              <a:path w="2395854" h="1207135">
                <a:moveTo>
                  <a:pt x="0" y="1207008"/>
                </a:moveTo>
                <a:lnTo>
                  <a:pt x="692150" y="0"/>
                </a:lnTo>
                <a:lnTo>
                  <a:pt x="1866011" y="5207"/>
                </a:lnTo>
                <a:lnTo>
                  <a:pt x="2395728" y="1204468"/>
                </a:lnTo>
                <a:lnTo>
                  <a:pt x="0" y="1207008"/>
                </a:lnTo>
                <a:close/>
              </a:path>
            </a:pathLst>
          </a:custGeom>
          <a:ln w="9144">
            <a:solidFill>
              <a:srgbClr val="9A9A9A"/>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22" name="object 21">
            <a:extLst>
              <a:ext uri="{FF2B5EF4-FFF2-40B4-BE49-F238E27FC236}">
                <a16:creationId xmlns:a16="http://schemas.microsoft.com/office/drawing/2014/main" id="{EACC0476-4A8A-4FC6-ACA1-63912021A313}"/>
              </a:ext>
            </a:extLst>
          </p:cNvPr>
          <p:cNvSpPr/>
          <p:nvPr/>
        </p:nvSpPr>
        <p:spPr>
          <a:xfrm>
            <a:off x="6559295" y="3943983"/>
            <a:ext cx="1198880" cy="2235835"/>
          </a:xfrm>
          <a:custGeom>
            <a:avLst/>
            <a:gdLst/>
            <a:ahLst/>
            <a:cxnLst/>
            <a:rect l="l" t="t" r="r" b="b"/>
            <a:pathLst>
              <a:path w="1198879" h="2235835">
                <a:moveTo>
                  <a:pt x="232028" y="0"/>
                </a:moveTo>
                <a:lnTo>
                  <a:pt x="0" y="398525"/>
                </a:lnTo>
                <a:lnTo>
                  <a:pt x="849122" y="2235352"/>
                </a:lnTo>
                <a:lnTo>
                  <a:pt x="1198752" y="1441831"/>
                </a:lnTo>
                <a:lnTo>
                  <a:pt x="232028" y="0"/>
                </a:lnTo>
                <a:close/>
              </a:path>
            </a:pathLst>
          </a:custGeom>
          <a:solidFill>
            <a:srgbClr val="B1B1B1"/>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23" name="object 22">
            <a:extLst>
              <a:ext uri="{FF2B5EF4-FFF2-40B4-BE49-F238E27FC236}">
                <a16:creationId xmlns:a16="http://schemas.microsoft.com/office/drawing/2014/main" id="{CC5AD11C-FEDC-4747-AD3A-7290DB866D76}"/>
              </a:ext>
            </a:extLst>
          </p:cNvPr>
          <p:cNvSpPr/>
          <p:nvPr/>
        </p:nvSpPr>
        <p:spPr>
          <a:xfrm>
            <a:off x="6559295" y="3943983"/>
            <a:ext cx="1198880" cy="2235835"/>
          </a:xfrm>
          <a:custGeom>
            <a:avLst/>
            <a:gdLst/>
            <a:ahLst/>
            <a:cxnLst/>
            <a:rect l="l" t="t" r="r" b="b"/>
            <a:pathLst>
              <a:path w="1198879" h="2235835">
                <a:moveTo>
                  <a:pt x="849122" y="2235352"/>
                </a:moveTo>
                <a:lnTo>
                  <a:pt x="0" y="398525"/>
                </a:lnTo>
                <a:lnTo>
                  <a:pt x="232028" y="0"/>
                </a:lnTo>
                <a:lnTo>
                  <a:pt x="1198752" y="1441831"/>
                </a:lnTo>
                <a:lnTo>
                  <a:pt x="849122" y="2235352"/>
                </a:lnTo>
                <a:close/>
              </a:path>
            </a:pathLst>
          </a:custGeom>
          <a:ln w="9525">
            <a:solidFill>
              <a:srgbClr val="9A9A9A"/>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24" name="object 23">
            <a:extLst>
              <a:ext uri="{FF2B5EF4-FFF2-40B4-BE49-F238E27FC236}">
                <a16:creationId xmlns:a16="http://schemas.microsoft.com/office/drawing/2014/main" id="{8199D8D2-C223-40B9-BAEA-DF6272CACC7D}"/>
              </a:ext>
            </a:extLst>
          </p:cNvPr>
          <p:cNvSpPr/>
          <p:nvPr/>
        </p:nvSpPr>
        <p:spPr>
          <a:xfrm>
            <a:off x="6052312" y="2970527"/>
            <a:ext cx="746760" cy="1364615"/>
          </a:xfrm>
          <a:custGeom>
            <a:avLst/>
            <a:gdLst/>
            <a:ahLst/>
            <a:cxnLst/>
            <a:rect l="l" t="t" r="r" b="b"/>
            <a:pathLst>
              <a:path w="746759" h="1364614">
                <a:moveTo>
                  <a:pt x="116459" y="0"/>
                </a:moveTo>
                <a:lnTo>
                  <a:pt x="0" y="186308"/>
                </a:lnTo>
                <a:lnTo>
                  <a:pt x="518033" y="1364233"/>
                </a:lnTo>
                <a:lnTo>
                  <a:pt x="746252" y="967612"/>
                </a:lnTo>
                <a:lnTo>
                  <a:pt x="116459" y="0"/>
                </a:lnTo>
                <a:close/>
              </a:path>
            </a:pathLst>
          </a:custGeom>
          <a:solidFill>
            <a:srgbClr val="D9D9D9"/>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25" name="object 24">
            <a:extLst>
              <a:ext uri="{FF2B5EF4-FFF2-40B4-BE49-F238E27FC236}">
                <a16:creationId xmlns:a16="http://schemas.microsoft.com/office/drawing/2014/main" id="{3338FA0A-AA99-4EA5-AA50-DEDE9679883A}"/>
              </a:ext>
            </a:extLst>
          </p:cNvPr>
          <p:cNvSpPr/>
          <p:nvPr/>
        </p:nvSpPr>
        <p:spPr>
          <a:xfrm>
            <a:off x="6052312" y="2970527"/>
            <a:ext cx="746760" cy="1364615"/>
          </a:xfrm>
          <a:custGeom>
            <a:avLst/>
            <a:gdLst/>
            <a:ahLst/>
            <a:cxnLst/>
            <a:rect l="l" t="t" r="r" b="b"/>
            <a:pathLst>
              <a:path w="746759" h="1364614">
                <a:moveTo>
                  <a:pt x="518033" y="1364233"/>
                </a:moveTo>
                <a:lnTo>
                  <a:pt x="0" y="186308"/>
                </a:lnTo>
                <a:lnTo>
                  <a:pt x="116459" y="0"/>
                </a:lnTo>
                <a:lnTo>
                  <a:pt x="746252" y="967612"/>
                </a:lnTo>
                <a:lnTo>
                  <a:pt x="518033" y="1364233"/>
                </a:lnTo>
                <a:close/>
              </a:path>
            </a:pathLst>
          </a:custGeom>
          <a:ln w="9525">
            <a:solidFill>
              <a:srgbClr val="9A9A9A"/>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26" name="object 25">
            <a:extLst>
              <a:ext uri="{FF2B5EF4-FFF2-40B4-BE49-F238E27FC236}">
                <a16:creationId xmlns:a16="http://schemas.microsoft.com/office/drawing/2014/main" id="{F91A9395-A543-44BF-8609-1BBC6E0E8C8A}"/>
              </a:ext>
            </a:extLst>
          </p:cNvPr>
          <p:cNvSpPr txBox="1"/>
          <p:nvPr/>
        </p:nvSpPr>
        <p:spPr>
          <a:xfrm>
            <a:off x="5144769" y="2758183"/>
            <a:ext cx="759289" cy="335156"/>
          </a:xfrm>
          <a:prstGeom prst="rect">
            <a:avLst/>
          </a:prstGeom>
        </p:spPr>
        <p:txBody>
          <a:bodyPr vert="horz" wrap="square" lIns="0" tIns="11430" rIns="0" bIns="0" rtlCol="0">
            <a:spAutoFit/>
          </a:bodyPr>
          <a:lstStyle/>
          <a:p>
            <a:pPr marL="73660" marR="5080" indent="-61594" eaLnBrk="1" fontAlgn="auto" hangingPunct="1">
              <a:lnSpc>
                <a:spcPct val="102899"/>
              </a:lnSpc>
              <a:spcBef>
                <a:spcPts val="90"/>
              </a:spcBef>
              <a:spcAft>
                <a:spcPts val="0"/>
              </a:spcAft>
            </a:pPr>
            <a:r>
              <a:rPr lang="en-US" sz="1050" b="1" spc="70" dirty="0">
                <a:solidFill>
                  <a:srgbClr val="636363"/>
                </a:solidFill>
                <a:latin typeface="+mj-lt"/>
                <a:ea typeface="+mn-ea"/>
                <a:cs typeface="Trebuchet MS"/>
              </a:rPr>
              <a:t>E</a:t>
            </a:r>
            <a:r>
              <a:rPr lang="en-US" sz="1050" b="1" spc="-10" dirty="0">
                <a:solidFill>
                  <a:srgbClr val="636363"/>
                </a:solidFill>
                <a:latin typeface="+mj-lt"/>
                <a:ea typeface="+mn-ea"/>
                <a:cs typeface="Trebuchet MS"/>
              </a:rPr>
              <a:t>xe</a:t>
            </a:r>
            <a:r>
              <a:rPr lang="en-US" sz="1050" b="1" spc="10" dirty="0">
                <a:solidFill>
                  <a:srgbClr val="636363"/>
                </a:solidFill>
                <a:latin typeface="+mj-lt"/>
                <a:ea typeface="+mn-ea"/>
                <a:cs typeface="Trebuchet MS"/>
              </a:rPr>
              <a:t>c</a:t>
            </a:r>
            <a:r>
              <a:rPr lang="en-US" sz="1050" b="1" dirty="0">
                <a:solidFill>
                  <a:srgbClr val="636363"/>
                </a:solidFill>
                <a:latin typeface="+mj-lt"/>
                <a:ea typeface="+mn-ea"/>
                <a:cs typeface="Trebuchet MS"/>
              </a:rPr>
              <a:t>u</a:t>
            </a:r>
            <a:r>
              <a:rPr lang="en-US" sz="1050" b="1" spc="10" dirty="0">
                <a:solidFill>
                  <a:srgbClr val="636363"/>
                </a:solidFill>
                <a:latin typeface="+mj-lt"/>
                <a:ea typeface="+mn-ea"/>
                <a:cs typeface="Trebuchet MS"/>
              </a:rPr>
              <a:t>t</a:t>
            </a:r>
            <a:r>
              <a:rPr lang="en-US" sz="1050" b="1" spc="-5" dirty="0">
                <a:solidFill>
                  <a:srgbClr val="636363"/>
                </a:solidFill>
                <a:latin typeface="+mj-lt"/>
                <a:ea typeface="+mn-ea"/>
                <a:cs typeface="Trebuchet MS"/>
              </a:rPr>
              <a:t>i</a:t>
            </a:r>
            <a:r>
              <a:rPr lang="en-US" sz="1050" b="1" spc="-10" dirty="0">
                <a:solidFill>
                  <a:srgbClr val="636363"/>
                </a:solidFill>
                <a:latin typeface="+mj-lt"/>
                <a:ea typeface="+mn-ea"/>
                <a:cs typeface="Trebuchet MS"/>
              </a:rPr>
              <a:t>v</a:t>
            </a:r>
            <a:r>
              <a:rPr lang="en-US" sz="1050" b="1" spc="-5" dirty="0">
                <a:solidFill>
                  <a:srgbClr val="636363"/>
                </a:solidFill>
                <a:latin typeface="+mj-lt"/>
                <a:ea typeface="+mn-ea"/>
                <a:cs typeface="Trebuchet MS"/>
              </a:rPr>
              <a:t>e  </a:t>
            </a:r>
            <a:r>
              <a:rPr lang="en-US" sz="1050" b="1" spc="30" dirty="0">
                <a:solidFill>
                  <a:srgbClr val="636363"/>
                </a:solidFill>
                <a:latin typeface="+mj-lt"/>
                <a:ea typeface="+mn-ea"/>
                <a:cs typeface="Trebuchet MS"/>
              </a:rPr>
              <a:t>Insights</a:t>
            </a:r>
            <a:endParaRPr lang="en-US" sz="1050" dirty="0">
              <a:solidFill>
                <a:prstClr val="black"/>
              </a:solidFill>
              <a:latin typeface="+mj-lt"/>
              <a:ea typeface="+mn-ea"/>
              <a:cs typeface="Trebuchet MS"/>
            </a:endParaRPr>
          </a:p>
        </p:txBody>
      </p:sp>
      <p:sp>
        <p:nvSpPr>
          <p:cNvPr id="27" name="object 26">
            <a:extLst>
              <a:ext uri="{FF2B5EF4-FFF2-40B4-BE49-F238E27FC236}">
                <a16:creationId xmlns:a16="http://schemas.microsoft.com/office/drawing/2014/main" id="{E3F0ECE5-012F-4F2C-B04F-D3025EE57949}"/>
              </a:ext>
            </a:extLst>
          </p:cNvPr>
          <p:cNvSpPr txBox="1"/>
          <p:nvPr/>
        </p:nvSpPr>
        <p:spPr>
          <a:xfrm>
            <a:off x="4784470" y="5554978"/>
            <a:ext cx="1315720" cy="339837"/>
          </a:xfrm>
          <a:prstGeom prst="rect">
            <a:avLst/>
          </a:prstGeom>
        </p:spPr>
        <p:txBody>
          <a:bodyPr vert="horz" wrap="square" lIns="0" tIns="16510" rIns="0" bIns="0" rtlCol="0">
            <a:spAutoFit/>
          </a:bodyPr>
          <a:lstStyle/>
          <a:p>
            <a:pPr algn="ctr" eaLnBrk="1" fontAlgn="auto" hangingPunct="1">
              <a:spcBef>
                <a:spcPts val="130"/>
              </a:spcBef>
              <a:spcAft>
                <a:spcPts val="0"/>
              </a:spcAft>
            </a:pPr>
            <a:r>
              <a:rPr lang="en-US" sz="1050" b="1" spc="35" dirty="0">
                <a:solidFill>
                  <a:srgbClr val="636363"/>
                </a:solidFill>
                <a:latin typeface="EYInterstate Light" panose="02000506000000020004" pitchFamily="2" charset="0"/>
                <a:ea typeface="+mn-ea"/>
                <a:cs typeface="Trebuchet MS"/>
              </a:rPr>
              <a:t>Data </a:t>
            </a:r>
            <a:r>
              <a:rPr lang="en-US" sz="1050" b="1" spc="25" dirty="0">
                <a:solidFill>
                  <a:srgbClr val="636363"/>
                </a:solidFill>
                <a:latin typeface="EYInterstate Light" panose="02000506000000020004" pitchFamily="2" charset="0"/>
                <a:ea typeface="+mn-ea"/>
                <a:cs typeface="Trebuchet MS"/>
              </a:rPr>
              <a:t>Management</a:t>
            </a:r>
            <a:r>
              <a:rPr lang="en-US" sz="1050" b="1" spc="-165" dirty="0">
                <a:solidFill>
                  <a:srgbClr val="636363"/>
                </a:solidFill>
                <a:latin typeface="EYInterstate Light" panose="02000506000000020004" pitchFamily="2" charset="0"/>
                <a:ea typeface="+mn-ea"/>
                <a:cs typeface="Trebuchet MS"/>
              </a:rPr>
              <a:t> </a:t>
            </a:r>
            <a:r>
              <a:rPr lang="en-US" sz="1050" b="1" spc="-10" dirty="0">
                <a:solidFill>
                  <a:srgbClr val="636363"/>
                </a:solidFill>
                <a:latin typeface="EYInterstate Light" panose="02000506000000020004" pitchFamily="2" charset="0"/>
                <a:ea typeface="+mn-ea"/>
                <a:cs typeface="Trebuchet MS"/>
              </a:rPr>
              <a:t>&amp;</a:t>
            </a:r>
            <a:endParaRPr lang="en-US" sz="1050" dirty="0">
              <a:solidFill>
                <a:prstClr val="black"/>
              </a:solidFill>
              <a:latin typeface="EYInterstate Light" panose="02000506000000020004" pitchFamily="2" charset="0"/>
              <a:ea typeface="+mn-ea"/>
              <a:cs typeface="Trebuchet MS"/>
            </a:endParaRPr>
          </a:p>
          <a:p>
            <a:pPr marL="635" algn="ctr" eaLnBrk="1" fontAlgn="auto" hangingPunct="1">
              <a:spcBef>
                <a:spcPts val="35"/>
              </a:spcBef>
              <a:spcAft>
                <a:spcPts val="0"/>
              </a:spcAft>
            </a:pPr>
            <a:r>
              <a:rPr lang="en-US" sz="1050" b="1" spc="10" dirty="0">
                <a:solidFill>
                  <a:srgbClr val="636363"/>
                </a:solidFill>
                <a:latin typeface="EYInterstate Light" panose="02000506000000020004" pitchFamily="2" charset="0"/>
                <a:ea typeface="+mn-ea"/>
                <a:cs typeface="Trebuchet MS"/>
              </a:rPr>
              <a:t>Governance</a:t>
            </a:r>
            <a:endParaRPr lang="en-US" sz="1050" dirty="0">
              <a:solidFill>
                <a:prstClr val="black"/>
              </a:solidFill>
              <a:latin typeface="EYInterstate Light" panose="02000506000000020004" pitchFamily="2" charset="0"/>
              <a:ea typeface="+mn-ea"/>
              <a:cs typeface="Trebuchet MS"/>
            </a:endParaRPr>
          </a:p>
        </p:txBody>
      </p:sp>
      <p:sp>
        <p:nvSpPr>
          <p:cNvPr id="28" name="object 27">
            <a:extLst>
              <a:ext uri="{FF2B5EF4-FFF2-40B4-BE49-F238E27FC236}">
                <a16:creationId xmlns:a16="http://schemas.microsoft.com/office/drawing/2014/main" id="{926996AF-9F78-40BF-B355-52ED091540DE}"/>
              </a:ext>
            </a:extLst>
          </p:cNvPr>
          <p:cNvSpPr/>
          <p:nvPr/>
        </p:nvSpPr>
        <p:spPr>
          <a:xfrm>
            <a:off x="4238752" y="4761482"/>
            <a:ext cx="323088" cy="359663"/>
          </a:xfrm>
          <a:prstGeom prst="rect">
            <a:avLst/>
          </a:prstGeom>
          <a:blipFill>
            <a:blip r:embed="rId8"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29" name="object 28">
            <a:extLst>
              <a:ext uri="{FF2B5EF4-FFF2-40B4-BE49-F238E27FC236}">
                <a16:creationId xmlns:a16="http://schemas.microsoft.com/office/drawing/2014/main" id="{68452E95-FC82-44B3-9C63-29FF5474CA83}"/>
              </a:ext>
            </a:extLst>
          </p:cNvPr>
          <p:cNvSpPr/>
          <p:nvPr/>
        </p:nvSpPr>
        <p:spPr>
          <a:xfrm>
            <a:off x="4446015" y="5563105"/>
            <a:ext cx="204215" cy="228600"/>
          </a:xfrm>
          <a:prstGeom prst="rect">
            <a:avLst/>
          </a:prstGeom>
          <a:blipFill>
            <a:blip r:embed="rId9"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30" name="object 29">
            <a:extLst>
              <a:ext uri="{FF2B5EF4-FFF2-40B4-BE49-F238E27FC236}">
                <a16:creationId xmlns:a16="http://schemas.microsoft.com/office/drawing/2014/main" id="{F60CCA9E-8582-4F80-BDD1-A0FE0F56D14A}"/>
              </a:ext>
            </a:extLst>
          </p:cNvPr>
          <p:cNvSpPr/>
          <p:nvPr/>
        </p:nvSpPr>
        <p:spPr>
          <a:xfrm>
            <a:off x="4418583" y="5840473"/>
            <a:ext cx="204215" cy="228599"/>
          </a:xfrm>
          <a:prstGeom prst="rect">
            <a:avLst/>
          </a:prstGeom>
          <a:blipFill>
            <a:blip r:embed="rId10"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31" name="object 30">
            <a:extLst>
              <a:ext uri="{FF2B5EF4-FFF2-40B4-BE49-F238E27FC236}">
                <a16:creationId xmlns:a16="http://schemas.microsoft.com/office/drawing/2014/main" id="{39804B36-2EB0-4EFA-A884-3AF3D2F4436D}"/>
              </a:ext>
            </a:extLst>
          </p:cNvPr>
          <p:cNvSpPr/>
          <p:nvPr/>
        </p:nvSpPr>
        <p:spPr>
          <a:xfrm>
            <a:off x="4153408" y="5825234"/>
            <a:ext cx="237744" cy="265175"/>
          </a:xfrm>
          <a:prstGeom prst="rect">
            <a:avLst/>
          </a:prstGeom>
          <a:blipFill>
            <a:blip r:embed="rId11"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32" name="object 31">
            <a:extLst>
              <a:ext uri="{FF2B5EF4-FFF2-40B4-BE49-F238E27FC236}">
                <a16:creationId xmlns:a16="http://schemas.microsoft.com/office/drawing/2014/main" id="{71C908AD-C545-4523-A215-A0AA72019C13}"/>
              </a:ext>
            </a:extLst>
          </p:cNvPr>
          <p:cNvSpPr/>
          <p:nvPr/>
        </p:nvSpPr>
        <p:spPr>
          <a:xfrm>
            <a:off x="4168647" y="5560058"/>
            <a:ext cx="210312" cy="231647"/>
          </a:xfrm>
          <a:prstGeom prst="rect">
            <a:avLst/>
          </a:prstGeom>
          <a:blipFill>
            <a:blip r:embed="rId12"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33" name="object 32">
            <a:extLst>
              <a:ext uri="{FF2B5EF4-FFF2-40B4-BE49-F238E27FC236}">
                <a16:creationId xmlns:a16="http://schemas.microsoft.com/office/drawing/2014/main" id="{A0EFA9B0-9228-499F-AF9D-2925AC6A3FEB}"/>
              </a:ext>
            </a:extLst>
          </p:cNvPr>
          <p:cNvSpPr txBox="1"/>
          <p:nvPr/>
        </p:nvSpPr>
        <p:spPr>
          <a:xfrm>
            <a:off x="3756659" y="5707682"/>
            <a:ext cx="328295" cy="197490"/>
          </a:xfrm>
          <a:prstGeom prst="rect">
            <a:avLst/>
          </a:prstGeom>
        </p:spPr>
        <p:txBody>
          <a:bodyPr vert="horz" wrap="square" lIns="0" tIns="12700" rIns="0" bIns="0" rtlCol="0">
            <a:spAutoFit/>
          </a:bodyPr>
          <a:lstStyle/>
          <a:p>
            <a:pPr marL="12700" marR="5080" indent="66675" eaLnBrk="1" fontAlgn="auto" hangingPunct="1">
              <a:spcBef>
                <a:spcPts val="100"/>
              </a:spcBef>
              <a:spcAft>
                <a:spcPts val="0"/>
              </a:spcAft>
            </a:pPr>
            <a:r>
              <a:rPr lang="en-US" sz="600" b="1" spc="10" dirty="0">
                <a:solidFill>
                  <a:srgbClr val="636363"/>
                </a:solidFill>
                <a:latin typeface="EYInterstate Light" panose="02000506000000020004" pitchFamily="2" charset="0"/>
                <a:ea typeface="+mn-ea"/>
                <a:cs typeface="Trebuchet MS"/>
              </a:rPr>
              <a:t>Data  </a:t>
            </a:r>
            <a:r>
              <a:rPr lang="en-US" sz="600" b="1" spc="15" dirty="0">
                <a:solidFill>
                  <a:srgbClr val="636363"/>
                </a:solidFill>
                <a:latin typeface="EYInterstate Light" panose="02000506000000020004" pitchFamily="2" charset="0"/>
                <a:ea typeface="+mn-ea"/>
                <a:cs typeface="Trebuchet MS"/>
              </a:rPr>
              <a:t>C</a:t>
            </a:r>
            <a:r>
              <a:rPr lang="en-US" sz="600" b="1" spc="-25" dirty="0">
                <a:solidFill>
                  <a:srgbClr val="636363"/>
                </a:solidFill>
                <a:latin typeface="EYInterstate Light" panose="02000506000000020004" pitchFamily="2" charset="0"/>
                <a:ea typeface="+mn-ea"/>
                <a:cs typeface="Trebuchet MS"/>
              </a:rPr>
              <a:t>r</a:t>
            </a:r>
            <a:r>
              <a:rPr lang="en-US" sz="600" b="1" spc="-15" dirty="0">
                <a:solidFill>
                  <a:srgbClr val="636363"/>
                </a:solidFill>
                <a:latin typeface="EYInterstate Light" panose="02000506000000020004" pitchFamily="2" charset="0"/>
                <a:ea typeface="+mn-ea"/>
                <a:cs typeface="Trebuchet MS"/>
              </a:rPr>
              <a:t>e</a:t>
            </a:r>
            <a:r>
              <a:rPr lang="en-US" sz="600" b="1" spc="15" dirty="0">
                <a:solidFill>
                  <a:srgbClr val="636363"/>
                </a:solidFill>
                <a:latin typeface="EYInterstate Light" panose="02000506000000020004" pitchFamily="2" charset="0"/>
                <a:ea typeface="+mn-ea"/>
                <a:cs typeface="Trebuchet MS"/>
              </a:rPr>
              <a:t>a</a:t>
            </a:r>
            <a:r>
              <a:rPr lang="en-US" sz="600" b="1" spc="-10" dirty="0">
                <a:solidFill>
                  <a:srgbClr val="636363"/>
                </a:solidFill>
                <a:latin typeface="EYInterstate Light" panose="02000506000000020004" pitchFamily="2" charset="0"/>
                <a:ea typeface="+mn-ea"/>
                <a:cs typeface="Trebuchet MS"/>
              </a:rPr>
              <a:t>t</a:t>
            </a:r>
            <a:r>
              <a:rPr lang="en-US" sz="600" b="1" spc="-5" dirty="0">
                <a:solidFill>
                  <a:srgbClr val="636363"/>
                </a:solidFill>
                <a:latin typeface="EYInterstate Light" panose="02000506000000020004" pitchFamily="2" charset="0"/>
                <a:ea typeface="+mn-ea"/>
                <a:cs typeface="Trebuchet MS"/>
              </a:rPr>
              <a:t>i</a:t>
            </a:r>
            <a:r>
              <a:rPr lang="en-US" sz="600" b="1" spc="-10" dirty="0">
                <a:solidFill>
                  <a:srgbClr val="636363"/>
                </a:solidFill>
                <a:latin typeface="EYInterstate Light" panose="02000506000000020004" pitchFamily="2" charset="0"/>
                <a:ea typeface="+mn-ea"/>
                <a:cs typeface="Trebuchet MS"/>
              </a:rPr>
              <a:t>o</a:t>
            </a:r>
            <a:r>
              <a:rPr lang="en-US" sz="600" b="1" spc="-15" dirty="0">
                <a:solidFill>
                  <a:srgbClr val="636363"/>
                </a:solidFill>
                <a:latin typeface="EYInterstate Light" panose="02000506000000020004" pitchFamily="2" charset="0"/>
                <a:ea typeface="+mn-ea"/>
                <a:cs typeface="Trebuchet MS"/>
              </a:rPr>
              <a:t>n</a:t>
            </a:r>
            <a:endParaRPr lang="en-US" sz="600" dirty="0">
              <a:solidFill>
                <a:prstClr val="black"/>
              </a:solidFill>
              <a:latin typeface="EYInterstate Light" panose="02000506000000020004" pitchFamily="2" charset="0"/>
              <a:ea typeface="+mn-ea"/>
              <a:cs typeface="Trebuchet MS"/>
            </a:endParaRPr>
          </a:p>
        </p:txBody>
      </p:sp>
      <p:sp>
        <p:nvSpPr>
          <p:cNvPr id="34" name="object 33">
            <a:extLst>
              <a:ext uri="{FF2B5EF4-FFF2-40B4-BE49-F238E27FC236}">
                <a16:creationId xmlns:a16="http://schemas.microsoft.com/office/drawing/2014/main" id="{A5C90640-D521-4DC4-AF9C-B45C4BEB4759}"/>
              </a:ext>
            </a:extLst>
          </p:cNvPr>
          <p:cNvSpPr/>
          <p:nvPr/>
        </p:nvSpPr>
        <p:spPr>
          <a:xfrm>
            <a:off x="4784344" y="4734049"/>
            <a:ext cx="475488" cy="414528"/>
          </a:xfrm>
          <a:prstGeom prst="rect">
            <a:avLst/>
          </a:prstGeom>
          <a:blipFill>
            <a:blip r:embed="rId13"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35" name="object 34">
            <a:extLst>
              <a:ext uri="{FF2B5EF4-FFF2-40B4-BE49-F238E27FC236}">
                <a16:creationId xmlns:a16="http://schemas.microsoft.com/office/drawing/2014/main" id="{3D3A7385-7BE3-496B-96BD-899CC5419366}"/>
              </a:ext>
            </a:extLst>
          </p:cNvPr>
          <p:cNvSpPr/>
          <p:nvPr/>
        </p:nvSpPr>
        <p:spPr>
          <a:xfrm>
            <a:off x="5546344" y="4700522"/>
            <a:ext cx="548639" cy="448056"/>
          </a:xfrm>
          <a:prstGeom prst="rect">
            <a:avLst/>
          </a:prstGeom>
          <a:blipFill>
            <a:blip r:embed="rId14"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36" name="object 35">
            <a:extLst>
              <a:ext uri="{FF2B5EF4-FFF2-40B4-BE49-F238E27FC236}">
                <a16:creationId xmlns:a16="http://schemas.microsoft.com/office/drawing/2014/main" id="{1A0AFF87-7056-4CCB-B4BC-FCB53C4BC2CF}"/>
              </a:ext>
            </a:extLst>
          </p:cNvPr>
          <p:cNvSpPr txBox="1"/>
          <p:nvPr/>
        </p:nvSpPr>
        <p:spPr>
          <a:xfrm>
            <a:off x="4804537" y="4408676"/>
            <a:ext cx="416559" cy="197490"/>
          </a:xfrm>
          <a:prstGeom prst="rect">
            <a:avLst/>
          </a:prstGeom>
        </p:spPr>
        <p:txBody>
          <a:bodyPr vert="horz" wrap="square" lIns="0" tIns="12700" rIns="0" bIns="0" rtlCol="0">
            <a:spAutoFit/>
          </a:bodyPr>
          <a:lstStyle/>
          <a:p>
            <a:pPr marL="12700" marR="5080" indent="112395" eaLnBrk="1" fontAlgn="auto" hangingPunct="1">
              <a:spcBef>
                <a:spcPts val="100"/>
              </a:spcBef>
              <a:spcAft>
                <a:spcPts val="0"/>
              </a:spcAft>
            </a:pPr>
            <a:r>
              <a:rPr lang="en-US" sz="600" b="1" spc="10" dirty="0">
                <a:solidFill>
                  <a:srgbClr val="636363"/>
                </a:solidFill>
                <a:latin typeface="EYInterstate Light" panose="02000506000000020004" pitchFamily="2" charset="0"/>
                <a:ea typeface="+mn-ea"/>
                <a:cs typeface="Trebuchet MS"/>
              </a:rPr>
              <a:t>Data  </a:t>
            </a:r>
            <a:r>
              <a:rPr lang="en-US" sz="600" b="1" spc="-5" dirty="0">
                <a:solidFill>
                  <a:srgbClr val="636363"/>
                </a:solidFill>
                <a:latin typeface="EYInterstate Light" panose="02000506000000020004" pitchFamily="2" charset="0"/>
                <a:ea typeface="+mn-ea"/>
                <a:cs typeface="Trebuchet MS"/>
              </a:rPr>
              <a:t>I</a:t>
            </a:r>
            <a:r>
              <a:rPr lang="en-US" sz="600" b="1" spc="-25" dirty="0">
                <a:solidFill>
                  <a:srgbClr val="636363"/>
                </a:solidFill>
                <a:latin typeface="EYInterstate Light" panose="02000506000000020004" pitchFamily="2" charset="0"/>
                <a:ea typeface="+mn-ea"/>
                <a:cs typeface="Trebuchet MS"/>
              </a:rPr>
              <a:t>n</a:t>
            </a:r>
            <a:r>
              <a:rPr lang="en-US" sz="600" b="1" spc="-5" dirty="0">
                <a:solidFill>
                  <a:srgbClr val="636363"/>
                </a:solidFill>
                <a:latin typeface="EYInterstate Light" panose="02000506000000020004" pitchFamily="2" charset="0"/>
                <a:ea typeface="+mn-ea"/>
                <a:cs typeface="Trebuchet MS"/>
              </a:rPr>
              <a:t>te</a:t>
            </a:r>
            <a:r>
              <a:rPr lang="en-US" sz="600" b="1" spc="30" dirty="0">
                <a:solidFill>
                  <a:srgbClr val="636363"/>
                </a:solidFill>
                <a:latin typeface="EYInterstate Light" panose="02000506000000020004" pitchFamily="2" charset="0"/>
                <a:ea typeface="+mn-ea"/>
                <a:cs typeface="Trebuchet MS"/>
              </a:rPr>
              <a:t>g</a:t>
            </a:r>
            <a:r>
              <a:rPr lang="en-US" sz="600" b="1" spc="-25" dirty="0">
                <a:solidFill>
                  <a:srgbClr val="636363"/>
                </a:solidFill>
                <a:latin typeface="EYInterstate Light" panose="02000506000000020004" pitchFamily="2" charset="0"/>
                <a:ea typeface="+mn-ea"/>
                <a:cs typeface="Trebuchet MS"/>
              </a:rPr>
              <a:t>r</a:t>
            </a:r>
            <a:r>
              <a:rPr lang="en-US" sz="600" b="1" spc="15" dirty="0">
                <a:solidFill>
                  <a:srgbClr val="636363"/>
                </a:solidFill>
                <a:latin typeface="EYInterstate Light" panose="02000506000000020004" pitchFamily="2" charset="0"/>
                <a:ea typeface="+mn-ea"/>
                <a:cs typeface="Trebuchet MS"/>
              </a:rPr>
              <a:t>a</a:t>
            </a:r>
            <a:r>
              <a:rPr lang="en-US" sz="600" b="1" spc="-10" dirty="0">
                <a:solidFill>
                  <a:srgbClr val="636363"/>
                </a:solidFill>
                <a:latin typeface="EYInterstate Light" panose="02000506000000020004" pitchFamily="2" charset="0"/>
                <a:ea typeface="+mn-ea"/>
                <a:cs typeface="Trebuchet MS"/>
              </a:rPr>
              <a:t>t</a:t>
            </a:r>
            <a:r>
              <a:rPr lang="en-US" sz="600" b="1" spc="-5" dirty="0">
                <a:solidFill>
                  <a:srgbClr val="636363"/>
                </a:solidFill>
                <a:latin typeface="EYInterstate Light" panose="02000506000000020004" pitchFamily="2" charset="0"/>
                <a:ea typeface="+mn-ea"/>
                <a:cs typeface="Trebuchet MS"/>
              </a:rPr>
              <a:t>i</a:t>
            </a:r>
            <a:r>
              <a:rPr lang="en-US" sz="600" b="1" spc="-10" dirty="0">
                <a:solidFill>
                  <a:srgbClr val="636363"/>
                </a:solidFill>
                <a:latin typeface="EYInterstate Light" panose="02000506000000020004" pitchFamily="2" charset="0"/>
                <a:ea typeface="+mn-ea"/>
                <a:cs typeface="Trebuchet MS"/>
              </a:rPr>
              <a:t>o</a:t>
            </a:r>
            <a:r>
              <a:rPr lang="en-US" sz="600" b="1" spc="-15" dirty="0">
                <a:solidFill>
                  <a:srgbClr val="636363"/>
                </a:solidFill>
                <a:latin typeface="EYInterstate Light" panose="02000506000000020004" pitchFamily="2" charset="0"/>
                <a:ea typeface="+mn-ea"/>
                <a:cs typeface="Trebuchet MS"/>
              </a:rPr>
              <a:t>n</a:t>
            </a:r>
            <a:endParaRPr lang="en-US" sz="600" dirty="0">
              <a:solidFill>
                <a:prstClr val="black"/>
              </a:solidFill>
              <a:latin typeface="EYInterstate Light" panose="02000506000000020004" pitchFamily="2" charset="0"/>
              <a:ea typeface="+mn-ea"/>
              <a:cs typeface="Trebuchet MS"/>
            </a:endParaRPr>
          </a:p>
        </p:txBody>
      </p:sp>
      <p:sp>
        <p:nvSpPr>
          <p:cNvPr id="37" name="object 36">
            <a:extLst>
              <a:ext uri="{FF2B5EF4-FFF2-40B4-BE49-F238E27FC236}">
                <a16:creationId xmlns:a16="http://schemas.microsoft.com/office/drawing/2014/main" id="{83BE9225-5450-4DFC-AF31-B2EEE95AD69A}"/>
              </a:ext>
            </a:extLst>
          </p:cNvPr>
          <p:cNvSpPr txBox="1"/>
          <p:nvPr/>
        </p:nvSpPr>
        <p:spPr>
          <a:xfrm>
            <a:off x="5501385" y="4408676"/>
            <a:ext cx="462280" cy="197490"/>
          </a:xfrm>
          <a:prstGeom prst="rect">
            <a:avLst/>
          </a:prstGeom>
        </p:spPr>
        <p:txBody>
          <a:bodyPr vert="horz" wrap="square" lIns="0" tIns="12700" rIns="0" bIns="0" rtlCol="0">
            <a:spAutoFit/>
          </a:bodyPr>
          <a:lstStyle/>
          <a:p>
            <a:pPr marL="12700" marR="5080" indent="133985" eaLnBrk="1" fontAlgn="auto" hangingPunct="1">
              <a:spcBef>
                <a:spcPts val="100"/>
              </a:spcBef>
              <a:spcAft>
                <a:spcPts val="0"/>
              </a:spcAft>
            </a:pPr>
            <a:r>
              <a:rPr lang="en-US" sz="600" b="1" spc="10" dirty="0">
                <a:solidFill>
                  <a:srgbClr val="636363"/>
                </a:solidFill>
                <a:latin typeface="EYInterstate Light" panose="02000506000000020004" pitchFamily="2" charset="0"/>
                <a:ea typeface="+mn-ea"/>
                <a:cs typeface="Trebuchet MS"/>
              </a:rPr>
              <a:t>Data  </a:t>
            </a:r>
            <a:r>
              <a:rPr lang="en-US" sz="600" b="1" spc="25" dirty="0">
                <a:solidFill>
                  <a:srgbClr val="636363"/>
                </a:solidFill>
                <a:latin typeface="EYInterstate Light" panose="02000506000000020004" pitchFamily="2" charset="0"/>
                <a:ea typeface="+mn-ea"/>
                <a:cs typeface="Trebuchet MS"/>
              </a:rPr>
              <a:t>P</a:t>
            </a:r>
            <a:r>
              <a:rPr lang="en-US" sz="600" b="1" spc="-25" dirty="0">
                <a:solidFill>
                  <a:srgbClr val="636363"/>
                </a:solidFill>
                <a:latin typeface="EYInterstate Light" panose="02000506000000020004" pitchFamily="2" charset="0"/>
                <a:ea typeface="+mn-ea"/>
                <a:cs typeface="Trebuchet MS"/>
              </a:rPr>
              <a:t>r</a:t>
            </a:r>
            <a:r>
              <a:rPr lang="en-US" sz="600" b="1" spc="-10" dirty="0">
                <a:solidFill>
                  <a:srgbClr val="636363"/>
                </a:solidFill>
                <a:latin typeface="EYInterstate Light" panose="02000506000000020004" pitchFamily="2" charset="0"/>
                <a:ea typeface="+mn-ea"/>
                <a:cs typeface="Trebuchet MS"/>
              </a:rPr>
              <a:t>o</a:t>
            </a:r>
            <a:r>
              <a:rPr lang="en-US" sz="600" b="1" spc="15" dirty="0">
                <a:solidFill>
                  <a:srgbClr val="636363"/>
                </a:solidFill>
                <a:latin typeface="EYInterstate Light" panose="02000506000000020004" pitchFamily="2" charset="0"/>
                <a:ea typeface="+mn-ea"/>
                <a:cs typeface="Trebuchet MS"/>
              </a:rPr>
              <a:t>v</a:t>
            </a:r>
            <a:r>
              <a:rPr lang="en-US" sz="600" b="1" spc="-15" dirty="0">
                <a:solidFill>
                  <a:srgbClr val="636363"/>
                </a:solidFill>
                <a:latin typeface="EYInterstate Light" panose="02000506000000020004" pitchFamily="2" charset="0"/>
                <a:ea typeface="+mn-ea"/>
                <a:cs typeface="Trebuchet MS"/>
              </a:rPr>
              <a:t>i</a:t>
            </a:r>
            <a:r>
              <a:rPr lang="en-US" sz="600" b="1" spc="25" dirty="0">
                <a:solidFill>
                  <a:srgbClr val="636363"/>
                </a:solidFill>
                <a:latin typeface="EYInterstate Light" panose="02000506000000020004" pitchFamily="2" charset="0"/>
                <a:ea typeface="+mn-ea"/>
                <a:cs typeface="Trebuchet MS"/>
              </a:rPr>
              <a:t>s</a:t>
            </a:r>
            <a:r>
              <a:rPr lang="en-US" sz="600" b="1" spc="-15" dirty="0">
                <a:solidFill>
                  <a:srgbClr val="636363"/>
                </a:solidFill>
                <a:latin typeface="EYInterstate Light" panose="02000506000000020004" pitchFamily="2" charset="0"/>
                <a:ea typeface="+mn-ea"/>
                <a:cs typeface="Trebuchet MS"/>
              </a:rPr>
              <a:t>i</a:t>
            </a:r>
            <a:r>
              <a:rPr lang="en-US" sz="600" b="1" spc="-10" dirty="0">
                <a:solidFill>
                  <a:srgbClr val="636363"/>
                </a:solidFill>
                <a:latin typeface="EYInterstate Light" panose="02000506000000020004" pitchFamily="2" charset="0"/>
                <a:ea typeface="+mn-ea"/>
                <a:cs typeface="Trebuchet MS"/>
              </a:rPr>
              <a:t>o</a:t>
            </a:r>
            <a:r>
              <a:rPr lang="en-US" sz="600" b="1" spc="-25" dirty="0">
                <a:solidFill>
                  <a:srgbClr val="636363"/>
                </a:solidFill>
                <a:latin typeface="EYInterstate Light" panose="02000506000000020004" pitchFamily="2" charset="0"/>
                <a:ea typeface="+mn-ea"/>
                <a:cs typeface="Trebuchet MS"/>
              </a:rPr>
              <a:t>n</a:t>
            </a:r>
            <a:r>
              <a:rPr lang="en-US" sz="600" b="1" spc="-15" dirty="0">
                <a:solidFill>
                  <a:srgbClr val="636363"/>
                </a:solidFill>
                <a:latin typeface="EYInterstate Light" panose="02000506000000020004" pitchFamily="2" charset="0"/>
                <a:ea typeface="+mn-ea"/>
                <a:cs typeface="Trebuchet MS"/>
              </a:rPr>
              <a:t>i</a:t>
            </a:r>
            <a:r>
              <a:rPr lang="en-US" sz="600" b="1" spc="-25" dirty="0">
                <a:solidFill>
                  <a:srgbClr val="636363"/>
                </a:solidFill>
                <a:latin typeface="EYInterstate Light" panose="02000506000000020004" pitchFamily="2" charset="0"/>
                <a:ea typeface="+mn-ea"/>
                <a:cs typeface="Trebuchet MS"/>
              </a:rPr>
              <a:t>n</a:t>
            </a:r>
            <a:r>
              <a:rPr lang="en-US" sz="600" b="1" spc="40" dirty="0">
                <a:solidFill>
                  <a:srgbClr val="636363"/>
                </a:solidFill>
                <a:latin typeface="EYInterstate Light" panose="02000506000000020004" pitchFamily="2" charset="0"/>
                <a:ea typeface="+mn-ea"/>
                <a:cs typeface="Trebuchet MS"/>
              </a:rPr>
              <a:t>g</a:t>
            </a:r>
            <a:endParaRPr lang="en-US" sz="600" dirty="0">
              <a:solidFill>
                <a:prstClr val="black"/>
              </a:solidFill>
              <a:latin typeface="EYInterstate Light" panose="02000506000000020004" pitchFamily="2" charset="0"/>
              <a:ea typeface="+mn-ea"/>
              <a:cs typeface="Trebuchet MS"/>
            </a:endParaRPr>
          </a:p>
        </p:txBody>
      </p:sp>
      <p:sp>
        <p:nvSpPr>
          <p:cNvPr id="38" name="object 37">
            <a:extLst>
              <a:ext uri="{FF2B5EF4-FFF2-40B4-BE49-F238E27FC236}">
                <a16:creationId xmlns:a16="http://schemas.microsoft.com/office/drawing/2014/main" id="{A5576216-7969-4B8A-8B6E-1585E1B6F188}"/>
              </a:ext>
            </a:extLst>
          </p:cNvPr>
          <p:cNvSpPr/>
          <p:nvPr/>
        </p:nvSpPr>
        <p:spPr>
          <a:xfrm>
            <a:off x="5747512" y="3271010"/>
            <a:ext cx="356615" cy="399288"/>
          </a:xfrm>
          <a:prstGeom prst="rect">
            <a:avLst/>
          </a:prstGeom>
          <a:blipFill>
            <a:blip r:embed="rId15"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39" name="object 38">
            <a:extLst>
              <a:ext uri="{FF2B5EF4-FFF2-40B4-BE49-F238E27FC236}">
                <a16:creationId xmlns:a16="http://schemas.microsoft.com/office/drawing/2014/main" id="{A67AEAED-78D1-467C-ADB2-4C55ABCEE45A}"/>
              </a:ext>
            </a:extLst>
          </p:cNvPr>
          <p:cNvSpPr/>
          <p:nvPr/>
        </p:nvSpPr>
        <p:spPr>
          <a:xfrm>
            <a:off x="5342127" y="2484626"/>
            <a:ext cx="350520" cy="316991"/>
          </a:xfrm>
          <a:prstGeom prst="rect">
            <a:avLst/>
          </a:prstGeom>
          <a:blipFill>
            <a:blip r:embed="rId16"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40" name="object 39">
            <a:extLst>
              <a:ext uri="{FF2B5EF4-FFF2-40B4-BE49-F238E27FC236}">
                <a16:creationId xmlns:a16="http://schemas.microsoft.com/office/drawing/2014/main" id="{288057F9-3BF3-4CC0-BA71-27BF0DE1A982}"/>
              </a:ext>
            </a:extLst>
          </p:cNvPr>
          <p:cNvSpPr txBox="1"/>
          <p:nvPr/>
        </p:nvSpPr>
        <p:spPr>
          <a:xfrm>
            <a:off x="4223258" y="4402834"/>
            <a:ext cx="305435" cy="289823"/>
          </a:xfrm>
          <a:prstGeom prst="rect">
            <a:avLst/>
          </a:prstGeom>
        </p:spPr>
        <p:txBody>
          <a:bodyPr vert="horz" wrap="square" lIns="0" tIns="12700" rIns="0" bIns="0" rtlCol="0">
            <a:spAutoFit/>
          </a:bodyPr>
          <a:lstStyle/>
          <a:p>
            <a:pPr marL="12700" marR="5080" indent="57785" eaLnBrk="1" fontAlgn="auto" hangingPunct="1">
              <a:spcBef>
                <a:spcPts val="100"/>
              </a:spcBef>
              <a:spcAft>
                <a:spcPts val="0"/>
              </a:spcAft>
            </a:pPr>
            <a:r>
              <a:rPr lang="en-US" sz="600" b="1" spc="10" dirty="0">
                <a:solidFill>
                  <a:srgbClr val="636363"/>
                </a:solidFill>
                <a:latin typeface="EYInterstate Light" panose="02000506000000020004" pitchFamily="2" charset="0"/>
                <a:ea typeface="+mn-ea"/>
                <a:cs typeface="Trebuchet MS"/>
              </a:rPr>
              <a:t>Data  </a:t>
            </a:r>
            <a:r>
              <a:rPr lang="en-US" sz="600" b="1" spc="70" dirty="0">
                <a:solidFill>
                  <a:srgbClr val="636363"/>
                </a:solidFill>
                <a:latin typeface="EYInterstate Light" panose="02000506000000020004" pitchFamily="2" charset="0"/>
                <a:ea typeface="+mn-ea"/>
                <a:cs typeface="Trebuchet MS"/>
              </a:rPr>
              <a:t>S</a:t>
            </a:r>
            <a:r>
              <a:rPr lang="en-US" sz="600" b="1" dirty="0">
                <a:solidFill>
                  <a:srgbClr val="636363"/>
                </a:solidFill>
                <a:latin typeface="EYInterstate Light" panose="02000506000000020004" pitchFamily="2" charset="0"/>
                <a:ea typeface="+mn-ea"/>
                <a:cs typeface="Trebuchet MS"/>
              </a:rPr>
              <a:t>t</a:t>
            </a:r>
            <a:r>
              <a:rPr lang="en-US" sz="600" b="1" spc="-10" dirty="0">
                <a:solidFill>
                  <a:srgbClr val="636363"/>
                </a:solidFill>
                <a:latin typeface="EYInterstate Light" panose="02000506000000020004" pitchFamily="2" charset="0"/>
                <a:ea typeface="+mn-ea"/>
                <a:cs typeface="Trebuchet MS"/>
              </a:rPr>
              <a:t>o</a:t>
            </a:r>
            <a:r>
              <a:rPr lang="en-US" sz="600" b="1" spc="-25" dirty="0">
                <a:solidFill>
                  <a:srgbClr val="636363"/>
                </a:solidFill>
                <a:latin typeface="EYInterstate Light" panose="02000506000000020004" pitchFamily="2" charset="0"/>
                <a:ea typeface="+mn-ea"/>
                <a:cs typeface="Trebuchet MS"/>
              </a:rPr>
              <a:t>r</a:t>
            </a:r>
            <a:r>
              <a:rPr lang="en-US" sz="600" b="1" spc="15" dirty="0">
                <a:solidFill>
                  <a:srgbClr val="636363"/>
                </a:solidFill>
                <a:latin typeface="EYInterstate Light" panose="02000506000000020004" pitchFamily="2" charset="0"/>
                <a:ea typeface="+mn-ea"/>
                <a:cs typeface="Trebuchet MS"/>
              </a:rPr>
              <a:t>a</a:t>
            </a:r>
            <a:r>
              <a:rPr lang="en-US" sz="600" b="1" spc="30" dirty="0">
                <a:solidFill>
                  <a:srgbClr val="636363"/>
                </a:solidFill>
                <a:latin typeface="EYInterstate Light" panose="02000506000000020004" pitchFamily="2" charset="0"/>
                <a:ea typeface="+mn-ea"/>
                <a:cs typeface="Trebuchet MS"/>
              </a:rPr>
              <a:t>g</a:t>
            </a:r>
            <a:r>
              <a:rPr lang="en-US" sz="600" b="1" spc="-15" dirty="0">
                <a:solidFill>
                  <a:srgbClr val="636363"/>
                </a:solidFill>
                <a:latin typeface="EYInterstate Light" panose="02000506000000020004" pitchFamily="2" charset="0"/>
                <a:ea typeface="+mn-ea"/>
                <a:cs typeface="Trebuchet MS"/>
              </a:rPr>
              <a:t>e</a:t>
            </a:r>
            <a:endParaRPr lang="en-US" sz="600" dirty="0">
              <a:solidFill>
                <a:prstClr val="black"/>
              </a:solidFill>
              <a:latin typeface="EYInterstate Light" panose="02000506000000020004" pitchFamily="2" charset="0"/>
              <a:ea typeface="+mn-ea"/>
              <a:cs typeface="Trebuchet MS"/>
            </a:endParaRPr>
          </a:p>
        </p:txBody>
      </p:sp>
      <p:sp>
        <p:nvSpPr>
          <p:cNvPr id="41" name="object 40">
            <a:extLst>
              <a:ext uri="{FF2B5EF4-FFF2-40B4-BE49-F238E27FC236}">
                <a16:creationId xmlns:a16="http://schemas.microsoft.com/office/drawing/2014/main" id="{88D96BBC-4212-4FE6-96B9-12CA90068982}"/>
              </a:ext>
            </a:extLst>
          </p:cNvPr>
          <p:cNvSpPr txBox="1"/>
          <p:nvPr/>
        </p:nvSpPr>
        <p:spPr>
          <a:xfrm>
            <a:off x="6240145" y="4408676"/>
            <a:ext cx="244475" cy="289823"/>
          </a:xfrm>
          <a:prstGeom prst="rect">
            <a:avLst/>
          </a:prstGeom>
        </p:spPr>
        <p:txBody>
          <a:bodyPr vert="horz" wrap="square" lIns="0" tIns="12700" rIns="0" bIns="0" rtlCol="0">
            <a:spAutoFit/>
          </a:bodyPr>
          <a:lstStyle/>
          <a:p>
            <a:pPr marL="12700" marR="5080" indent="27305" eaLnBrk="1" fontAlgn="auto" hangingPunct="1">
              <a:spcBef>
                <a:spcPts val="100"/>
              </a:spcBef>
              <a:spcAft>
                <a:spcPts val="0"/>
              </a:spcAft>
            </a:pPr>
            <a:r>
              <a:rPr lang="en-US" sz="600" b="1" spc="10" dirty="0">
                <a:solidFill>
                  <a:srgbClr val="636363"/>
                </a:solidFill>
                <a:latin typeface="EYInterstate Light" panose="02000506000000020004" pitchFamily="2" charset="0"/>
                <a:ea typeface="+mn-ea"/>
                <a:cs typeface="Trebuchet MS"/>
              </a:rPr>
              <a:t>Data  </a:t>
            </a:r>
            <a:r>
              <a:rPr lang="en-US" sz="600" b="1" spc="20" dirty="0">
                <a:solidFill>
                  <a:srgbClr val="636363"/>
                </a:solidFill>
                <a:latin typeface="EYInterstate Light" panose="02000506000000020004" pitchFamily="2" charset="0"/>
                <a:ea typeface="+mn-ea"/>
                <a:cs typeface="Trebuchet MS"/>
              </a:rPr>
              <a:t>U</a:t>
            </a:r>
            <a:r>
              <a:rPr lang="en-US" sz="600" b="1" spc="25" dirty="0">
                <a:solidFill>
                  <a:srgbClr val="636363"/>
                </a:solidFill>
                <a:latin typeface="EYInterstate Light" panose="02000506000000020004" pitchFamily="2" charset="0"/>
                <a:ea typeface="+mn-ea"/>
                <a:cs typeface="Trebuchet MS"/>
              </a:rPr>
              <a:t>s</a:t>
            </a:r>
            <a:r>
              <a:rPr lang="en-US" sz="600" b="1" spc="15" dirty="0">
                <a:solidFill>
                  <a:srgbClr val="636363"/>
                </a:solidFill>
                <a:latin typeface="EYInterstate Light" panose="02000506000000020004" pitchFamily="2" charset="0"/>
                <a:ea typeface="+mn-ea"/>
                <a:cs typeface="Trebuchet MS"/>
              </a:rPr>
              <a:t>a</a:t>
            </a:r>
            <a:r>
              <a:rPr lang="en-US" sz="600" b="1" spc="30" dirty="0">
                <a:solidFill>
                  <a:srgbClr val="636363"/>
                </a:solidFill>
                <a:latin typeface="EYInterstate Light" panose="02000506000000020004" pitchFamily="2" charset="0"/>
                <a:ea typeface="+mn-ea"/>
                <a:cs typeface="Trebuchet MS"/>
              </a:rPr>
              <a:t>g</a:t>
            </a:r>
            <a:r>
              <a:rPr lang="en-US" sz="600" b="1" spc="-15" dirty="0">
                <a:solidFill>
                  <a:srgbClr val="636363"/>
                </a:solidFill>
                <a:latin typeface="EYInterstate Light" panose="02000506000000020004" pitchFamily="2" charset="0"/>
                <a:ea typeface="+mn-ea"/>
                <a:cs typeface="Trebuchet MS"/>
              </a:rPr>
              <a:t>e</a:t>
            </a:r>
            <a:endParaRPr lang="en-US" sz="600" dirty="0">
              <a:solidFill>
                <a:prstClr val="black"/>
              </a:solidFill>
              <a:latin typeface="EYInterstate Light" panose="02000506000000020004" pitchFamily="2" charset="0"/>
              <a:ea typeface="+mn-ea"/>
              <a:cs typeface="Trebuchet MS"/>
            </a:endParaRPr>
          </a:p>
        </p:txBody>
      </p:sp>
      <p:sp>
        <p:nvSpPr>
          <p:cNvPr id="42" name="object 41">
            <a:extLst>
              <a:ext uri="{FF2B5EF4-FFF2-40B4-BE49-F238E27FC236}">
                <a16:creationId xmlns:a16="http://schemas.microsoft.com/office/drawing/2014/main" id="{9299A194-3CD2-419D-ACA1-87251BC8A989}"/>
              </a:ext>
            </a:extLst>
          </p:cNvPr>
          <p:cNvSpPr txBox="1"/>
          <p:nvPr/>
        </p:nvSpPr>
        <p:spPr>
          <a:xfrm>
            <a:off x="6610477" y="5749745"/>
            <a:ext cx="427990" cy="197490"/>
          </a:xfrm>
          <a:prstGeom prst="rect">
            <a:avLst/>
          </a:prstGeom>
        </p:spPr>
        <p:txBody>
          <a:bodyPr vert="horz" wrap="square" lIns="0" tIns="12700" rIns="0" bIns="0" rtlCol="0">
            <a:spAutoFit/>
          </a:bodyPr>
          <a:lstStyle/>
          <a:p>
            <a:pPr marL="12700" marR="5080" indent="115570" eaLnBrk="1" fontAlgn="auto" hangingPunct="1">
              <a:spcBef>
                <a:spcPts val="100"/>
              </a:spcBef>
              <a:spcAft>
                <a:spcPts val="0"/>
              </a:spcAft>
            </a:pPr>
            <a:r>
              <a:rPr lang="en-US" sz="600" b="1" spc="10" dirty="0">
                <a:solidFill>
                  <a:srgbClr val="636363"/>
                </a:solidFill>
                <a:latin typeface="EYInterstate Light" panose="02000506000000020004" pitchFamily="2" charset="0"/>
                <a:ea typeface="+mn-ea"/>
                <a:cs typeface="Trebuchet MS"/>
              </a:rPr>
              <a:t>Data  </a:t>
            </a:r>
            <a:r>
              <a:rPr lang="en-US" sz="600" b="1" spc="35" dirty="0">
                <a:solidFill>
                  <a:srgbClr val="636363"/>
                </a:solidFill>
                <a:latin typeface="EYInterstate Light" panose="02000506000000020004" pitchFamily="2" charset="0"/>
                <a:ea typeface="+mn-ea"/>
                <a:cs typeface="Trebuchet MS"/>
              </a:rPr>
              <a:t>R</a:t>
            </a:r>
            <a:r>
              <a:rPr lang="en-US" sz="600" b="1" spc="-15" dirty="0">
                <a:solidFill>
                  <a:srgbClr val="636363"/>
                </a:solidFill>
                <a:latin typeface="EYInterstate Light" panose="02000506000000020004" pitchFamily="2" charset="0"/>
                <a:ea typeface="+mn-ea"/>
                <a:cs typeface="Trebuchet MS"/>
              </a:rPr>
              <a:t>e</a:t>
            </a:r>
            <a:r>
              <a:rPr lang="en-US" sz="600" b="1" spc="-10" dirty="0">
                <a:solidFill>
                  <a:srgbClr val="636363"/>
                </a:solidFill>
                <a:latin typeface="EYInterstate Light" panose="02000506000000020004" pitchFamily="2" charset="0"/>
                <a:ea typeface="+mn-ea"/>
                <a:cs typeface="Trebuchet MS"/>
              </a:rPr>
              <a:t>t</a:t>
            </a:r>
            <a:r>
              <a:rPr lang="en-US" sz="600" b="1" spc="-5" dirty="0">
                <a:solidFill>
                  <a:srgbClr val="636363"/>
                </a:solidFill>
                <a:latin typeface="EYInterstate Light" panose="02000506000000020004" pitchFamily="2" charset="0"/>
                <a:ea typeface="+mn-ea"/>
                <a:cs typeface="Trebuchet MS"/>
              </a:rPr>
              <a:t>i</a:t>
            </a:r>
            <a:r>
              <a:rPr lang="en-US" sz="600" b="1" spc="-25" dirty="0">
                <a:solidFill>
                  <a:srgbClr val="636363"/>
                </a:solidFill>
                <a:latin typeface="EYInterstate Light" panose="02000506000000020004" pitchFamily="2" charset="0"/>
                <a:ea typeface="+mn-ea"/>
                <a:cs typeface="Trebuchet MS"/>
              </a:rPr>
              <a:t>r</a:t>
            </a:r>
            <a:r>
              <a:rPr lang="en-US" sz="600" b="1" spc="-15" dirty="0">
                <a:solidFill>
                  <a:srgbClr val="636363"/>
                </a:solidFill>
                <a:latin typeface="EYInterstate Light" panose="02000506000000020004" pitchFamily="2" charset="0"/>
                <a:ea typeface="+mn-ea"/>
                <a:cs typeface="Trebuchet MS"/>
              </a:rPr>
              <a:t>e</a:t>
            </a:r>
            <a:r>
              <a:rPr lang="en-US" sz="600" b="1" spc="10" dirty="0">
                <a:solidFill>
                  <a:srgbClr val="636363"/>
                </a:solidFill>
                <a:latin typeface="EYInterstate Light" panose="02000506000000020004" pitchFamily="2" charset="0"/>
                <a:ea typeface="+mn-ea"/>
                <a:cs typeface="Trebuchet MS"/>
              </a:rPr>
              <a:t>m</a:t>
            </a:r>
            <a:r>
              <a:rPr lang="en-US" sz="600" b="1" spc="-15" dirty="0">
                <a:solidFill>
                  <a:srgbClr val="636363"/>
                </a:solidFill>
                <a:latin typeface="EYInterstate Light" panose="02000506000000020004" pitchFamily="2" charset="0"/>
                <a:ea typeface="+mn-ea"/>
                <a:cs typeface="Trebuchet MS"/>
              </a:rPr>
              <a:t>e</a:t>
            </a:r>
            <a:r>
              <a:rPr lang="en-US" sz="600" b="1" spc="-25" dirty="0">
                <a:solidFill>
                  <a:srgbClr val="636363"/>
                </a:solidFill>
                <a:latin typeface="EYInterstate Light" panose="02000506000000020004" pitchFamily="2" charset="0"/>
                <a:ea typeface="+mn-ea"/>
                <a:cs typeface="Trebuchet MS"/>
              </a:rPr>
              <a:t>n</a:t>
            </a:r>
            <a:r>
              <a:rPr lang="en-US" sz="600" b="1" dirty="0">
                <a:solidFill>
                  <a:srgbClr val="636363"/>
                </a:solidFill>
                <a:latin typeface="EYInterstate Light" panose="02000506000000020004" pitchFamily="2" charset="0"/>
                <a:ea typeface="+mn-ea"/>
                <a:cs typeface="Trebuchet MS"/>
              </a:rPr>
              <a:t>t</a:t>
            </a:r>
            <a:endParaRPr lang="en-US" sz="600" dirty="0">
              <a:solidFill>
                <a:prstClr val="black"/>
              </a:solidFill>
              <a:latin typeface="EYInterstate Light" panose="02000506000000020004" pitchFamily="2" charset="0"/>
              <a:ea typeface="+mn-ea"/>
              <a:cs typeface="Trebuchet MS"/>
            </a:endParaRPr>
          </a:p>
        </p:txBody>
      </p:sp>
      <p:sp>
        <p:nvSpPr>
          <p:cNvPr id="43" name="object 42">
            <a:extLst>
              <a:ext uri="{FF2B5EF4-FFF2-40B4-BE49-F238E27FC236}">
                <a16:creationId xmlns:a16="http://schemas.microsoft.com/office/drawing/2014/main" id="{F86C3E82-F24E-4857-BA89-3F327F228C9E}"/>
              </a:ext>
            </a:extLst>
          </p:cNvPr>
          <p:cNvSpPr/>
          <p:nvPr/>
        </p:nvSpPr>
        <p:spPr>
          <a:xfrm>
            <a:off x="6244335" y="4676137"/>
            <a:ext cx="335279" cy="481584"/>
          </a:xfrm>
          <a:prstGeom prst="rect">
            <a:avLst/>
          </a:prstGeom>
          <a:blipFill>
            <a:blip r:embed="rId17"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44" name="object 43">
            <a:extLst>
              <a:ext uri="{FF2B5EF4-FFF2-40B4-BE49-F238E27FC236}">
                <a16:creationId xmlns:a16="http://schemas.microsoft.com/office/drawing/2014/main" id="{0B7162FF-E344-4D42-9D77-3A4A5DFDEF3A}"/>
              </a:ext>
            </a:extLst>
          </p:cNvPr>
          <p:cNvSpPr/>
          <p:nvPr/>
        </p:nvSpPr>
        <p:spPr>
          <a:xfrm>
            <a:off x="6204712" y="5651497"/>
            <a:ext cx="393191" cy="438912"/>
          </a:xfrm>
          <a:prstGeom prst="rect">
            <a:avLst/>
          </a:prstGeom>
          <a:blipFill>
            <a:blip r:embed="rId18"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45" name="object 44">
            <a:extLst>
              <a:ext uri="{FF2B5EF4-FFF2-40B4-BE49-F238E27FC236}">
                <a16:creationId xmlns:a16="http://schemas.microsoft.com/office/drawing/2014/main" id="{300BD51F-EC8B-4B10-9CA8-9F898A8FA95D}"/>
              </a:ext>
            </a:extLst>
          </p:cNvPr>
          <p:cNvSpPr/>
          <p:nvPr/>
        </p:nvSpPr>
        <p:spPr>
          <a:xfrm>
            <a:off x="4360799" y="5384797"/>
            <a:ext cx="106425" cy="176072"/>
          </a:xfrm>
          <a:prstGeom prst="rect">
            <a:avLst/>
          </a:prstGeom>
          <a:blipFill>
            <a:blip r:embed="rId19"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46" name="object 45">
            <a:extLst>
              <a:ext uri="{FF2B5EF4-FFF2-40B4-BE49-F238E27FC236}">
                <a16:creationId xmlns:a16="http://schemas.microsoft.com/office/drawing/2014/main" id="{DC747810-5385-4077-A70D-417511130AD0}"/>
              </a:ext>
            </a:extLst>
          </p:cNvPr>
          <p:cNvSpPr/>
          <p:nvPr/>
        </p:nvSpPr>
        <p:spPr>
          <a:xfrm>
            <a:off x="4569333" y="4928360"/>
            <a:ext cx="200532" cy="106299"/>
          </a:xfrm>
          <a:prstGeom prst="rect">
            <a:avLst/>
          </a:prstGeom>
          <a:blipFill>
            <a:blip r:embed="rId20"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47" name="object 46">
            <a:extLst>
              <a:ext uri="{FF2B5EF4-FFF2-40B4-BE49-F238E27FC236}">
                <a16:creationId xmlns:a16="http://schemas.microsoft.com/office/drawing/2014/main" id="{D51913A7-631E-4992-B42E-F982E591CB48}"/>
              </a:ext>
            </a:extLst>
          </p:cNvPr>
          <p:cNvSpPr/>
          <p:nvPr/>
        </p:nvSpPr>
        <p:spPr>
          <a:xfrm>
            <a:off x="5355716" y="4873496"/>
            <a:ext cx="200533" cy="106299"/>
          </a:xfrm>
          <a:prstGeom prst="rect">
            <a:avLst/>
          </a:prstGeom>
          <a:blipFill>
            <a:blip r:embed="rId21"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48" name="object 47">
            <a:extLst>
              <a:ext uri="{FF2B5EF4-FFF2-40B4-BE49-F238E27FC236}">
                <a16:creationId xmlns:a16="http://schemas.microsoft.com/office/drawing/2014/main" id="{27E99536-4954-48F9-BDE5-2563463620E0}"/>
              </a:ext>
            </a:extLst>
          </p:cNvPr>
          <p:cNvSpPr/>
          <p:nvPr/>
        </p:nvSpPr>
        <p:spPr>
          <a:xfrm>
            <a:off x="6084062" y="4877686"/>
            <a:ext cx="141986" cy="106171"/>
          </a:xfrm>
          <a:prstGeom prst="rect">
            <a:avLst/>
          </a:prstGeom>
          <a:blipFill>
            <a:blip r:embed="rId22"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49" name="object 48">
            <a:extLst>
              <a:ext uri="{FF2B5EF4-FFF2-40B4-BE49-F238E27FC236}">
                <a16:creationId xmlns:a16="http://schemas.microsoft.com/office/drawing/2014/main" id="{FD9CD67E-07CD-4547-840F-4F2F87D1B104}"/>
              </a:ext>
            </a:extLst>
          </p:cNvPr>
          <p:cNvSpPr/>
          <p:nvPr/>
        </p:nvSpPr>
        <p:spPr>
          <a:xfrm>
            <a:off x="6294120" y="5320790"/>
            <a:ext cx="106299" cy="245465"/>
          </a:xfrm>
          <a:prstGeom prst="rect">
            <a:avLst/>
          </a:prstGeom>
          <a:blipFill>
            <a:blip r:embed="rId23"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50" name="object 49">
            <a:extLst>
              <a:ext uri="{FF2B5EF4-FFF2-40B4-BE49-F238E27FC236}">
                <a16:creationId xmlns:a16="http://schemas.microsoft.com/office/drawing/2014/main" id="{4A5F421B-B7E7-4978-B007-9D870B7DD7FF}"/>
              </a:ext>
            </a:extLst>
          </p:cNvPr>
          <p:cNvSpPr/>
          <p:nvPr/>
        </p:nvSpPr>
        <p:spPr>
          <a:xfrm>
            <a:off x="5988431" y="4159502"/>
            <a:ext cx="106680" cy="304165"/>
          </a:xfrm>
          <a:custGeom>
            <a:avLst/>
            <a:gdLst/>
            <a:ahLst/>
            <a:cxnLst/>
            <a:rect l="l" t="t" r="r" b="b"/>
            <a:pathLst>
              <a:path w="106679" h="304164">
                <a:moveTo>
                  <a:pt x="60832" y="144398"/>
                </a:moveTo>
                <a:lnTo>
                  <a:pt x="53212" y="144398"/>
                </a:lnTo>
                <a:lnTo>
                  <a:pt x="45592" y="152018"/>
                </a:lnTo>
                <a:lnTo>
                  <a:pt x="45592" y="304164"/>
                </a:lnTo>
                <a:lnTo>
                  <a:pt x="60832" y="304164"/>
                </a:lnTo>
                <a:lnTo>
                  <a:pt x="60832" y="159638"/>
                </a:lnTo>
                <a:lnTo>
                  <a:pt x="53212" y="159638"/>
                </a:lnTo>
                <a:lnTo>
                  <a:pt x="60832" y="152018"/>
                </a:lnTo>
                <a:lnTo>
                  <a:pt x="60832" y="144398"/>
                </a:lnTo>
                <a:close/>
              </a:path>
              <a:path w="106679" h="304164">
                <a:moveTo>
                  <a:pt x="60832" y="152018"/>
                </a:moveTo>
                <a:lnTo>
                  <a:pt x="53212" y="159638"/>
                </a:lnTo>
                <a:lnTo>
                  <a:pt x="57403" y="159638"/>
                </a:lnTo>
                <a:lnTo>
                  <a:pt x="60832" y="156336"/>
                </a:lnTo>
                <a:lnTo>
                  <a:pt x="60832" y="152018"/>
                </a:lnTo>
                <a:close/>
              </a:path>
              <a:path w="106679" h="304164">
                <a:moveTo>
                  <a:pt x="60832" y="156336"/>
                </a:moveTo>
                <a:lnTo>
                  <a:pt x="57403" y="159638"/>
                </a:lnTo>
                <a:lnTo>
                  <a:pt x="60832" y="159638"/>
                </a:lnTo>
                <a:lnTo>
                  <a:pt x="60832" y="156336"/>
                </a:lnTo>
                <a:close/>
              </a:path>
              <a:path w="106679" h="304164">
                <a:moveTo>
                  <a:pt x="53212" y="144398"/>
                </a:moveTo>
                <a:lnTo>
                  <a:pt x="49021" y="144398"/>
                </a:lnTo>
                <a:lnTo>
                  <a:pt x="45592" y="147827"/>
                </a:lnTo>
                <a:lnTo>
                  <a:pt x="45592" y="152018"/>
                </a:lnTo>
                <a:lnTo>
                  <a:pt x="53212" y="144398"/>
                </a:lnTo>
                <a:close/>
              </a:path>
              <a:path w="106679" h="304164">
                <a:moveTo>
                  <a:pt x="53212" y="30241"/>
                </a:moveTo>
                <a:lnTo>
                  <a:pt x="45592" y="43301"/>
                </a:lnTo>
                <a:lnTo>
                  <a:pt x="45592" y="147827"/>
                </a:lnTo>
                <a:lnTo>
                  <a:pt x="49021" y="144398"/>
                </a:lnTo>
                <a:lnTo>
                  <a:pt x="60832" y="144398"/>
                </a:lnTo>
                <a:lnTo>
                  <a:pt x="60832" y="43301"/>
                </a:lnTo>
                <a:lnTo>
                  <a:pt x="53212" y="30241"/>
                </a:lnTo>
                <a:close/>
              </a:path>
              <a:path w="106679" h="304164">
                <a:moveTo>
                  <a:pt x="53212" y="0"/>
                </a:moveTo>
                <a:lnTo>
                  <a:pt x="2158" y="87502"/>
                </a:lnTo>
                <a:lnTo>
                  <a:pt x="0" y="91058"/>
                </a:lnTo>
                <a:lnTo>
                  <a:pt x="1269" y="95757"/>
                </a:lnTo>
                <a:lnTo>
                  <a:pt x="4952" y="97916"/>
                </a:lnTo>
                <a:lnTo>
                  <a:pt x="8508" y="99948"/>
                </a:lnTo>
                <a:lnTo>
                  <a:pt x="13207" y="98805"/>
                </a:lnTo>
                <a:lnTo>
                  <a:pt x="45592" y="43301"/>
                </a:lnTo>
                <a:lnTo>
                  <a:pt x="45592" y="15112"/>
                </a:lnTo>
                <a:lnTo>
                  <a:pt x="62030" y="15112"/>
                </a:lnTo>
                <a:lnTo>
                  <a:pt x="53212" y="0"/>
                </a:lnTo>
                <a:close/>
              </a:path>
              <a:path w="106679" h="304164">
                <a:moveTo>
                  <a:pt x="62030" y="15112"/>
                </a:moveTo>
                <a:lnTo>
                  <a:pt x="60832" y="15112"/>
                </a:lnTo>
                <a:lnTo>
                  <a:pt x="60832" y="43301"/>
                </a:lnTo>
                <a:lnTo>
                  <a:pt x="93217" y="98805"/>
                </a:lnTo>
                <a:lnTo>
                  <a:pt x="97916" y="99948"/>
                </a:lnTo>
                <a:lnTo>
                  <a:pt x="101472" y="97916"/>
                </a:lnTo>
                <a:lnTo>
                  <a:pt x="105155" y="95757"/>
                </a:lnTo>
                <a:lnTo>
                  <a:pt x="106425" y="91058"/>
                </a:lnTo>
                <a:lnTo>
                  <a:pt x="104266" y="87502"/>
                </a:lnTo>
                <a:lnTo>
                  <a:pt x="62030" y="15112"/>
                </a:lnTo>
                <a:close/>
              </a:path>
              <a:path w="106679" h="304164">
                <a:moveTo>
                  <a:pt x="60832" y="15112"/>
                </a:moveTo>
                <a:lnTo>
                  <a:pt x="45592" y="15112"/>
                </a:lnTo>
                <a:lnTo>
                  <a:pt x="45592" y="43301"/>
                </a:lnTo>
                <a:lnTo>
                  <a:pt x="53212" y="30241"/>
                </a:lnTo>
                <a:lnTo>
                  <a:pt x="46608" y="18922"/>
                </a:lnTo>
                <a:lnTo>
                  <a:pt x="60832" y="18922"/>
                </a:lnTo>
                <a:lnTo>
                  <a:pt x="60832" y="15112"/>
                </a:lnTo>
                <a:close/>
              </a:path>
              <a:path w="106679" h="304164">
                <a:moveTo>
                  <a:pt x="60832" y="18922"/>
                </a:moveTo>
                <a:lnTo>
                  <a:pt x="59816" y="18922"/>
                </a:lnTo>
                <a:lnTo>
                  <a:pt x="53212" y="30241"/>
                </a:lnTo>
                <a:lnTo>
                  <a:pt x="60832" y="43301"/>
                </a:lnTo>
                <a:lnTo>
                  <a:pt x="60832" y="18922"/>
                </a:lnTo>
                <a:close/>
              </a:path>
              <a:path w="106679" h="304164">
                <a:moveTo>
                  <a:pt x="59816" y="18922"/>
                </a:moveTo>
                <a:lnTo>
                  <a:pt x="46608" y="18922"/>
                </a:lnTo>
                <a:lnTo>
                  <a:pt x="53212" y="30241"/>
                </a:lnTo>
                <a:lnTo>
                  <a:pt x="59816" y="18922"/>
                </a:lnTo>
                <a:close/>
              </a:path>
            </a:pathLst>
          </a:custGeom>
          <a:solidFill>
            <a:srgbClr val="FFFFFF"/>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52" name="object 51">
            <a:extLst>
              <a:ext uri="{FF2B5EF4-FFF2-40B4-BE49-F238E27FC236}">
                <a16:creationId xmlns:a16="http://schemas.microsoft.com/office/drawing/2014/main" id="{A5712E39-52FD-4946-BAA3-0942A9B45E38}"/>
              </a:ext>
            </a:extLst>
          </p:cNvPr>
          <p:cNvSpPr txBox="1"/>
          <p:nvPr/>
        </p:nvSpPr>
        <p:spPr>
          <a:xfrm>
            <a:off x="3936238" y="4867018"/>
            <a:ext cx="192405" cy="105157"/>
          </a:xfrm>
          <a:prstGeom prst="rect">
            <a:avLst/>
          </a:prstGeom>
        </p:spPr>
        <p:txBody>
          <a:bodyPr vert="horz" wrap="square" lIns="0" tIns="12700" rIns="0" bIns="0" rtlCol="0">
            <a:spAutoFit/>
          </a:bodyPr>
          <a:lstStyle/>
          <a:p>
            <a:pPr marL="12700" eaLnBrk="1" fontAlgn="auto" hangingPunct="1">
              <a:spcBef>
                <a:spcPts val="100"/>
              </a:spcBef>
              <a:spcAft>
                <a:spcPts val="0"/>
              </a:spcAft>
            </a:pPr>
            <a:r>
              <a:rPr lang="en-US" sz="600" b="1" spc="10" dirty="0">
                <a:solidFill>
                  <a:srgbClr val="636363"/>
                </a:solidFill>
                <a:latin typeface="EYInterstate Light" panose="02000506000000020004" pitchFamily="2" charset="0"/>
                <a:ea typeface="+mn-ea"/>
                <a:cs typeface="Trebuchet MS"/>
              </a:rPr>
              <a:t>D</a:t>
            </a:r>
            <a:r>
              <a:rPr lang="en-US" sz="600" b="1" spc="15" dirty="0">
                <a:solidFill>
                  <a:srgbClr val="636363"/>
                </a:solidFill>
                <a:latin typeface="EYInterstate Light" panose="02000506000000020004" pitchFamily="2" charset="0"/>
                <a:ea typeface="+mn-ea"/>
                <a:cs typeface="Trebuchet MS"/>
              </a:rPr>
              <a:t>a</a:t>
            </a:r>
            <a:r>
              <a:rPr lang="en-US" sz="600" b="1" spc="5" dirty="0">
                <a:solidFill>
                  <a:srgbClr val="636363"/>
                </a:solidFill>
                <a:latin typeface="EYInterstate Light" panose="02000506000000020004" pitchFamily="2" charset="0"/>
                <a:ea typeface="+mn-ea"/>
                <a:cs typeface="Trebuchet MS"/>
              </a:rPr>
              <a:t>ta</a:t>
            </a:r>
            <a:endParaRPr lang="en-US" sz="600" dirty="0">
              <a:solidFill>
                <a:prstClr val="black"/>
              </a:solidFill>
              <a:latin typeface="EYInterstate Light" panose="02000506000000020004" pitchFamily="2" charset="0"/>
              <a:ea typeface="+mn-ea"/>
              <a:cs typeface="Trebuchet MS"/>
            </a:endParaRPr>
          </a:p>
        </p:txBody>
      </p:sp>
      <p:sp>
        <p:nvSpPr>
          <p:cNvPr id="53" name="object 52">
            <a:extLst>
              <a:ext uri="{FF2B5EF4-FFF2-40B4-BE49-F238E27FC236}">
                <a16:creationId xmlns:a16="http://schemas.microsoft.com/office/drawing/2014/main" id="{223DA992-B77A-45EA-8498-69C9B6BFD2F0}"/>
              </a:ext>
            </a:extLst>
          </p:cNvPr>
          <p:cNvSpPr txBox="1"/>
          <p:nvPr/>
        </p:nvSpPr>
        <p:spPr>
          <a:xfrm>
            <a:off x="3847845" y="4958459"/>
            <a:ext cx="368935" cy="116839"/>
          </a:xfrm>
          <a:prstGeom prst="rect">
            <a:avLst/>
          </a:prstGeom>
        </p:spPr>
        <p:txBody>
          <a:bodyPr vert="horz" wrap="square" lIns="0" tIns="12700" rIns="0" bIns="0" rtlCol="0">
            <a:spAutoFit/>
          </a:bodyPr>
          <a:lstStyle/>
          <a:p>
            <a:pPr marL="12700" eaLnBrk="1" fontAlgn="auto" hangingPunct="1">
              <a:spcBef>
                <a:spcPts val="100"/>
              </a:spcBef>
              <a:spcAft>
                <a:spcPts val="0"/>
              </a:spcAft>
            </a:pPr>
            <a:r>
              <a:rPr sz="600" b="1" dirty="0">
                <a:solidFill>
                  <a:srgbClr val="636363"/>
                </a:solidFill>
                <a:latin typeface="Trebuchet MS"/>
                <a:ea typeface="+mn-ea"/>
                <a:cs typeface="Trebuchet MS"/>
              </a:rPr>
              <a:t>Security</a:t>
            </a:r>
            <a:r>
              <a:rPr sz="600" b="1" spc="-60" dirty="0">
                <a:solidFill>
                  <a:srgbClr val="636363"/>
                </a:solidFill>
                <a:latin typeface="Trebuchet MS"/>
                <a:ea typeface="+mn-ea"/>
                <a:cs typeface="Trebuchet MS"/>
              </a:rPr>
              <a:t> </a:t>
            </a:r>
            <a:r>
              <a:rPr sz="600" b="1" spc="-35" dirty="0">
                <a:solidFill>
                  <a:srgbClr val="636363"/>
                </a:solidFill>
                <a:latin typeface="Trebuchet MS"/>
                <a:ea typeface="+mn-ea"/>
                <a:cs typeface="Trebuchet MS"/>
              </a:rPr>
              <a:t>,</a:t>
            </a:r>
            <a:endParaRPr sz="600" dirty="0">
              <a:solidFill>
                <a:prstClr val="black"/>
              </a:solidFill>
              <a:latin typeface="Trebuchet MS"/>
              <a:ea typeface="+mn-ea"/>
              <a:cs typeface="Trebuchet MS"/>
            </a:endParaRPr>
          </a:p>
        </p:txBody>
      </p:sp>
      <p:sp>
        <p:nvSpPr>
          <p:cNvPr id="54" name="object 53">
            <a:extLst>
              <a:ext uri="{FF2B5EF4-FFF2-40B4-BE49-F238E27FC236}">
                <a16:creationId xmlns:a16="http://schemas.microsoft.com/office/drawing/2014/main" id="{B4F5B8E8-1F6E-4347-B7E0-6101B6C13D7A}"/>
              </a:ext>
            </a:extLst>
          </p:cNvPr>
          <p:cNvSpPr txBox="1"/>
          <p:nvPr/>
        </p:nvSpPr>
        <p:spPr>
          <a:xfrm>
            <a:off x="3878326" y="5049898"/>
            <a:ext cx="304800" cy="208279"/>
          </a:xfrm>
          <a:prstGeom prst="rect">
            <a:avLst/>
          </a:prstGeom>
        </p:spPr>
        <p:txBody>
          <a:bodyPr vert="horz" wrap="square" lIns="0" tIns="12700" rIns="0" bIns="0" rtlCol="0">
            <a:spAutoFit/>
          </a:bodyPr>
          <a:lstStyle/>
          <a:p>
            <a:pPr marL="79375" marR="5080" indent="-67310" eaLnBrk="1" fontAlgn="auto" hangingPunct="1">
              <a:spcBef>
                <a:spcPts val="100"/>
              </a:spcBef>
              <a:spcAft>
                <a:spcPts val="0"/>
              </a:spcAft>
            </a:pPr>
            <a:r>
              <a:rPr sz="600" b="1" spc="5" dirty="0">
                <a:solidFill>
                  <a:srgbClr val="636363"/>
                </a:solidFill>
                <a:latin typeface="Trebuchet MS"/>
                <a:ea typeface="+mn-ea"/>
                <a:cs typeface="Trebuchet MS"/>
              </a:rPr>
              <a:t>Q</a:t>
            </a:r>
            <a:r>
              <a:rPr sz="600" b="1" spc="-25" dirty="0">
                <a:solidFill>
                  <a:srgbClr val="636363"/>
                </a:solidFill>
                <a:latin typeface="Trebuchet MS"/>
                <a:ea typeface="+mn-ea"/>
                <a:cs typeface="Trebuchet MS"/>
              </a:rPr>
              <a:t>u</a:t>
            </a:r>
            <a:r>
              <a:rPr sz="600" b="1" spc="15" dirty="0">
                <a:solidFill>
                  <a:srgbClr val="636363"/>
                </a:solidFill>
                <a:latin typeface="Trebuchet MS"/>
                <a:ea typeface="+mn-ea"/>
                <a:cs typeface="Trebuchet MS"/>
              </a:rPr>
              <a:t>a</a:t>
            </a:r>
            <a:r>
              <a:rPr sz="600" b="1" spc="-15" dirty="0">
                <a:solidFill>
                  <a:srgbClr val="636363"/>
                </a:solidFill>
                <a:latin typeface="Trebuchet MS"/>
                <a:ea typeface="+mn-ea"/>
                <a:cs typeface="Trebuchet MS"/>
              </a:rPr>
              <a:t>li</a:t>
            </a:r>
            <a:r>
              <a:rPr sz="600" b="1" spc="-5" dirty="0">
                <a:solidFill>
                  <a:srgbClr val="636363"/>
                </a:solidFill>
                <a:latin typeface="Trebuchet MS"/>
                <a:ea typeface="+mn-ea"/>
                <a:cs typeface="Trebuchet MS"/>
              </a:rPr>
              <a:t>ty,  </a:t>
            </a:r>
            <a:r>
              <a:rPr sz="600" b="1" spc="5" dirty="0">
                <a:solidFill>
                  <a:srgbClr val="636363"/>
                </a:solidFill>
                <a:latin typeface="Trebuchet MS"/>
                <a:ea typeface="+mn-ea"/>
                <a:cs typeface="Trebuchet MS"/>
              </a:rPr>
              <a:t>Risk</a:t>
            </a:r>
            <a:endParaRPr sz="600" dirty="0">
              <a:solidFill>
                <a:prstClr val="black"/>
              </a:solidFill>
              <a:latin typeface="Trebuchet MS"/>
              <a:ea typeface="+mn-ea"/>
              <a:cs typeface="Trebuchet MS"/>
            </a:endParaRPr>
          </a:p>
        </p:txBody>
      </p:sp>
      <p:sp>
        <p:nvSpPr>
          <p:cNvPr id="55" name="object 54">
            <a:extLst>
              <a:ext uri="{FF2B5EF4-FFF2-40B4-BE49-F238E27FC236}">
                <a16:creationId xmlns:a16="http://schemas.microsoft.com/office/drawing/2014/main" id="{A48A8C0E-0B66-42D4-BB75-DF659397ED87}"/>
              </a:ext>
            </a:extLst>
          </p:cNvPr>
          <p:cNvSpPr/>
          <p:nvPr/>
        </p:nvSpPr>
        <p:spPr>
          <a:xfrm>
            <a:off x="4200652" y="4653278"/>
            <a:ext cx="2380615" cy="753110"/>
          </a:xfrm>
          <a:custGeom>
            <a:avLst/>
            <a:gdLst/>
            <a:ahLst/>
            <a:cxnLst/>
            <a:rect l="l" t="t" r="r" b="b"/>
            <a:pathLst>
              <a:path w="2380615" h="753110">
                <a:moveTo>
                  <a:pt x="0" y="752855"/>
                </a:moveTo>
                <a:lnTo>
                  <a:pt x="2380488" y="752855"/>
                </a:lnTo>
                <a:lnTo>
                  <a:pt x="2380488" y="0"/>
                </a:lnTo>
                <a:lnTo>
                  <a:pt x="0" y="0"/>
                </a:lnTo>
                <a:lnTo>
                  <a:pt x="0" y="752855"/>
                </a:lnTo>
                <a:close/>
              </a:path>
            </a:pathLst>
          </a:custGeom>
          <a:ln w="9144">
            <a:solidFill>
              <a:srgbClr val="FFFFFF"/>
            </a:solidFill>
            <a:prstDash val="sysDash"/>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56" name="object 55">
            <a:extLst>
              <a:ext uri="{FF2B5EF4-FFF2-40B4-BE49-F238E27FC236}">
                <a16:creationId xmlns:a16="http://schemas.microsoft.com/office/drawing/2014/main" id="{61A54B01-7F0A-4F53-B3B1-0DC2F5D2DA9A}"/>
              </a:ext>
            </a:extLst>
          </p:cNvPr>
          <p:cNvSpPr/>
          <p:nvPr/>
        </p:nvSpPr>
        <p:spPr>
          <a:xfrm>
            <a:off x="5520435" y="4330190"/>
            <a:ext cx="1057910" cy="134620"/>
          </a:xfrm>
          <a:custGeom>
            <a:avLst/>
            <a:gdLst/>
            <a:ahLst/>
            <a:cxnLst/>
            <a:rect l="l" t="t" r="r" b="b"/>
            <a:pathLst>
              <a:path w="1057910" h="134620">
                <a:moveTo>
                  <a:pt x="0" y="134112"/>
                </a:moveTo>
                <a:lnTo>
                  <a:pt x="871" y="107989"/>
                </a:lnTo>
                <a:lnTo>
                  <a:pt x="3254" y="86677"/>
                </a:lnTo>
                <a:lnTo>
                  <a:pt x="6804" y="72318"/>
                </a:lnTo>
                <a:lnTo>
                  <a:pt x="11175" y="67056"/>
                </a:lnTo>
                <a:lnTo>
                  <a:pt x="517651" y="67056"/>
                </a:lnTo>
                <a:lnTo>
                  <a:pt x="522023" y="61793"/>
                </a:lnTo>
                <a:lnTo>
                  <a:pt x="525573" y="47434"/>
                </a:lnTo>
                <a:lnTo>
                  <a:pt x="527956" y="26122"/>
                </a:lnTo>
                <a:lnTo>
                  <a:pt x="528827" y="0"/>
                </a:lnTo>
                <a:lnTo>
                  <a:pt x="529699" y="26122"/>
                </a:lnTo>
                <a:lnTo>
                  <a:pt x="532082" y="47434"/>
                </a:lnTo>
                <a:lnTo>
                  <a:pt x="535632" y="61793"/>
                </a:lnTo>
                <a:lnTo>
                  <a:pt x="540003" y="67056"/>
                </a:lnTo>
                <a:lnTo>
                  <a:pt x="1046479" y="67056"/>
                </a:lnTo>
                <a:lnTo>
                  <a:pt x="1050851" y="72318"/>
                </a:lnTo>
                <a:lnTo>
                  <a:pt x="1054401" y="86677"/>
                </a:lnTo>
                <a:lnTo>
                  <a:pt x="1056784" y="107989"/>
                </a:lnTo>
                <a:lnTo>
                  <a:pt x="1057655" y="134112"/>
                </a:lnTo>
              </a:path>
            </a:pathLst>
          </a:custGeom>
          <a:ln w="9143">
            <a:solidFill>
              <a:srgbClr val="FFFFFF"/>
            </a:solid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57" name="object 56">
            <a:extLst>
              <a:ext uri="{FF2B5EF4-FFF2-40B4-BE49-F238E27FC236}">
                <a16:creationId xmlns:a16="http://schemas.microsoft.com/office/drawing/2014/main" id="{0474C1C8-BF7A-41BD-9B1E-E5F0EF7027B3}"/>
              </a:ext>
            </a:extLst>
          </p:cNvPr>
          <p:cNvSpPr/>
          <p:nvPr/>
        </p:nvSpPr>
        <p:spPr>
          <a:xfrm>
            <a:off x="5945632" y="3926329"/>
            <a:ext cx="219456" cy="246887"/>
          </a:xfrm>
          <a:prstGeom prst="rect">
            <a:avLst/>
          </a:prstGeom>
          <a:blipFill>
            <a:blip r:embed="rId24"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58" name="object 57">
            <a:extLst>
              <a:ext uri="{FF2B5EF4-FFF2-40B4-BE49-F238E27FC236}">
                <a16:creationId xmlns:a16="http://schemas.microsoft.com/office/drawing/2014/main" id="{67243872-2F7D-48AE-B1E2-82C1AF92D241}"/>
              </a:ext>
            </a:extLst>
          </p:cNvPr>
          <p:cNvSpPr/>
          <p:nvPr/>
        </p:nvSpPr>
        <p:spPr>
          <a:xfrm>
            <a:off x="5868796" y="3723637"/>
            <a:ext cx="106299" cy="204088"/>
          </a:xfrm>
          <a:prstGeom prst="rect">
            <a:avLst/>
          </a:prstGeom>
          <a:blipFill>
            <a:blip r:embed="rId25"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59" name="object 58">
            <a:extLst>
              <a:ext uri="{FF2B5EF4-FFF2-40B4-BE49-F238E27FC236}">
                <a16:creationId xmlns:a16="http://schemas.microsoft.com/office/drawing/2014/main" id="{65D37862-FB6E-454D-847E-540F98AC4A04}"/>
              </a:ext>
            </a:extLst>
          </p:cNvPr>
          <p:cNvSpPr txBox="1"/>
          <p:nvPr/>
        </p:nvSpPr>
        <p:spPr>
          <a:xfrm>
            <a:off x="4633849" y="3316857"/>
            <a:ext cx="1276985" cy="861060"/>
          </a:xfrm>
          <a:prstGeom prst="rect">
            <a:avLst/>
          </a:prstGeom>
        </p:spPr>
        <p:txBody>
          <a:bodyPr vert="horz" wrap="square" lIns="0" tIns="12700" rIns="0" bIns="0" rtlCol="0">
            <a:spAutoFit/>
          </a:bodyPr>
          <a:lstStyle/>
          <a:p>
            <a:pPr marL="600710" marR="255270" indent="57785" eaLnBrk="1" fontAlgn="auto" hangingPunct="1">
              <a:spcBef>
                <a:spcPts val="100"/>
              </a:spcBef>
              <a:spcAft>
                <a:spcPts val="0"/>
              </a:spcAft>
            </a:pPr>
            <a:r>
              <a:rPr lang="en-US" sz="600" b="1" dirty="0">
                <a:solidFill>
                  <a:srgbClr val="636363"/>
                </a:solidFill>
                <a:latin typeface="EYInterstate Light" panose="02000506000000020004" pitchFamily="2" charset="0"/>
                <a:ea typeface="+mn-ea"/>
                <a:cs typeface="Trebuchet MS"/>
              </a:rPr>
              <a:t>Reports</a:t>
            </a:r>
            <a:r>
              <a:rPr lang="en-US" sz="600" b="1" spc="-60" dirty="0">
                <a:solidFill>
                  <a:srgbClr val="636363"/>
                </a:solidFill>
                <a:latin typeface="EYInterstate Light" panose="02000506000000020004" pitchFamily="2" charset="0"/>
                <a:ea typeface="+mn-ea"/>
                <a:cs typeface="Trebuchet MS"/>
              </a:rPr>
              <a:t> </a:t>
            </a:r>
            <a:r>
              <a:rPr lang="en-US" sz="600" b="1" spc="-20" dirty="0">
                <a:solidFill>
                  <a:srgbClr val="636363"/>
                </a:solidFill>
                <a:latin typeface="EYInterstate Light" panose="02000506000000020004" pitchFamily="2" charset="0"/>
                <a:ea typeface="+mn-ea"/>
                <a:cs typeface="Trebuchet MS"/>
              </a:rPr>
              <a:t>&amp;  </a:t>
            </a:r>
            <a:r>
              <a:rPr lang="en-US" sz="600" b="1" spc="10" dirty="0">
                <a:solidFill>
                  <a:srgbClr val="636363"/>
                </a:solidFill>
                <a:latin typeface="EYInterstate Light" panose="02000506000000020004" pitchFamily="2" charset="0"/>
                <a:ea typeface="+mn-ea"/>
                <a:cs typeface="Trebuchet MS"/>
              </a:rPr>
              <a:t>D</a:t>
            </a:r>
            <a:r>
              <a:rPr lang="en-US" sz="600" b="1" spc="15" dirty="0">
                <a:solidFill>
                  <a:srgbClr val="636363"/>
                </a:solidFill>
                <a:latin typeface="EYInterstate Light" panose="02000506000000020004" pitchFamily="2" charset="0"/>
                <a:ea typeface="+mn-ea"/>
                <a:cs typeface="Trebuchet MS"/>
              </a:rPr>
              <a:t>a</a:t>
            </a:r>
            <a:r>
              <a:rPr lang="en-US" sz="600" b="1" spc="25" dirty="0">
                <a:solidFill>
                  <a:srgbClr val="636363"/>
                </a:solidFill>
                <a:latin typeface="EYInterstate Light" panose="02000506000000020004" pitchFamily="2" charset="0"/>
                <a:ea typeface="+mn-ea"/>
                <a:cs typeface="Trebuchet MS"/>
              </a:rPr>
              <a:t>s</a:t>
            </a:r>
            <a:r>
              <a:rPr lang="en-US" sz="600" b="1" spc="-25" dirty="0">
                <a:solidFill>
                  <a:srgbClr val="636363"/>
                </a:solidFill>
                <a:latin typeface="EYInterstate Light" panose="02000506000000020004" pitchFamily="2" charset="0"/>
                <a:ea typeface="+mn-ea"/>
                <a:cs typeface="Trebuchet MS"/>
              </a:rPr>
              <a:t>h</a:t>
            </a:r>
            <a:r>
              <a:rPr lang="en-US" sz="600" b="1" spc="-20" dirty="0">
                <a:solidFill>
                  <a:srgbClr val="636363"/>
                </a:solidFill>
                <a:latin typeface="EYInterstate Light" panose="02000506000000020004" pitchFamily="2" charset="0"/>
                <a:ea typeface="+mn-ea"/>
                <a:cs typeface="Trebuchet MS"/>
              </a:rPr>
              <a:t>b</a:t>
            </a:r>
            <a:r>
              <a:rPr lang="en-US" sz="600" b="1" spc="-10" dirty="0">
                <a:solidFill>
                  <a:srgbClr val="636363"/>
                </a:solidFill>
                <a:latin typeface="EYInterstate Light" panose="02000506000000020004" pitchFamily="2" charset="0"/>
                <a:ea typeface="+mn-ea"/>
                <a:cs typeface="Trebuchet MS"/>
              </a:rPr>
              <a:t>o</a:t>
            </a:r>
            <a:r>
              <a:rPr lang="en-US" sz="600" b="1" spc="15" dirty="0">
                <a:solidFill>
                  <a:srgbClr val="636363"/>
                </a:solidFill>
                <a:latin typeface="EYInterstate Light" panose="02000506000000020004" pitchFamily="2" charset="0"/>
                <a:ea typeface="+mn-ea"/>
                <a:cs typeface="Trebuchet MS"/>
              </a:rPr>
              <a:t>a</a:t>
            </a:r>
            <a:r>
              <a:rPr lang="en-US" sz="600" b="1" spc="-25" dirty="0">
                <a:solidFill>
                  <a:srgbClr val="636363"/>
                </a:solidFill>
                <a:latin typeface="EYInterstate Light" panose="02000506000000020004" pitchFamily="2" charset="0"/>
                <a:ea typeface="+mn-ea"/>
                <a:cs typeface="Trebuchet MS"/>
              </a:rPr>
              <a:t>r</a:t>
            </a:r>
            <a:r>
              <a:rPr lang="en-US" sz="600" b="1" spc="-20" dirty="0">
                <a:solidFill>
                  <a:srgbClr val="636363"/>
                </a:solidFill>
                <a:latin typeface="EYInterstate Light" panose="02000506000000020004" pitchFamily="2" charset="0"/>
                <a:ea typeface="+mn-ea"/>
                <a:cs typeface="Trebuchet MS"/>
              </a:rPr>
              <a:t>d</a:t>
            </a:r>
            <a:r>
              <a:rPr lang="en-US" sz="600" b="1" spc="40" dirty="0">
                <a:solidFill>
                  <a:srgbClr val="636363"/>
                </a:solidFill>
                <a:latin typeface="EYInterstate Light" panose="02000506000000020004" pitchFamily="2" charset="0"/>
                <a:ea typeface="+mn-ea"/>
                <a:cs typeface="Trebuchet MS"/>
              </a:rPr>
              <a:t>s</a:t>
            </a:r>
            <a:endParaRPr lang="en-US" sz="600" dirty="0">
              <a:solidFill>
                <a:prstClr val="black"/>
              </a:solidFill>
              <a:latin typeface="EYInterstate Light" panose="02000506000000020004" pitchFamily="2" charset="0"/>
              <a:ea typeface="+mn-ea"/>
              <a:cs typeface="Trebuchet MS"/>
            </a:endParaRPr>
          </a:p>
          <a:p>
            <a:pPr marL="12700" marR="434975" indent="36195" eaLnBrk="1" fontAlgn="auto" hangingPunct="1">
              <a:lnSpc>
                <a:spcPct val="102899"/>
              </a:lnSpc>
              <a:spcBef>
                <a:spcPts val="565"/>
              </a:spcBef>
              <a:spcAft>
                <a:spcPts val="0"/>
              </a:spcAft>
            </a:pPr>
            <a:r>
              <a:rPr lang="en-US" sz="1050" b="1" spc="10" dirty="0">
                <a:solidFill>
                  <a:srgbClr val="636363"/>
                </a:solidFill>
                <a:latin typeface="EYInterstate Light" panose="02000506000000020004" pitchFamily="2" charset="0"/>
                <a:ea typeface="+mn-ea"/>
                <a:cs typeface="Trebuchet MS"/>
              </a:rPr>
              <a:t>Information  c</a:t>
            </a:r>
            <a:r>
              <a:rPr lang="en-US" sz="1050" b="1" spc="25" dirty="0">
                <a:solidFill>
                  <a:srgbClr val="636363"/>
                </a:solidFill>
                <a:latin typeface="EYInterstate Light" panose="02000506000000020004" pitchFamily="2" charset="0"/>
                <a:ea typeface="+mn-ea"/>
                <a:cs typeface="Trebuchet MS"/>
              </a:rPr>
              <a:t>o</a:t>
            </a:r>
            <a:r>
              <a:rPr lang="en-US" sz="1050" b="1" dirty="0">
                <a:solidFill>
                  <a:srgbClr val="636363"/>
                </a:solidFill>
                <a:latin typeface="EYInterstate Light" panose="02000506000000020004" pitchFamily="2" charset="0"/>
                <a:ea typeface="+mn-ea"/>
                <a:cs typeface="Trebuchet MS"/>
              </a:rPr>
              <a:t>n</a:t>
            </a:r>
            <a:r>
              <a:rPr lang="en-US" sz="1050" b="1" spc="70" dirty="0">
                <a:solidFill>
                  <a:srgbClr val="636363"/>
                </a:solidFill>
                <a:latin typeface="EYInterstate Light" panose="02000506000000020004" pitchFamily="2" charset="0"/>
                <a:ea typeface="+mn-ea"/>
                <a:cs typeface="Trebuchet MS"/>
              </a:rPr>
              <a:t>s</a:t>
            </a:r>
            <a:r>
              <a:rPr lang="en-US" sz="1050" b="1" dirty="0">
                <a:solidFill>
                  <a:srgbClr val="636363"/>
                </a:solidFill>
                <a:latin typeface="EYInterstate Light" panose="02000506000000020004" pitchFamily="2" charset="0"/>
                <a:ea typeface="+mn-ea"/>
                <a:cs typeface="Trebuchet MS"/>
              </a:rPr>
              <a:t>u</a:t>
            </a:r>
            <a:r>
              <a:rPr lang="en-US" sz="1050" b="1" spc="30" dirty="0">
                <a:solidFill>
                  <a:srgbClr val="636363"/>
                </a:solidFill>
                <a:latin typeface="EYInterstate Light" panose="02000506000000020004" pitchFamily="2" charset="0"/>
                <a:ea typeface="+mn-ea"/>
                <a:cs typeface="Trebuchet MS"/>
              </a:rPr>
              <a:t>m</a:t>
            </a:r>
            <a:r>
              <a:rPr lang="en-US" sz="1050" b="1" spc="5" dirty="0">
                <a:solidFill>
                  <a:srgbClr val="636363"/>
                </a:solidFill>
                <a:latin typeface="EYInterstate Light" panose="02000506000000020004" pitchFamily="2" charset="0"/>
                <a:ea typeface="+mn-ea"/>
                <a:cs typeface="Trebuchet MS"/>
              </a:rPr>
              <a:t>p</a:t>
            </a:r>
            <a:r>
              <a:rPr lang="en-US" sz="1050" b="1" spc="10" dirty="0">
                <a:solidFill>
                  <a:srgbClr val="636363"/>
                </a:solidFill>
                <a:latin typeface="EYInterstate Light" panose="02000506000000020004" pitchFamily="2" charset="0"/>
                <a:ea typeface="+mn-ea"/>
                <a:cs typeface="Trebuchet MS"/>
              </a:rPr>
              <a:t>t</a:t>
            </a:r>
            <a:r>
              <a:rPr lang="en-US" sz="1050" b="1" spc="-10" dirty="0">
                <a:solidFill>
                  <a:srgbClr val="636363"/>
                </a:solidFill>
                <a:latin typeface="EYInterstate Light" panose="02000506000000020004" pitchFamily="2" charset="0"/>
                <a:ea typeface="+mn-ea"/>
                <a:cs typeface="Trebuchet MS"/>
              </a:rPr>
              <a:t>i</a:t>
            </a:r>
            <a:r>
              <a:rPr lang="en-US" sz="1050" b="1" dirty="0">
                <a:solidFill>
                  <a:srgbClr val="636363"/>
                </a:solidFill>
                <a:latin typeface="EYInterstate Light" panose="02000506000000020004" pitchFamily="2" charset="0"/>
                <a:ea typeface="+mn-ea"/>
                <a:cs typeface="Trebuchet MS"/>
              </a:rPr>
              <a:t>o</a:t>
            </a:r>
            <a:r>
              <a:rPr lang="en-US" sz="1050" b="1" spc="-5" dirty="0">
                <a:solidFill>
                  <a:srgbClr val="636363"/>
                </a:solidFill>
                <a:latin typeface="EYInterstate Light" panose="02000506000000020004" pitchFamily="2" charset="0"/>
                <a:ea typeface="+mn-ea"/>
                <a:cs typeface="Trebuchet MS"/>
              </a:rPr>
              <a:t>n</a:t>
            </a:r>
            <a:endParaRPr lang="en-US" sz="1050" dirty="0">
              <a:solidFill>
                <a:prstClr val="black"/>
              </a:solidFill>
              <a:latin typeface="EYInterstate Light" panose="02000506000000020004" pitchFamily="2" charset="0"/>
              <a:ea typeface="+mn-ea"/>
              <a:cs typeface="Trebuchet MS"/>
            </a:endParaRPr>
          </a:p>
          <a:p>
            <a:pPr marR="5080" algn="r" eaLnBrk="1" fontAlgn="auto" hangingPunct="1">
              <a:spcBef>
                <a:spcPts val="535"/>
              </a:spcBef>
              <a:spcAft>
                <a:spcPts val="0"/>
              </a:spcAft>
            </a:pPr>
            <a:r>
              <a:rPr lang="en-US" sz="600" b="1" spc="45" dirty="0">
                <a:solidFill>
                  <a:srgbClr val="636363"/>
                </a:solidFill>
                <a:latin typeface="EYInterstate Light" panose="02000506000000020004" pitchFamily="2" charset="0"/>
                <a:ea typeface="+mn-ea"/>
                <a:cs typeface="Trebuchet MS"/>
              </a:rPr>
              <a:t>A</a:t>
            </a:r>
            <a:r>
              <a:rPr lang="en-US" sz="600" b="1" spc="-25" dirty="0">
                <a:solidFill>
                  <a:srgbClr val="636363"/>
                </a:solidFill>
                <a:latin typeface="EYInterstate Light" panose="02000506000000020004" pitchFamily="2" charset="0"/>
                <a:ea typeface="+mn-ea"/>
                <a:cs typeface="Trebuchet MS"/>
              </a:rPr>
              <a:t>n</a:t>
            </a:r>
            <a:r>
              <a:rPr lang="en-US" sz="600" b="1" spc="15" dirty="0">
                <a:solidFill>
                  <a:srgbClr val="636363"/>
                </a:solidFill>
                <a:latin typeface="EYInterstate Light" panose="02000506000000020004" pitchFamily="2" charset="0"/>
                <a:ea typeface="+mn-ea"/>
                <a:cs typeface="Trebuchet MS"/>
              </a:rPr>
              <a:t>a</a:t>
            </a:r>
            <a:r>
              <a:rPr lang="en-US" sz="600" b="1" spc="-15" dirty="0">
                <a:solidFill>
                  <a:srgbClr val="636363"/>
                </a:solidFill>
                <a:latin typeface="EYInterstate Light" panose="02000506000000020004" pitchFamily="2" charset="0"/>
                <a:ea typeface="+mn-ea"/>
                <a:cs typeface="Trebuchet MS"/>
              </a:rPr>
              <a:t>l</a:t>
            </a:r>
            <a:r>
              <a:rPr lang="en-US" sz="600" b="1" spc="10" dirty="0">
                <a:solidFill>
                  <a:srgbClr val="636363"/>
                </a:solidFill>
                <a:latin typeface="EYInterstate Light" panose="02000506000000020004" pitchFamily="2" charset="0"/>
                <a:ea typeface="+mn-ea"/>
                <a:cs typeface="Trebuchet MS"/>
              </a:rPr>
              <a:t>y</a:t>
            </a:r>
            <a:r>
              <a:rPr lang="en-US" sz="600" b="1" spc="-10" dirty="0">
                <a:solidFill>
                  <a:srgbClr val="636363"/>
                </a:solidFill>
                <a:latin typeface="EYInterstate Light" panose="02000506000000020004" pitchFamily="2" charset="0"/>
                <a:ea typeface="+mn-ea"/>
                <a:cs typeface="Trebuchet MS"/>
              </a:rPr>
              <a:t>t</a:t>
            </a:r>
            <a:r>
              <a:rPr lang="en-US" sz="600" b="1" spc="-5" dirty="0">
                <a:solidFill>
                  <a:srgbClr val="636363"/>
                </a:solidFill>
                <a:latin typeface="EYInterstate Light" panose="02000506000000020004" pitchFamily="2" charset="0"/>
                <a:ea typeface="+mn-ea"/>
                <a:cs typeface="Trebuchet MS"/>
              </a:rPr>
              <a:t>i</a:t>
            </a:r>
            <a:r>
              <a:rPr lang="en-US" sz="600" b="1" spc="20" dirty="0">
                <a:solidFill>
                  <a:srgbClr val="636363"/>
                </a:solidFill>
                <a:latin typeface="EYInterstate Light" panose="02000506000000020004" pitchFamily="2" charset="0"/>
                <a:ea typeface="+mn-ea"/>
                <a:cs typeface="Trebuchet MS"/>
              </a:rPr>
              <a:t>cs</a:t>
            </a:r>
            <a:endParaRPr lang="en-US" sz="600" dirty="0">
              <a:solidFill>
                <a:prstClr val="black"/>
              </a:solidFill>
              <a:latin typeface="EYInterstate Light" panose="02000506000000020004" pitchFamily="2" charset="0"/>
              <a:ea typeface="+mn-ea"/>
              <a:cs typeface="Trebuchet MS"/>
            </a:endParaRPr>
          </a:p>
          <a:p>
            <a:pPr marR="7620" algn="r" eaLnBrk="1" fontAlgn="auto" hangingPunct="1">
              <a:spcBef>
                <a:spcPts val="0"/>
              </a:spcBef>
              <a:spcAft>
                <a:spcPts val="0"/>
              </a:spcAft>
            </a:pPr>
            <a:r>
              <a:rPr lang="en-US" sz="600" b="1" spc="30" dirty="0">
                <a:solidFill>
                  <a:srgbClr val="636363"/>
                </a:solidFill>
                <a:latin typeface="EYInterstate Light" panose="02000506000000020004" pitchFamily="2" charset="0"/>
                <a:ea typeface="+mn-ea"/>
                <a:cs typeface="Trebuchet MS"/>
              </a:rPr>
              <a:t>P</a:t>
            </a:r>
            <a:r>
              <a:rPr lang="en-US" sz="600" b="1" spc="-15" dirty="0">
                <a:solidFill>
                  <a:srgbClr val="636363"/>
                </a:solidFill>
                <a:latin typeface="EYInterstate Light" panose="02000506000000020004" pitchFamily="2" charset="0"/>
                <a:ea typeface="+mn-ea"/>
                <a:cs typeface="Trebuchet MS"/>
              </a:rPr>
              <a:t>l</a:t>
            </a:r>
            <a:r>
              <a:rPr lang="en-US" sz="600" b="1" spc="10" dirty="0">
                <a:solidFill>
                  <a:srgbClr val="636363"/>
                </a:solidFill>
                <a:latin typeface="EYInterstate Light" panose="02000506000000020004" pitchFamily="2" charset="0"/>
                <a:ea typeface="+mn-ea"/>
                <a:cs typeface="Trebuchet MS"/>
              </a:rPr>
              <a:t>a</a:t>
            </a:r>
            <a:r>
              <a:rPr lang="en-US" sz="600" b="1" spc="-5" dirty="0">
                <a:solidFill>
                  <a:srgbClr val="636363"/>
                </a:solidFill>
                <a:latin typeface="EYInterstate Light" panose="02000506000000020004" pitchFamily="2" charset="0"/>
                <a:ea typeface="+mn-ea"/>
                <a:cs typeface="Trebuchet MS"/>
              </a:rPr>
              <a:t>t</a:t>
            </a:r>
            <a:r>
              <a:rPr lang="en-US" sz="600" b="1" spc="-10" dirty="0">
                <a:solidFill>
                  <a:srgbClr val="636363"/>
                </a:solidFill>
                <a:latin typeface="EYInterstate Light" panose="02000506000000020004" pitchFamily="2" charset="0"/>
                <a:ea typeface="+mn-ea"/>
                <a:cs typeface="Trebuchet MS"/>
              </a:rPr>
              <a:t>fo</a:t>
            </a:r>
            <a:r>
              <a:rPr lang="en-US" sz="600" b="1" spc="-20" dirty="0">
                <a:solidFill>
                  <a:srgbClr val="636363"/>
                </a:solidFill>
                <a:latin typeface="EYInterstate Light" panose="02000506000000020004" pitchFamily="2" charset="0"/>
                <a:ea typeface="+mn-ea"/>
                <a:cs typeface="Trebuchet MS"/>
              </a:rPr>
              <a:t>r</a:t>
            </a:r>
            <a:r>
              <a:rPr lang="en-US" sz="600" b="1" dirty="0">
                <a:solidFill>
                  <a:srgbClr val="636363"/>
                </a:solidFill>
                <a:latin typeface="EYInterstate Light" panose="02000506000000020004" pitchFamily="2" charset="0"/>
                <a:ea typeface="+mn-ea"/>
                <a:cs typeface="Trebuchet MS"/>
              </a:rPr>
              <a:t>m</a:t>
            </a:r>
            <a:endParaRPr lang="en-US" sz="600" dirty="0">
              <a:solidFill>
                <a:prstClr val="black"/>
              </a:solidFill>
              <a:latin typeface="EYInterstate Light" panose="02000506000000020004" pitchFamily="2" charset="0"/>
              <a:ea typeface="+mn-ea"/>
              <a:cs typeface="Trebuchet MS"/>
            </a:endParaRPr>
          </a:p>
        </p:txBody>
      </p:sp>
      <p:sp>
        <p:nvSpPr>
          <p:cNvPr id="60" name="object 59">
            <a:extLst>
              <a:ext uri="{FF2B5EF4-FFF2-40B4-BE49-F238E27FC236}">
                <a16:creationId xmlns:a16="http://schemas.microsoft.com/office/drawing/2014/main" id="{78E4E3AC-1C21-4FFB-8963-A506CA5105CC}"/>
              </a:ext>
            </a:extLst>
          </p:cNvPr>
          <p:cNvSpPr txBox="1"/>
          <p:nvPr/>
        </p:nvSpPr>
        <p:spPr>
          <a:xfrm>
            <a:off x="8455787" y="2387747"/>
            <a:ext cx="3200400" cy="1280160"/>
          </a:xfrm>
          <a:prstGeom prst="rect">
            <a:avLst/>
          </a:prstGeom>
        </p:spPr>
        <p:txBody>
          <a:bodyPr vert="horz" wrap="square" lIns="0" tIns="116840" rIns="0" bIns="0" rtlCol="0">
            <a:spAutoFit/>
          </a:bodyPr>
          <a:lstStyle/>
          <a:p>
            <a:pPr marL="12700" marR="5080" algn="just" eaLnBrk="1" fontAlgn="auto" hangingPunct="1">
              <a:spcBef>
                <a:spcPts val="705"/>
              </a:spcBef>
              <a:spcAft>
                <a:spcPts val="0"/>
              </a:spcAft>
            </a:pPr>
            <a:r>
              <a:rPr lang="en-US" sz="1200" spc="15" dirty="0">
                <a:solidFill>
                  <a:srgbClr val="636363"/>
                </a:solidFill>
                <a:latin typeface="EY interstate light"/>
                <a:ea typeface="+mn-ea"/>
                <a:cs typeface="Trebuchet MS"/>
              </a:rPr>
              <a:t>Discovery </a:t>
            </a:r>
            <a:r>
              <a:rPr lang="en-US" sz="1200" spc="-30" dirty="0">
                <a:solidFill>
                  <a:srgbClr val="636363"/>
                </a:solidFill>
                <a:latin typeface="EY interstate light"/>
                <a:ea typeface="+mn-ea"/>
                <a:cs typeface="Trebuchet MS"/>
              </a:rPr>
              <a:t>&amp; </a:t>
            </a:r>
            <a:r>
              <a:rPr lang="en-US" sz="1200" spc="35" dirty="0">
                <a:solidFill>
                  <a:srgbClr val="636363"/>
                </a:solidFill>
                <a:latin typeface="EY interstate light"/>
                <a:ea typeface="+mn-ea"/>
                <a:cs typeface="Trebuchet MS"/>
              </a:rPr>
              <a:t>Insights: </a:t>
            </a:r>
            <a:r>
              <a:rPr lang="en-US" sz="1200" spc="-15" dirty="0">
                <a:solidFill>
                  <a:srgbClr val="636363"/>
                </a:solidFill>
                <a:latin typeface="EY interstate light"/>
                <a:ea typeface="+mn-ea"/>
                <a:cs typeface="Trebuchet MS"/>
              </a:rPr>
              <a:t>Revenue </a:t>
            </a:r>
            <a:r>
              <a:rPr lang="en-US" sz="1200" spc="-35" dirty="0">
                <a:solidFill>
                  <a:srgbClr val="636363"/>
                </a:solidFill>
                <a:latin typeface="EY interstate light"/>
                <a:ea typeface="+mn-ea"/>
                <a:cs typeface="Trebuchet MS"/>
              </a:rPr>
              <a:t>Growth,  </a:t>
            </a:r>
            <a:r>
              <a:rPr lang="en-US" sz="1200" spc="-15" dirty="0">
                <a:solidFill>
                  <a:srgbClr val="636363"/>
                </a:solidFill>
                <a:latin typeface="EY interstate light"/>
                <a:ea typeface="+mn-ea"/>
                <a:cs typeface="Trebuchet MS"/>
              </a:rPr>
              <a:t>Enhanced </a:t>
            </a:r>
            <a:r>
              <a:rPr lang="en-US" sz="1200" spc="-20" dirty="0">
                <a:solidFill>
                  <a:srgbClr val="636363"/>
                </a:solidFill>
                <a:latin typeface="EY interstate light"/>
                <a:ea typeface="+mn-ea"/>
                <a:cs typeface="Trebuchet MS"/>
              </a:rPr>
              <a:t>Client </a:t>
            </a:r>
            <a:r>
              <a:rPr lang="en-US" sz="1200" spc="-15" dirty="0">
                <a:solidFill>
                  <a:srgbClr val="636363"/>
                </a:solidFill>
                <a:latin typeface="EY interstate light"/>
                <a:ea typeface="+mn-ea"/>
                <a:cs typeface="Trebuchet MS"/>
              </a:rPr>
              <a:t>Experiences, </a:t>
            </a:r>
            <a:r>
              <a:rPr lang="en-US" sz="1200" spc="-5" dirty="0">
                <a:solidFill>
                  <a:srgbClr val="636363"/>
                </a:solidFill>
                <a:latin typeface="EY interstate light"/>
                <a:ea typeface="+mn-ea"/>
                <a:cs typeface="Trebuchet MS"/>
              </a:rPr>
              <a:t>Product </a:t>
            </a:r>
            <a:r>
              <a:rPr lang="en-US" sz="1200" spc="-30" dirty="0">
                <a:solidFill>
                  <a:srgbClr val="636363"/>
                </a:solidFill>
                <a:latin typeface="EY interstate light"/>
                <a:ea typeface="+mn-ea"/>
                <a:cs typeface="Trebuchet MS"/>
              </a:rPr>
              <a:t>&amp;  </a:t>
            </a:r>
            <a:r>
              <a:rPr lang="en-US" sz="1200" spc="-20" dirty="0">
                <a:solidFill>
                  <a:srgbClr val="636363"/>
                </a:solidFill>
                <a:latin typeface="EY interstate light"/>
                <a:ea typeface="+mn-ea"/>
                <a:cs typeface="Trebuchet MS"/>
              </a:rPr>
              <a:t>Channel</a:t>
            </a:r>
            <a:r>
              <a:rPr lang="en-US" sz="1200" spc="10" dirty="0">
                <a:solidFill>
                  <a:srgbClr val="636363"/>
                </a:solidFill>
                <a:latin typeface="EY interstate light"/>
                <a:ea typeface="+mn-ea"/>
                <a:cs typeface="Trebuchet MS"/>
              </a:rPr>
              <a:t> </a:t>
            </a:r>
            <a:r>
              <a:rPr lang="en-US" sz="1200" spc="-25" dirty="0">
                <a:solidFill>
                  <a:srgbClr val="636363"/>
                </a:solidFill>
                <a:latin typeface="EY interstate light"/>
                <a:ea typeface="+mn-ea"/>
                <a:cs typeface="Trebuchet MS"/>
              </a:rPr>
              <a:t>Evolution</a:t>
            </a:r>
          </a:p>
          <a:p>
            <a:pPr marL="12700" marR="5080" algn="just" eaLnBrk="1" fontAlgn="auto" hangingPunct="1">
              <a:spcBef>
                <a:spcPts val="705"/>
              </a:spcBef>
              <a:spcAft>
                <a:spcPts val="0"/>
              </a:spcAft>
            </a:pPr>
            <a:endParaRPr lang="en-US" sz="1200" spc="-25" dirty="0">
              <a:solidFill>
                <a:srgbClr val="636363"/>
              </a:solidFill>
              <a:latin typeface="EY interstate light"/>
              <a:ea typeface="+mn-ea"/>
              <a:cs typeface="Trebuchet MS"/>
            </a:endParaRPr>
          </a:p>
          <a:p>
            <a:pPr marL="12700" eaLnBrk="1" fontAlgn="auto" hangingPunct="1">
              <a:spcBef>
                <a:spcPts val="100"/>
              </a:spcBef>
              <a:spcAft>
                <a:spcPts val="0"/>
              </a:spcAft>
            </a:pPr>
            <a:r>
              <a:rPr lang="en-US" sz="1200" i="1" spc="10" dirty="0">
                <a:solidFill>
                  <a:srgbClr val="636363"/>
                </a:solidFill>
                <a:latin typeface="EY interstate light"/>
                <a:cs typeface="Trebuchet MS"/>
              </a:rPr>
              <a:t>Machine </a:t>
            </a:r>
            <a:r>
              <a:rPr lang="en-US" sz="1200" i="1" spc="-5" dirty="0">
                <a:solidFill>
                  <a:srgbClr val="636363"/>
                </a:solidFill>
                <a:latin typeface="EY interstate light"/>
                <a:cs typeface="Trebuchet MS"/>
              </a:rPr>
              <a:t>learning, </a:t>
            </a:r>
            <a:r>
              <a:rPr lang="en-US" sz="1200" i="1" dirty="0">
                <a:solidFill>
                  <a:srgbClr val="636363"/>
                </a:solidFill>
                <a:latin typeface="EY interstate light"/>
                <a:cs typeface="Trebuchet MS"/>
              </a:rPr>
              <a:t>Cognitive Analytics,</a:t>
            </a:r>
            <a:r>
              <a:rPr lang="en-US" sz="1200" i="1" spc="-170" dirty="0">
                <a:solidFill>
                  <a:srgbClr val="636363"/>
                </a:solidFill>
                <a:latin typeface="EY interstate light"/>
                <a:cs typeface="Trebuchet MS"/>
              </a:rPr>
              <a:t> </a:t>
            </a:r>
            <a:r>
              <a:rPr lang="en-US" sz="1200" i="1" spc="10" dirty="0">
                <a:solidFill>
                  <a:srgbClr val="636363"/>
                </a:solidFill>
                <a:latin typeface="EY interstate light"/>
                <a:cs typeface="Trebuchet MS"/>
              </a:rPr>
              <a:t>Advanced</a:t>
            </a:r>
            <a:endParaRPr lang="en-US" sz="1200" i="1" dirty="0">
              <a:solidFill>
                <a:prstClr val="black"/>
              </a:solidFill>
              <a:latin typeface="EY interstate light"/>
              <a:cs typeface="Trebuchet MS"/>
            </a:endParaRPr>
          </a:p>
          <a:p>
            <a:pPr marL="12700" eaLnBrk="1" fontAlgn="auto" hangingPunct="1">
              <a:spcBef>
                <a:spcPts val="0"/>
              </a:spcBef>
              <a:spcAft>
                <a:spcPts val="0"/>
              </a:spcAft>
            </a:pPr>
            <a:r>
              <a:rPr lang="en-US" sz="1200" i="1" spc="10" dirty="0">
                <a:solidFill>
                  <a:srgbClr val="636363"/>
                </a:solidFill>
                <a:latin typeface="EY interstate light"/>
                <a:cs typeface="Trebuchet MS"/>
              </a:rPr>
              <a:t>Modeling</a:t>
            </a:r>
            <a:r>
              <a:rPr lang="en-US" sz="1200" i="1" spc="-35" dirty="0">
                <a:solidFill>
                  <a:srgbClr val="636363"/>
                </a:solidFill>
                <a:latin typeface="EY interstate light"/>
                <a:cs typeface="Trebuchet MS"/>
              </a:rPr>
              <a:t> </a:t>
            </a:r>
            <a:r>
              <a:rPr lang="en-US" sz="1200" i="1" spc="10" dirty="0">
                <a:solidFill>
                  <a:srgbClr val="636363"/>
                </a:solidFill>
                <a:latin typeface="EY interstate light"/>
                <a:cs typeface="Trebuchet MS"/>
              </a:rPr>
              <a:t>Simulations</a:t>
            </a:r>
            <a:endParaRPr lang="en-US" sz="1200" i="1" dirty="0">
              <a:solidFill>
                <a:prstClr val="black"/>
              </a:solidFill>
              <a:latin typeface="EY interstate light"/>
              <a:cs typeface="Trebuchet MS"/>
            </a:endParaRPr>
          </a:p>
          <a:p>
            <a:pPr marL="12700" marR="5080" algn="just" eaLnBrk="1" fontAlgn="auto" hangingPunct="1">
              <a:spcBef>
                <a:spcPts val="705"/>
              </a:spcBef>
              <a:spcAft>
                <a:spcPts val="0"/>
              </a:spcAft>
            </a:pPr>
            <a:endParaRPr lang="en-US" sz="1200" dirty="0">
              <a:solidFill>
                <a:prstClr val="black"/>
              </a:solidFill>
              <a:latin typeface="EY interstate light"/>
              <a:ea typeface="+mn-ea"/>
              <a:cs typeface="Trebuchet MS"/>
            </a:endParaRPr>
          </a:p>
        </p:txBody>
      </p:sp>
      <p:sp>
        <p:nvSpPr>
          <p:cNvPr id="61" name="object 60">
            <a:extLst>
              <a:ext uri="{FF2B5EF4-FFF2-40B4-BE49-F238E27FC236}">
                <a16:creationId xmlns:a16="http://schemas.microsoft.com/office/drawing/2014/main" id="{C2256C94-1D8B-4510-B586-7451858B203D}"/>
              </a:ext>
            </a:extLst>
          </p:cNvPr>
          <p:cNvSpPr/>
          <p:nvPr/>
        </p:nvSpPr>
        <p:spPr>
          <a:xfrm>
            <a:off x="3192970" y="3133850"/>
            <a:ext cx="573405" cy="1603375"/>
          </a:xfrm>
          <a:custGeom>
            <a:avLst/>
            <a:gdLst/>
            <a:ahLst/>
            <a:cxnLst/>
            <a:rect l="l" t="t" r="r" b="b"/>
            <a:pathLst>
              <a:path w="573404" h="1603375">
                <a:moveTo>
                  <a:pt x="429768" y="286511"/>
                </a:moveTo>
                <a:lnTo>
                  <a:pt x="143256" y="286511"/>
                </a:lnTo>
                <a:lnTo>
                  <a:pt x="143256" y="1603247"/>
                </a:lnTo>
                <a:lnTo>
                  <a:pt x="429768" y="1603247"/>
                </a:lnTo>
                <a:lnTo>
                  <a:pt x="429768" y="286511"/>
                </a:lnTo>
                <a:close/>
              </a:path>
              <a:path w="573404" h="1603375">
                <a:moveTo>
                  <a:pt x="286511" y="0"/>
                </a:moveTo>
                <a:lnTo>
                  <a:pt x="0" y="286511"/>
                </a:lnTo>
                <a:lnTo>
                  <a:pt x="573023" y="286511"/>
                </a:lnTo>
                <a:lnTo>
                  <a:pt x="286511" y="0"/>
                </a:lnTo>
                <a:close/>
              </a:path>
            </a:pathLst>
          </a:custGeom>
          <a:solidFill>
            <a:srgbClr val="00A2AD"/>
          </a:solidFill>
          <a:ln>
            <a:noFill/>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62" name="object 61">
            <a:extLst>
              <a:ext uri="{FF2B5EF4-FFF2-40B4-BE49-F238E27FC236}">
                <a16:creationId xmlns:a16="http://schemas.microsoft.com/office/drawing/2014/main" id="{2C988BD6-F1E8-4350-BAFF-351C67B995D6}"/>
              </a:ext>
            </a:extLst>
          </p:cNvPr>
          <p:cNvSpPr txBox="1"/>
          <p:nvPr/>
        </p:nvSpPr>
        <p:spPr>
          <a:xfrm>
            <a:off x="1275892" y="5220843"/>
            <a:ext cx="1650364" cy="757555"/>
          </a:xfrm>
          <a:prstGeom prst="rect">
            <a:avLst/>
          </a:prstGeom>
        </p:spPr>
        <p:txBody>
          <a:bodyPr vert="horz" wrap="square" lIns="0" tIns="12700" rIns="0" bIns="0" rtlCol="0">
            <a:spAutoFit/>
          </a:bodyPr>
          <a:lstStyle/>
          <a:p>
            <a:pPr marL="12700" marR="5080" eaLnBrk="1" fontAlgn="auto" hangingPunct="1">
              <a:spcBef>
                <a:spcPts val="100"/>
              </a:spcBef>
              <a:spcAft>
                <a:spcPts val="0"/>
              </a:spcAft>
            </a:pPr>
            <a:r>
              <a:rPr lang="en-US" sz="1200" b="1" i="1" spc="15" dirty="0">
                <a:solidFill>
                  <a:srgbClr val="007982"/>
                </a:solidFill>
                <a:latin typeface="EY interstate light"/>
                <a:ea typeface="+mn-ea"/>
                <a:cs typeface="Trebuchet MS"/>
              </a:rPr>
              <a:t>Investment </a:t>
            </a:r>
            <a:r>
              <a:rPr lang="en-US" sz="1200" i="1" spc="-20" dirty="0">
                <a:solidFill>
                  <a:srgbClr val="636363"/>
                </a:solidFill>
                <a:latin typeface="EY interstate light"/>
                <a:ea typeface="+mn-ea"/>
                <a:cs typeface="Trebuchet MS"/>
              </a:rPr>
              <a:t>in </a:t>
            </a:r>
            <a:r>
              <a:rPr lang="en-US" sz="1200" i="1" spc="-10" dirty="0">
                <a:solidFill>
                  <a:srgbClr val="636363"/>
                </a:solidFill>
                <a:latin typeface="EY interstate light"/>
                <a:ea typeface="+mn-ea"/>
                <a:cs typeface="Trebuchet MS"/>
              </a:rPr>
              <a:t>the</a:t>
            </a:r>
            <a:r>
              <a:rPr lang="en-US" sz="1200" i="1" spc="-185" dirty="0">
                <a:solidFill>
                  <a:srgbClr val="636363"/>
                </a:solidFill>
                <a:latin typeface="EY interstate light"/>
                <a:ea typeface="+mn-ea"/>
                <a:cs typeface="Trebuchet MS"/>
              </a:rPr>
              <a:t> </a:t>
            </a:r>
            <a:r>
              <a:rPr lang="en-US" sz="1200" i="1" spc="15" dirty="0">
                <a:solidFill>
                  <a:srgbClr val="636363"/>
                </a:solidFill>
                <a:latin typeface="EY interstate light"/>
                <a:ea typeface="+mn-ea"/>
                <a:cs typeface="Trebuchet MS"/>
              </a:rPr>
              <a:t>Next  </a:t>
            </a:r>
            <a:r>
              <a:rPr lang="en-US" sz="1200" i="1" spc="5" dirty="0">
                <a:solidFill>
                  <a:srgbClr val="636363"/>
                </a:solidFill>
                <a:latin typeface="EY interstate light"/>
                <a:ea typeface="+mn-ea"/>
                <a:cs typeface="Trebuchet MS"/>
              </a:rPr>
              <a:t>Gen </a:t>
            </a:r>
            <a:r>
              <a:rPr lang="en-US" sz="1200" i="1" spc="15" dirty="0">
                <a:solidFill>
                  <a:srgbClr val="636363"/>
                </a:solidFill>
                <a:latin typeface="EY interstate light"/>
                <a:ea typeface="+mn-ea"/>
                <a:cs typeface="Trebuchet MS"/>
              </a:rPr>
              <a:t>Data </a:t>
            </a:r>
            <a:r>
              <a:rPr lang="en-US" sz="1200" i="1" spc="-20" dirty="0">
                <a:solidFill>
                  <a:srgbClr val="636363"/>
                </a:solidFill>
                <a:latin typeface="EY interstate light"/>
                <a:ea typeface="+mn-ea"/>
                <a:cs typeface="Trebuchet MS"/>
              </a:rPr>
              <a:t>platform  </a:t>
            </a:r>
            <a:r>
              <a:rPr lang="en-US" sz="1200" i="1" spc="10" dirty="0">
                <a:solidFill>
                  <a:srgbClr val="636363"/>
                </a:solidFill>
                <a:latin typeface="EY interstate light"/>
                <a:ea typeface="+mn-ea"/>
                <a:cs typeface="Trebuchet MS"/>
              </a:rPr>
              <a:t>establishes </a:t>
            </a:r>
            <a:r>
              <a:rPr lang="en-US" sz="1200" i="1" spc="-10" dirty="0">
                <a:solidFill>
                  <a:srgbClr val="636363"/>
                </a:solidFill>
                <a:latin typeface="EY interstate light"/>
                <a:ea typeface="+mn-ea"/>
                <a:cs typeface="Trebuchet MS"/>
              </a:rPr>
              <a:t>the  foundation</a:t>
            </a:r>
            <a:endParaRPr lang="en-US" sz="1200" dirty="0">
              <a:solidFill>
                <a:prstClr val="black"/>
              </a:solidFill>
              <a:latin typeface="EY interstate light"/>
              <a:ea typeface="+mn-ea"/>
              <a:cs typeface="Trebuchet MS"/>
            </a:endParaRPr>
          </a:p>
        </p:txBody>
      </p:sp>
      <p:sp>
        <p:nvSpPr>
          <p:cNvPr id="63" name="object 62">
            <a:extLst>
              <a:ext uri="{FF2B5EF4-FFF2-40B4-BE49-F238E27FC236}">
                <a16:creationId xmlns:a16="http://schemas.microsoft.com/office/drawing/2014/main" id="{AFFA839A-F78B-48B9-883C-910F9BB9AE2D}"/>
              </a:ext>
            </a:extLst>
          </p:cNvPr>
          <p:cNvSpPr/>
          <p:nvPr/>
        </p:nvSpPr>
        <p:spPr>
          <a:xfrm>
            <a:off x="823467" y="2425700"/>
            <a:ext cx="0" cy="285115"/>
          </a:xfrm>
          <a:custGeom>
            <a:avLst/>
            <a:gdLst/>
            <a:ahLst/>
            <a:cxnLst/>
            <a:rect l="l" t="t" r="r" b="b"/>
            <a:pathLst>
              <a:path h="285114">
                <a:moveTo>
                  <a:pt x="0" y="0"/>
                </a:moveTo>
                <a:lnTo>
                  <a:pt x="0" y="284988"/>
                </a:lnTo>
              </a:path>
            </a:pathLst>
          </a:custGeom>
          <a:ln w="9143">
            <a:solidFill>
              <a:srgbClr val="C1C1C1"/>
            </a:solidFill>
            <a:prstDash val="sysDash"/>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64" name="object 63">
            <a:extLst>
              <a:ext uri="{FF2B5EF4-FFF2-40B4-BE49-F238E27FC236}">
                <a16:creationId xmlns:a16="http://schemas.microsoft.com/office/drawing/2014/main" id="{315F0A58-E1BE-4BFC-9C35-FF98A6C8F661}"/>
              </a:ext>
            </a:extLst>
          </p:cNvPr>
          <p:cNvSpPr/>
          <p:nvPr/>
        </p:nvSpPr>
        <p:spPr>
          <a:xfrm>
            <a:off x="823467" y="3433063"/>
            <a:ext cx="0" cy="1697989"/>
          </a:xfrm>
          <a:custGeom>
            <a:avLst/>
            <a:gdLst/>
            <a:ahLst/>
            <a:cxnLst/>
            <a:rect l="l" t="t" r="r" b="b"/>
            <a:pathLst>
              <a:path h="1697989">
                <a:moveTo>
                  <a:pt x="0" y="0"/>
                </a:moveTo>
                <a:lnTo>
                  <a:pt x="0" y="1697736"/>
                </a:lnTo>
              </a:path>
            </a:pathLst>
          </a:custGeom>
          <a:ln w="9143">
            <a:solidFill>
              <a:srgbClr val="C1C1C1"/>
            </a:solidFill>
            <a:prstDash val="sysDash"/>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65" name="object 64">
            <a:extLst>
              <a:ext uri="{FF2B5EF4-FFF2-40B4-BE49-F238E27FC236}">
                <a16:creationId xmlns:a16="http://schemas.microsoft.com/office/drawing/2014/main" id="{C9EED8CD-BDC6-4F97-8B39-23909BBDC280}"/>
              </a:ext>
            </a:extLst>
          </p:cNvPr>
          <p:cNvSpPr/>
          <p:nvPr/>
        </p:nvSpPr>
        <p:spPr>
          <a:xfrm>
            <a:off x="823467" y="6203695"/>
            <a:ext cx="0" cy="248285"/>
          </a:xfrm>
          <a:custGeom>
            <a:avLst/>
            <a:gdLst/>
            <a:ahLst/>
            <a:cxnLst/>
            <a:rect l="l" t="t" r="r" b="b"/>
            <a:pathLst>
              <a:path h="248285">
                <a:moveTo>
                  <a:pt x="0" y="0"/>
                </a:moveTo>
                <a:lnTo>
                  <a:pt x="0" y="248183"/>
                </a:lnTo>
              </a:path>
            </a:pathLst>
          </a:custGeom>
          <a:ln w="9143">
            <a:solidFill>
              <a:srgbClr val="C1C1C1"/>
            </a:solidFill>
            <a:prstDash val="sysDash"/>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66" name="object 65">
            <a:extLst>
              <a:ext uri="{FF2B5EF4-FFF2-40B4-BE49-F238E27FC236}">
                <a16:creationId xmlns:a16="http://schemas.microsoft.com/office/drawing/2014/main" id="{3A725865-1001-4A6C-A630-E6B0A8DF2C02}"/>
              </a:ext>
            </a:extLst>
          </p:cNvPr>
          <p:cNvSpPr txBox="1"/>
          <p:nvPr/>
        </p:nvSpPr>
        <p:spPr>
          <a:xfrm>
            <a:off x="735243" y="5272148"/>
            <a:ext cx="164465" cy="790575"/>
          </a:xfrm>
          <a:prstGeom prst="rect">
            <a:avLst/>
          </a:prstGeom>
        </p:spPr>
        <p:txBody>
          <a:bodyPr vert="vert270" wrap="square" lIns="0" tIns="9525" rIns="0" bIns="0" rtlCol="0">
            <a:spAutoFit/>
          </a:bodyPr>
          <a:lstStyle/>
          <a:p>
            <a:pPr marL="12700" eaLnBrk="1" fontAlgn="auto" hangingPunct="1">
              <a:spcBef>
                <a:spcPts val="75"/>
              </a:spcBef>
              <a:spcAft>
                <a:spcPts val="0"/>
              </a:spcAft>
            </a:pPr>
            <a:r>
              <a:rPr sz="900" b="1" spc="70" dirty="0">
                <a:solidFill>
                  <a:srgbClr val="636363"/>
                </a:solidFill>
                <a:latin typeface="Trebuchet MS"/>
                <a:ea typeface="+mn-ea"/>
                <a:cs typeface="Trebuchet MS"/>
              </a:rPr>
              <a:t>INVESTMENT</a:t>
            </a:r>
            <a:endParaRPr sz="900" dirty="0">
              <a:solidFill>
                <a:prstClr val="black"/>
              </a:solidFill>
              <a:latin typeface="Trebuchet MS"/>
              <a:ea typeface="+mn-ea"/>
              <a:cs typeface="Trebuchet MS"/>
            </a:endParaRPr>
          </a:p>
        </p:txBody>
      </p:sp>
      <p:sp>
        <p:nvSpPr>
          <p:cNvPr id="67" name="object 66">
            <a:extLst>
              <a:ext uri="{FF2B5EF4-FFF2-40B4-BE49-F238E27FC236}">
                <a16:creationId xmlns:a16="http://schemas.microsoft.com/office/drawing/2014/main" id="{52A5194C-A8D1-4575-86AD-FC8599CC5589}"/>
              </a:ext>
            </a:extLst>
          </p:cNvPr>
          <p:cNvSpPr txBox="1"/>
          <p:nvPr/>
        </p:nvSpPr>
        <p:spPr>
          <a:xfrm>
            <a:off x="740424" y="2858151"/>
            <a:ext cx="164465" cy="429895"/>
          </a:xfrm>
          <a:prstGeom prst="rect">
            <a:avLst/>
          </a:prstGeom>
        </p:spPr>
        <p:txBody>
          <a:bodyPr vert="vert270" wrap="square" lIns="0" tIns="9525" rIns="0" bIns="0" rtlCol="0">
            <a:spAutoFit/>
          </a:bodyPr>
          <a:lstStyle/>
          <a:p>
            <a:pPr marL="12700" eaLnBrk="1" fontAlgn="auto" hangingPunct="1">
              <a:spcBef>
                <a:spcPts val="75"/>
              </a:spcBef>
              <a:spcAft>
                <a:spcPts val="0"/>
              </a:spcAft>
            </a:pPr>
            <a:r>
              <a:rPr sz="900" b="1" spc="-5" dirty="0">
                <a:solidFill>
                  <a:srgbClr val="636363"/>
                </a:solidFill>
                <a:latin typeface="Trebuchet MS"/>
                <a:ea typeface="+mn-ea"/>
                <a:cs typeface="Trebuchet MS"/>
              </a:rPr>
              <a:t>V</a:t>
            </a:r>
            <a:r>
              <a:rPr sz="900" b="1" spc="10" dirty="0">
                <a:solidFill>
                  <a:srgbClr val="636363"/>
                </a:solidFill>
                <a:latin typeface="Trebuchet MS"/>
                <a:ea typeface="+mn-ea"/>
                <a:cs typeface="Trebuchet MS"/>
              </a:rPr>
              <a:t>A</a:t>
            </a:r>
            <a:r>
              <a:rPr sz="900" b="1" spc="5" dirty="0">
                <a:solidFill>
                  <a:srgbClr val="636363"/>
                </a:solidFill>
                <a:latin typeface="Trebuchet MS"/>
                <a:ea typeface="+mn-ea"/>
                <a:cs typeface="Trebuchet MS"/>
              </a:rPr>
              <a:t>L</a:t>
            </a:r>
            <a:r>
              <a:rPr sz="900" b="1" dirty="0">
                <a:solidFill>
                  <a:srgbClr val="636363"/>
                </a:solidFill>
                <a:latin typeface="Trebuchet MS"/>
                <a:ea typeface="+mn-ea"/>
                <a:cs typeface="Trebuchet MS"/>
              </a:rPr>
              <a:t>UE</a:t>
            </a:r>
            <a:endParaRPr sz="900" dirty="0">
              <a:solidFill>
                <a:prstClr val="black"/>
              </a:solidFill>
              <a:latin typeface="Trebuchet MS"/>
              <a:ea typeface="+mn-ea"/>
              <a:cs typeface="Trebuchet MS"/>
            </a:endParaRPr>
          </a:p>
        </p:txBody>
      </p:sp>
      <p:sp>
        <p:nvSpPr>
          <p:cNvPr id="68" name="object 67">
            <a:extLst>
              <a:ext uri="{FF2B5EF4-FFF2-40B4-BE49-F238E27FC236}">
                <a16:creationId xmlns:a16="http://schemas.microsoft.com/office/drawing/2014/main" id="{1358B8CD-6FA7-4A6F-91C9-1BB3E75D9361}"/>
              </a:ext>
            </a:extLst>
          </p:cNvPr>
          <p:cNvSpPr txBox="1"/>
          <p:nvPr/>
        </p:nvSpPr>
        <p:spPr>
          <a:xfrm>
            <a:off x="1192682" y="3657854"/>
            <a:ext cx="1804035" cy="566822"/>
          </a:xfrm>
          <a:prstGeom prst="rect">
            <a:avLst/>
          </a:prstGeom>
        </p:spPr>
        <p:txBody>
          <a:bodyPr vert="horz" wrap="square" lIns="0" tIns="12700" rIns="0" bIns="0" rtlCol="0">
            <a:spAutoFit/>
          </a:bodyPr>
          <a:lstStyle/>
          <a:p>
            <a:pPr marL="12700" marR="5080" eaLnBrk="1" fontAlgn="auto" hangingPunct="1">
              <a:spcBef>
                <a:spcPts val="100"/>
              </a:spcBef>
              <a:spcAft>
                <a:spcPts val="0"/>
              </a:spcAft>
            </a:pPr>
            <a:r>
              <a:rPr lang="en-US" sz="1200" b="1" i="1" spc="25" dirty="0">
                <a:solidFill>
                  <a:srgbClr val="007982"/>
                </a:solidFill>
                <a:latin typeface="EY interstate light"/>
                <a:ea typeface="+mn-ea"/>
                <a:cs typeface="Trebuchet MS"/>
              </a:rPr>
              <a:t>Cost </a:t>
            </a:r>
            <a:r>
              <a:rPr lang="en-US" sz="1200" b="1" i="1" spc="15" dirty="0">
                <a:solidFill>
                  <a:srgbClr val="007982"/>
                </a:solidFill>
                <a:latin typeface="EY interstate light"/>
                <a:ea typeface="+mn-ea"/>
                <a:cs typeface="Trebuchet MS"/>
              </a:rPr>
              <a:t>savings </a:t>
            </a:r>
            <a:r>
              <a:rPr lang="en-US" sz="1200" i="1" dirty="0">
                <a:solidFill>
                  <a:srgbClr val="636363"/>
                </a:solidFill>
                <a:latin typeface="EY interstate light"/>
                <a:ea typeface="+mn-ea"/>
                <a:cs typeface="Trebuchet MS"/>
              </a:rPr>
              <a:t>are </a:t>
            </a:r>
            <a:r>
              <a:rPr lang="en-US" sz="1200" i="1" spc="-229" dirty="0">
                <a:solidFill>
                  <a:srgbClr val="636363"/>
                </a:solidFill>
                <a:latin typeface="EY interstate light"/>
                <a:ea typeface="+mn-ea"/>
                <a:cs typeface="Trebuchet MS"/>
              </a:rPr>
              <a:t> </a:t>
            </a:r>
            <a:r>
              <a:rPr lang="en-US" sz="1200" i="1" spc="-15" dirty="0">
                <a:solidFill>
                  <a:srgbClr val="636363"/>
                </a:solidFill>
                <a:latin typeface="EY interstate light"/>
                <a:ea typeface="+mn-ea"/>
                <a:cs typeface="Trebuchet MS"/>
              </a:rPr>
              <a:t>realized  </a:t>
            </a:r>
            <a:r>
              <a:rPr lang="en-US" sz="1200" i="1" spc="-5" dirty="0">
                <a:solidFill>
                  <a:srgbClr val="636363"/>
                </a:solidFill>
                <a:latin typeface="EY interstate light"/>
                <a:ea typeface="+mn-ea"/>
                <a:cs typeface="Trebuchet MS"/>
              </a:rPr>
              <a:t>from </a:t>
            </a:r>
            <a:r>
              <a:rPr lang="en-US" sz="1200" i="1" spc="10" dirty="0">
                <a:solidFill>
                  <a:srgbClr val="636363"/>
                </a:solidFill>
                <a:latin typeface="EY interstate light"/>
                <a:ea typeface="+mn-ea"/>
                <a:cs typeface="Trebuchet MS"/>
              </a:rPr>
              <a:t>arresting </a:t>
            </a:r>
            <a:r>
              <a:rPr lang="en-US" sz="1200" i="1" spc="-10" dirty="0">
                <a:solidFill>
                  <a:srgbClr val="636363"/>
                </a:solidFill>
                <a:latin typeface="EY interstate light"/>
                <a:ea typeface="+mn-ea"/>
                <a:cs typeface="Trebuchet MS"/>
              </a:rPr>
              <a:t>the </a:t>
            </a:r>
            <a:r>
              <a:rPr lang="en-US" sz="1200" i="1" dirty="0">
                <a:solidFill>
                  <a:srgbClr val="636363"/>
                </a:solidFill>
                <a:latin typeface="EY interstate light"/>
                <a:ea typeface="+mn-ea"/>
                <a:cs typeface="Trebuchet MS"/>
              </a:rPr>
              <a:t>growth </a:t>
            </a:r>
            <a:r>
              <a:rPr lang="en-US" sz="1200" i="1" spc="-30" dirty="0">
                <a:solidFill>
                  <a:srgbClr val="636363"/>
                </a:solidFill>
                <a:latin typeface="EY interstate light"/>
                <a:ea typeface="+mn-ea"/>
                <a:cs typeface="Trebuchet MS"/>
              </a:rPr>
              <a:t>of </a:t>
            </a:r>
            <a:r>
              <a:rPr lang="en-US" sz="1200" i="1" spc="20" dirty="0">
                <a:solidFill>
                  <a:srgbClr val="636363"/>
                </a:solidFill>
                <a:latin typeface="EY interstate light"/>
                <a:ea typeface="+mn-ea"/>
                <a:cs typeface="Trebuchet MS"/>
              </a:rPr>
              <a:t>legacy</a:t>
            </a:r>
            <a:r>
              <a:rPr lang="en-US" sz="1200" i="1" spc="-25" dirty="0">
                <a:solidFill>
                  <a:srgbClr val="636363"/>
                </a:solidFill>
                <a:latin typeface="EY interstate light"/>
                <a:ea typeface="+mn-ea"/>
                <a:cs typeface="Trebuchet MS"/>
              </a:rPr>
              <a:t> </a:t>
            </a:r>
            <a:r>
              <a:rPr lang="en-US" sz="1200" i="1" spc="45" dirty="0">
                <a:solidFill>
                  <a:srgbClr val="636363"/>
                </a:solidFill>
                <a:latin typeface="EY interstate light"/>
                <a:ea typeface="+mn-ea"/>
                <a:cs typeface="Trebuchet MS"/>
              </a:rPr>
              <a:t>systems</a:t>
            </a:r>
            <a:endParaRPr lang="en-US" sz="1200" dirty="0">
              <a:solidFill>
                <a:prstClr val="black"/>
              </a:solidFill>
              <a:latin typeface="EY interstate light"/>
              <a:ea typeface="+mn-ea"/>
              <a:cs typeface="Trebuchet MS"/>
            </a:endParaRPr>
          </a:p>
        </p:txBody>
      </p:sp>
      <p:sp>
        <p:nvSpPr>
          <p:cNvPr id="69" name="object 68">
            <a:extLst>
              <a:ext uri="{FF2B5EF4-FFF2-40B4-BE49-F238E27FC236}">
                <a16:creationId xmlns:a16="http://schemas.microsoft.com/office/drawing/2014/main" id="{5160D984-DE38-42FE-80E6-CA43FE1597EE}"/>
              </a:ext>
            </a:extLst>
          </p:cNvPr>
          <p:cNvSpPr txBox="1"/>
          <p:nvPr/>
        </p:nvSpPr>
        <p:spPr>
          <a:xfrm>
            <a:off x="1247851" y="2138426"/>
            <a:ext cx="2095500" cy="1080770"/>
          </a:xfrm>
          <a:prstGeom prst="rect">
            <a:avLst/>
          </a:prstGeom>
        </p:spPr>
        <p:txBody>
          <a:bodyPr vert="horz" wrap="square" lIns="0" tIns="11430" rIns="0" bIns="0" rtlCol="0">
            <a:spAutoFit/>
          </a:bodyPr>
          <a:lstStyle/>
          <a:p>
            <a:pPr marL="186055" eaLnBrk="1" fontAlgn="auto" hangingPunct="1">
              <a:spcBef>
                <a:spcPts val="90"/>
              </a:spcBef>
              <a:spcAft>
                <a:spcPts val="0"/>
              </a:spcAft>
            </a:pPr>
            <a:r>
              <a:rPr lang="en-US" sz="1400" b="1" spc="-20" dirty="0">
                <a:latin typeface="EY interstate light"/>
                <a:ea typeface="+mn-ea"/>
                <a:cs typeface="Trebuchet MS"/>
              </a:rPr>
              <a:t>Value</a:t>
            </a:r>
            <a:r>
              <a:rPr lang="en-US" sz="1400" b="1" spc="20" dirty="0">
                <a:latin typeface="EY interstate light"/>
                <a:ea typeface="+mn-ea"/>
                <a:cs typeface="Trebuchet MS"/>
              </a:rPr>
              <a:t> </a:t>
            </a:r>
            <a:r>
              <a:rPr lang="en-US" sz="1400" b="1" spc="5" dirty="0">
                <a:latin typeface="EY interstate light"/>
                <a:ea typeface="+mn-ea"/>
                <a:cs typeface="Trebuchet MS"/>
              </a:rPr>
              <a:t>Proposition</a:t>
            </a:r>
            <a:endParaRPr lang="en-US" sz="1400" b="1" dirty="0">
              <a:latin typeface="EY interstate light"/>
              <a:ea typeface="+mn-ea"/>
              <a:cs typeface="Trebuchet MS"/>
            </a:endParaRPr>
          </a:p>
          <a:p>
            <a:pPr marL="12700" marR="5080" eaLnBrk="1" fontAlgn="auto" hangingPunct="1">
              <a:spcBef>
                <a:spcPts val="875"/>
              </a:spcBef>
              <a:spcAft>
                <a:spcPts val="0"/>
              </a:spcAft>
            </a:pPr>
            <a:r>
              <a:rPr lang="en-US" sz="1200" b="1" i="1" spc="-30" dirty="0">
                <a:solidFill>
                  <a:srgbClr val="007982"/>
                </a:solidFill>
                <a:latin typeface="EY interstate light"/>
                <a:ea typeface="+mn-ea"/>
                <a:cs typeface="Trebuchet MS"/>
              </a:rPr>
              <a:t>Value </a:t>
            </a:r>
            <a:r>
              <a:rPr lang="en-US" sz="1200" i="1" spc="20" dirty="0">
                <a:solidFill>
                  <a:srgbClr val="636363"/>
                </a:solidFill>
                <a:latin typeface="EY interstate light"/>
                <a:ea typeface="+mn-ea"/>
                <a:cs typeface="Trebuchet MS"/>
              </a:rPr>
              <a:t>is </a:t>
            </a:r>
            <a:r>
              <a:rPr lang="en-US" sz="1200" i="1" dirty="0">
                <a:solidFill>
                  <a:srgbClr val="636363"/>
                </a:solidFill>
                <a:latin typeface="EY interstate light"/>
                <a:ea typeface="+mn-ea"/>
                <a:cs typeface="Trebuchet MS"/>
              </a:rPr>
              <a:t>unlocked </a:t>
            </a:r>
            <a:r>
              <a:rPr lang="en-US" sz="1200" i="1" spc="-5" dirty="0">
                <a:solidFill>
                  <a:srgbClr val="636363"/>
                </a:solidFill>
                <a:latin typeface="EY interstate light"/>
                <a:ea typeface="+mn-ea"/>
                <a:cs typeface="Trebuchet MS"/>
              </a:rPr>
              <a:t>from the  </a:t>
            </a:r>
            <a:r>
              <a:rPr lang="en-US" sz="1200" i="1" spc="15" dirty="0">
                <a:solidFill>
                  <a:srgbClr val="636363"/>
                </a:solidFill>
                <a:latin typeface="EY interstate light"/>
                <a:ea typeface="+mn-ea"/>
                <a:cs typeface="Trebuchet MS"/>
              </a:rPr>
              <a:t>investments </a:t>
            </a:r>
            <a:r>
              <a:rPr lang="en-US" sz="1200" i="1" spc="20" dirty="0">
                <a:solidFill>
                  <a:srgbClr val="636363"/>
                </a:solidFill>
                <a:latin typeface="EY interstate light"/>
                <a:ea typeface="+mn-ea"/>
                <a:cs typeface="Trebuchet MS"/>
              </a:rPr>
              <a:t>by </a:t>
            </a:r>
            <a:r>
              <a:rPr lang="en-US" sz="1200" i="1" spc="-5" dirty="0">
                <a:solidFill>
                  <a:srgbClr val="636363"/>
                </a:solidFill>
                <a:latin typeface="EY interstate light"/>
                <a:ea typeface="+mn-ea"/>
                <a:cs typeface="Trebuchet MS"/>
              </a:rPr>
              <a:t>developing  analytical </a:t>
            </a:r>
            <a:r>
              <a:rPr lang="en-US" sz="1200" i="1" spc="-10" dirty="0">
                <a:solidFill>
                  <a:srgbClr val="636363"/>
                </a:solidFill>
                <a:latin typeface="EY interstate light"/>
                <a:ea typeface="+mn-ea"/>
                <a:cs typeface="Trebuchet MS"/>
              </a:rPr>
              <a:t>capabilities that  </a:t>
            </a:r>
            <a:r>
              <a:rPr lang="en-US" sz="1200" i="1" spc="-5" dirty="0">
                <a:solidFill>
                  <a:srgbClr val="636363"/>
                </a:solidFill>
                <a:latin typeface="EY interstate light"/>
                <a:ea typeface="+mn-ea"/>
                <a:cs typeface="Trebuchet MS"/>
              </a:rPr>
              <a:t>derive </a:t>
            </a:r>
            <a:r>
              <a:rPr lang="en-US" sz="1200" i="1" spc="15" dirty="0">
                <a:solidFill>
                  <a:srgbClr val="636363"/>
                </a:solidFill>
                <a:latin typeface="EY interstate light"/>
                <a:ea typeface="+mn-ea"/>
                <a:cs typeface="Trebuchet MS"/>
              </a:rPr>
              <a:t>insights </a:t>
            </a:r>
            <a:r>
              <a:rPr lang="en-US" sz="1200" i="1" spc="-10" dirty="0">
                <a:solidFill>
                  <a:srgbClr val="636363"/>
                </a:solidFill>
                <a:latin typeface="EY interstate light"/>
                <a:ea typeface="+mn-ea"/>
                <a:cs typeface="Trebuchet MS"/>
              </a:rPr>
              <a:t>to </a:t>
            </a:r>
            <a:r>
              <a:rPr lang="en-US" sz="1200" i="1" spc="-5" dirty="0">
                <a:solidFill>
                  <a:srgbClr val="636363"/>
                </a:solidFill>
                <a:latin typeface="EY interstate light"/>
                <a:ea typeface="+mn-ea"/>
                <a:cs typeface="Trebuchet MS"/>
              </a:rPr>
              <a:t>drive</a:t>
            </a:r>
            <a:r>
              <a:rPr lang="en-US" sz="1200" i="1" spc="-210" dirty="0">
                <a:solidFill>
                  <a:srgbClr val="636363"/>
                </a:solidFill>
                <a:latin typeface="EY interstate light"/>
                <a:ea typeface="+mn-ea"/>
                <a:cs typeface="Trebuchet MS"/>
              </a:rPr>
              <a:t> </a:t>
            </a:r>
            <a:r>
              <a:rPr lang="en-US" sz="1200" i="1" spc="5" dirty="0">
                <a:solidFill>
                  <a:srgbClr val="636363"/>
                </a:solidFill>
                <a:latin typeface="EY interstate light"/>
                <a:ea typeface="+mn-ea"/>
                <a:cs typeface="Trebuchet MS"/>
              </a:rPr>
              <a:t>action</a:t>
            </a:r>
            <a:endParaRPr lang="en-US" sz="1200" dirty="0">
              <a:solidFill>
                <a:prstClr val="black"/>
              </a:solidFill>
              <a:latin typeface="EY interstate light"/>
              <a:ea typeface="+mn-ea"/>
              <a:cs typeface="Trebuchet MS"/>
            </a:endParaRPr>
          </a:p>
        </p:txBody>
      </p:sp>
      <p:sp>
        <p:nvSpPr>
          <p:cNvPr id="70" name="object 69">
            <a:extLst>
              <a:ext uri="{FF2B5EF4-FFF2-40B4-BE49-F238E27FC236}">
                <a16:creationId xmlns:a16="http://schemas.microsoft.com/office/drawing/2014/main" id="{378FCB99-71B1-47E7-B832-BE567184122D}"/>
              </a:ext>
            </a:extLst>
          </p:cNvPr>
          <p:cNvSpPr/>
          <p:nvPr/>
        </p:nvSpPr>
        <p:spPr>
          <a:xfrm>
            <a:off x="8455787" y="3739027"/>
            <a:ext cx="3530600" cy="0"/>
          </a:xfrm>
          <a:custGeom>
            <a:avLst/>
            <a:gdLst/>
            <a:ahLst/>
            <a:cxnLst/>
            <a:rect l="l" t="t" r="r" b="b"/>
            <a:pathLst>
              <a:path w="3530600">
                <a:moveTo>
                  <a:pt x="0" y="0"/>
                </a:moveTo>
                <a:lnTo>
                  <a:pt x="3530346" y="0"/>
                </a:lnTo>
              </a:path>
            </a:pathLst>
          </a:custGeom>
          <a:ln w="3175">
            <a:solidFill>
              <a:srgbClr val="636363"/>
            </a:solidFill>
            <a:prstDash val="sysDot"/>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71" name="object 70">
            <a:extLst>
              <a:ext uri="{FF2B5EF4-FFF2-40B4-BE49-F238E27FC236}">
                <a16:creationId xmlns:a16="http://schemas.microsoft.com/office/drawing/2014/main" id="{A02E0A78-05D3-4E5E-8D54-FDFBEBC22742}"/>
              </a:ext>
            </a:extLst>
          </p:cNvPr>
          <p:cNvSpPr/>
          <p:nvPr/>
        </p:nvSpPr>
        <p:spPr>
          <a:xfrm>
            <a:off x="8483727" y="5069398"/>
            <a:ext cx="3502660" cy="0"/>
          </a:xfrm>
          <a:custGeom>
            <a:avLst/>
            <a:gdLst/>
            <a:ahLst/>
            <a:cxnLst/>
            <a:rect l="l" t="t" r="r" b="b"/>
            <a:pathLst>
              <a:path w="3502659">
                <a:moveTo>
                  <a:pt x="0" y="0"/>
                </a:moveTo>
                <a:lnTo>
                  <a:pt x="3502279" y="0"/>
                </a:lnTo>
              </a:path>
            </a:pathLst>
          </a:custGeom>
          <a:ln w="3175">
            <a:solidFill>
              <a:srgbClr val="636363"/>
            </a:solidFill>
            <a:prstDash val="sysDot"/>
          </a:ln>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72" name="object 57">
            <a:extLst>
              <a:ext uri="{FF2B5EF4-FFF2-40B4-BE49-F238E27FC236}">
                <a16:creationId xmlns:a16="http://schemas.microsoft.com/office/drawing/2014/main" id="{A8EB3C7E-9931-4F8E-BA3B-B94D265734A4}"/>
              </a:ext>
            </a:extLst>
          </p:cNvPr>
          <p:cNvSpPr/>
          <p:nvPr/>
        </p:nvSpPr>
        <p:spPr>
          <a:xfrm>
            <a:off x="4990062" y="3020001"/>
            <a:ext cx="106299" cy="204088"/>
          </a:xfrm>
          <a:prstGeom prst="rect">
            <a:avLst/>
          </a:prstGeom>
          <a:blipFill>
            <a:blip r:embed="rId25" cstate="print"/>
            <a:stretch>
              <a:fillRect/>
            </a:stretch>
          </a:blip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75" name="Chevron 26">
            <a:extLst>
              <a:ext uri="{FF2B5EF4-FFF2-40B4-BE49-F238E27FC236}">
                <a16:creationId xmlns:a16="http://schemas.microsoft.com/office/drawing/2014/main" id="{40E115B7-738C-4053-8E3C-216C2556A175}"/>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dirty="0">
                <a:solidFill>
                  <a:schemeClr val="bg2"/>
                </a:solidFill>
                <a:latin typeface="EYInterstate"/>
                <a:sym typeface="EYInterstate Light" panose="02000506000000020004" pitchFamily="2" charset="0"/>
              </a:rPr>
              <a:t>Point of View</a:t>
            </a:r>
          </a:p>
        </p:txBody>
      </p:sp>
      <p:sp>
        <p:nvSpPr>
          <p:cNvPr id="3" name="TextBox 2">
            <a:extLst>
              <a:ext uri="{FF2B5EF4-FFF2-40B4-BE49-F238E27FC236}">
                <a16:creationId xmlns:a16="http://schemas.microsoft.com/office/drawing/2014/main" id="{6AC7EFB0-5EB1-418F-9DC1-9D865A92B0E9}"/>
              </a:ext>
            </a:extLst>
          </p:cNvPr>
          <p:cNvSpPr txBox="1"/>
          <p:nvPr/>
        </p:nvSpPr>
        <p:spPr>
          <a:xfrm>
            <a:off x="8981185" y="2138426"/>
            <a:ext cx="1546898" cy="221664"/>
          </a:xfrm>
          <a:prstGeom prst="rect">
            <a:avLst/>
          </a:prstGeom>
          <a:noFill/>
        </p:spPr>
        <p:txBody>
          <a:bodyPr wrap="none" lIns="0" tIns="36576" rIns="0" bIns="0" rtlCol="0">
            <a:spAutoFit/>
          </a:bodyPr>
          <a:lstStyle/>
          <a:p>
            <a:pPr algn="l">
              <a:lnSpc>
                <a:spcPct val="85000"/>
              </a:lnSpc>
              <a:spcAft>
                <a:spcPts val="600"/>
              </a:spcAft>
              <a:buClr>
                <a:schemeClr val="accent2"/>
              </a:buClr>
              <a:buSzPct val="70000"/>
            </a:pPr>
            <a:r>
              <a:rPr lang="en-US" sz="1400" b="1" dirty="0">
                <a:latin typeface="EY interstate light"/>
              </a:rPr>
              <a:t>Enabling Capabilities</a:t>
            </a:r>
          </a:p>
        </p:txBody>
      </p:sp>
      <p:sp>
        <p:nvSpPr>
          <p:cNvPr id="73" name="object 8">
            <a:extLst>
              <a:ext uri="{FF2B5EF4-FFF2-40B4-BE49-F238E27FC236}">
                <a16:creationId xmlns:a16="http://schemas.microsoft.com/office/drawing/2014/main" id="{01244CE4-9C06-42E3-A219-93DE1C334EBA}"/>
              </a:ext>
            </a:extLst>
          </p:cNvPr>
          <p:cNvSpPr/>
          <p:nvPr/>
        </p:nvSpPr>
        <p:spPr>
          <a:xfrm>
            <a:off x="8138665" y="4761482"/>
            <a:ext cx="65787" cy="644900"/>
          </a:xfrm>
          <a:custGeom>
            <a:avLst/>
            <a:gdLst/>
            <a:ahLst/>
            <a:cxnLst/>
            <a:rect l="l" t="t" r="r" b="b"/>
            <a:pathLst>
              <a:path w="76200" h="411479">
                <a:moveTo>
                  <a:pt x="25908" y="337607"/>
                </a:moveTo>
                <a:lnTo>
                  <a:pt x="23252" y="338141"/>
                </a:lnTo>
                <a:lnTo>
                  <a:pt x="11144" y="346297"/>
                </a:lnTo>
                <a:lnTo>
                  <a:pt x="2988" y="358405"/>
                </a:lnTo>
                <a:lnTo>
                  <a:pt x="0" y="373252"/>
                </a:lnTo>
                <a:lnTo>
                  <a:pt x="2988" y="388046"/>
                </a:lnTo>
                <a:lnTo>
                  <a:pt x="11144" y="400161"/>
                </a:lnTo>
                <a:lnTo>
                  <a:pt x="23252" y="408346"/>
                </a:lnTo>
                <a:lnTo>
                  <a:pt x="38100" y="411352"/>
                </a:lnTo>
                <a:lnTo>
                  <a:pt x="52947" y="408346"/>
                </a:lnTo>
                <a:lnTo>
                  <a:pt x="65055" y="400161"/>
                </a:lnTo>
                <a:lnTo>
                  <a:pt x="73211" y="388046"/>
                </a:lnTo>
                <a:lnTo>
                  <a:pt x="76200" y="373252"/>
                </a:lnTo>
                <a:lnTo>
                  <a:pt x="25908" y="373252"/>
                </a:lnTo>
                <a:lnTo>
                  <a:pt x="25908" y="337607"/>
                </a:lnTo>
                <a:close/>
              </a:path>
              <a:path w="76200" h="411479">
                <a:moveTo>
                  <a:pt x="38100" y="335152"/>
                </a:moveTo>
                <a:lnTo>
                  <a:pt x="25908" y="337607"/>
                </a:lnTo>
                <a:lnTo>
                  <a:pt x="25908" y="373252"/>
                </a:lnTo>
                <a:lnTo>
                  <a:pt x="50292" y="373252"/>
                </a:lnTo>
                <a:lnTo>
                  <a:pt x="50292" y="337607"/>
                </a:lnTo>
                <a:lnTo>
                  <a:pt x="38100" y="335152"/>
                </a:lnTo>
                <a:close/>
              </a:path>
              <a:path w="76200" h="411479">
                <a:moveTo>
                  <a:pt x="50292" y="337607"/>
                </a:moveTo>
                <a:lnTo>
                  <a:pt x="50292" y="373252"/>
                </a:lnTo>
                <a:lnTo>
                  <a:pt x="76200" y="373252"/>
                </a:lnTo>
                <a:lnTo>
                  <a:pt x="73211" y="358405"/>
                </a:lnTo>
                <a:lnTo>
                  <a:pt x="65055" y="346297"/>
                </a:lnTo>
                <a:lnTo>
                  <a:pt x="52947" y="338141"/>
                </a:lnTo>
                <a:lnTo>
                  <a:pt x="50292" y="337607"/>
                </a:lnTo>
                <a:close/>
              </a:path>
              <a:path w="76200" h="411479">
                <a:moveTo>
                  <a:pt x="25908" y="73745"/>
                </a:moveTo>
                <a:lnTo>
                  <a:pt x="25908" y="337607"/>
                </a:lnTo>
                <a:lnTo>
                  <a:pt x="38100" y="335152"/>
                </a:lnTo>
                <a:lnTo>
                  <a:pt x="50292" y="335152"/>
                </a:lnTo>
                <a:lnTo>
                  <a:pt x="50292" y="76200"/>
                </a:lnTo>
                <a:lnTo>
                  <a:pt x="38100" y="76200"/>
                </a:lnTo>
                <a:lnTo>
                  <a:pt x="25908" y="73745"/>
                </a:lnTo>
                <a:close/>
              </a:path>
              <a:path w="76200" h="411479">
                <a:moveTo>
                  <a:pt x="50292" y="335152"/>
                </a:moveTo>
                <a:lnTo>
                  <a:pt x="38100" y="335152"/>
                </a:lnTo>
                <a:lnTo>
                  <a:pt x="50292" y="337607"/>
                </a:lnTo>
                <a:lnTo>
                  <a:pt x="50292" y="335152"/>
                </a:lnTo>
                <a:close/>
              </a:path>
              <a:path w="76200" h="411479">
                <a:moveTo>
                  <a:pt x="50292" y="38100"/>
                </a:moveTo>
                <a:lnTo>
                  <a:pt x="25908" y="38100"/>
                </a:lnTo>
                <a:lnTo>
                  <a:pt x="25908" y="73745"/>
                </a:lnTo>
                <a:lnTo>
                  <a:pt x="38100" y="76200"/>
                </a:lnTo>
                <a:lnTo>
                  <a:pt x="50292" y="73745"/>
                </a:lnTo>
                <a:lnTo>
                  <a:pt x="50292" y="38100"/>
                </a:lnTo>
                <a:close/>
              </a:path>
              <a:path w="76200" h="411479">
                <a:moveTo>
                  <a:pt x="50292" y="73745"/>
                </a:moveTo>
                <a:lnTo>
                  <a:pt x="38100" y="76200"/>
                </a:lnTo>
                <a:lnTo>
                  <a:pt x="50292" y="76200"/>
                </a:lnTo>
                <a:lnTo>
                  <a:pt x="50292" y="73745"/>
                </a:lnTo>
                <a:close/>
              </a:path>
              <a:path w="76200" h="411479">
                <a:moveTo>
                  <a:pt x="38100" y="0"/>
                </a:moveTo>
                <a:lnTo>
                  <a:pt x="23252" y="2988"/>
                </a:lnTo>
                <a:lnTo>
                  <a:pt x="11144" y="11144"/>
                </a:lnTo>
                <a:lnTo>
                  <a:pt x="2988" y="23252"/>
                </a:lnTo>
                <a:lnTo>
                  <a:pt x="0" y="38100"/>
                </a:lnTo>
                <a:lnTo>
                  <a:pt x="2988" y="52947"/>
                </a:lnTo>
                <a:lnTo>
                  <a:pt x="11144" y="65055"/>
                </a:lnTo>
                <a:lnTo>
                  <a:pt x="23252" y="73211"/>
                </a:lnTo>
                <a:lnTo>
                  <a:pt x="25908" y="73745"/>
                </a:lnTo>
                <a:lnTo>
                  <a:pt x="25908" y="38100"/>
                </a:lnTo>
                <a:lnTo>
                  <a:pt x="76200" y="38100"/>
                </a:lnTo>
                <a:lnTo>
                  <a:pt x="73211" y="23252"/>
                </a:lnTo>
                <a:lnTo>
                  <a:pt x="65055" y="11144"/>
                </a:lnTo>
                <a:lnTo>
                  <a:pt x="52947" y="2988"/>
                </a:lnTo>
                <a:lnTo>
                  <a:pt x="38100" y="0"/>
                </a:lnTo>
                <a:close/>
              </a:path>
              <a:path w="76200" h="411479">
                <a:moveTo>
                  <a:pt x="76200" y="38100"/>
                </a:moveTo>
                <a:lnTo>
                  <a:pt x="50292" y="38100"/>
                </a:lnTo>
                <a:lnTo>
                  <a:pt x="50292" y="73745"/>
                </a:lnTo>
                <a:lnTo>
                  <a:pt x="52947" y="73211"/>
                </a:lnTo>
                <a:lnTo>
                  <a:pt x="65055" y="65055"/>
                </a:lnTo>
                <a:lnTo>
                  <a:pt x="73211" y="52947"/>
                </a:lnTo>
                <a:lnTo>
                  <a:pt x="76200" y="38100"/>
                </a:lnTo>
                <a:close/>
              </a:path>
            </a:pathLst>
          </a:custGeom>
          <a:solidFill>
            <a:schemeClr val="accent4">
              <a:lumMod val="90000"/>
            </a:schemeClr>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
        <p:nvSpPr>
          <p:cNvPr id="74" name="object 8">
            <a:extLst>
              <a:ext uri="{FF2B5EF4-FFF2-40B4-BE49-F238E27FC236}">
                <a16:creationId xmlns:a16="http://schemas.microsoft.com/office/drawing/2014/main" id="{6E1C0B25-2903-40E9-A0FD-8A09C3C96726}"/>
              </a:ext>
            </a:extLst>
          </p:cNvPr>
          <p:cNvSpPr/>
          <p:nvPr/>
        </p:nvSpPr>
        <p:spPr>
          <a:xfrm>
            <a:off x="8138665" y="3345457"/>
            <a:ext cx="65787" cy="644900"/>
          </a:xfrm>
          <a:custGeom>
            <a:avLst/>
            <a:gdLst/>
            <a:ahLst/>
            <a:cxnLst/>
            <a:rect l="l" t="t" r="r" b="b"/>
            <a:pathLst>
              <a:path w="76200" h="411479">
                <a:moveTo>
                  <a:pt x="25908" y="337607"/>
                </a:moveTo>
                <a:lnTo>
                  <a:pt x="23252" y="338141"/>
                </a:lnTo>
                <a:lnTo>
                  <a:pt x="11144" y="346297"/>
                </a:lnTo>
                <a:lnTo>
                  <a:pt x="2988" y="358405"/>
                </a:lnTo>
                <a:lnTo>
                  <a:pt x="0" y="373252"/>
                </a:lnTo>
                <a:lnTo>
                  <a:pt x="2988" y="388046"/>
                </a:lnTo>
                <a:lnTo>
                  <a:pt x="11144" y="400161"/>
                </a:lnTo>
                <a:lnTo>
                  <a:pt x="23252" y="408346"/>
                </a:lnTo>
                <a:lnTo>
                  <a:pt x="38100" y="411352"/>
                </a:lnTo>
                <a:lnTo>
                  <a:pt x="52947" y="408346"/>
                </a:lnTo>
                <a:lnTo>
                  <a:pt x="65055" y="400161"/>
                </a:lnTo>
                <a:lnTo>
                  <a:pt x="73211" y="388046"/>
                </a:lnTo>
                <a:lnTo>
                  <a:pt x="76200" y="373252"/>
                </a:lnTo>
                <a:lnTo>
                  <a:pt x="25908" y="373252"/>
                </a:lnTo>
                <a:lnTo>
                  <a:pt x="25908" y="337607"/>
                </a:lnTo>
                <a:close/>
              </a:path>
              <a:path w="76200" h="411479">
                <a:moveTo>
                  <a:pt x="38100" y="335152"/>
                </a:moveTo>
                <a:lnTo>
                  <a:pt x="25908" y="337607"/>
                </a:lnTo>
                <a:lnTo>
                  <a:pt x="25908" y="373252"/>
                </a:lnTo>
                <a:lnTo>
                  <a:pt x="50292" y="373252"/>
                </a:lnTo>
                <a:lnTo>
                  <a:pt x="50292" y="337607"/>
                </a:lnTo>
                <a:lnTo>
                  <a:pt x="38100" y="335152"/>
                </a:lnTo>
                <a:close/>
              </a:path>
              <a:path w="76200" h="411479">
                <a:moveTo>
                  <a:pt x="50292" y="337607"/>
                </a:moveTo>
                <a:lnTo>
                  <a:pt x="50292" y="373252"/>
                </a:lnTo>
                <a:lnTo>
                  <a:pt x="76200" y="373252"/>
                </a:lnTo>
                <a:lnTo>
                  <a:pt x="73211" y="358405"/>
                </a:lnTo>
                <a:lnTo>
                  <a:pt x="65055" y="346297"/>
                </a:lnTo>
                <a:lnTo>
                  <a:pt x="52947" y="338141"/>
                </a:lnTo>
                <a:lnTo>
                  <a:pt x="50292" y="337607"/>
                </a:lnTo>
                <a:close/>
              </a:path>
              <a:path w="76200" h="411479">
                <a:moveTo>
                  <a:pt x="25908" y="73745"/>
                </a:moveTo>
                <a:lnTo>
                  <a:pt x="25908" y="337607"/>
                </a:lnTo>
                <a:lnTo>
                  <a:pt x="38100" y="335152"/>
                </a:lnTo>
                <a:lnTo>
                  <a:pt x="50292" y="335152"/>
                </a:lnTo>
                <a:lnTo>
                  <a:pt x="50292" y="76200"/>
                </a:lnTo>
                <a:lnTo>
                  <a:pt x="38100" y="76200"/>
                </a:lnTo>
                <a:lnTo>
                  <a:pt x="25908" y="73745"/>
                </a:lnTo>
                <a:close/>
              </a:path>
              <a:path w="76200" h="411479">
                <a:moveTo>
                  <a:pt x="50292" y="335152"/>
                </a:moveTo>
                <a:lnTo>
                  <a:pt x="38100" y="335152"/>
                </a:lnTo>
                <a:lnTo>
                  <a:pt x="50292" y="337607"/>
                </a:lnTo>
                <a:lnTo>
                  <a:pt x="50292" y="335152"/>
                </a:lnTo>
                <a:close/>
              </a:path>
              <a:path w="76200" h="411479">
                <a:moveTo>
                  <a:pt x="50292" y="38100"/>
                </a:moveTo>
                <a:lnTo>
                  <a:pt x="25908" y="38100"/>
                </a:lnTo>
                <a:lnTo>
                  <a:pt x="25908" y="73745"/>
                </a:lnTo>
                <a:lnTo>
                  <a:pt x="38100" y="76200"/>
                </a:lnTo>
                <a:lnTo>
                  <a:pt x="50292" y="73745"/>
                </a:lnTo>
                <a:lnTo>
                  <a:pt x="50292" y="38100"/>
                </a:lnTo>
                <a:close/>
              </a:path>
              <a:path w="76200" h="411479">
                <a:moveTo>
                  <a:pt x="50292" y="73745"/>
                </a:moveTo>
                <a:lnTo>
                  <a:pt x="38100" y="76200"/>
                </a:lnTo>
                <a:lnTo>
                  <a:pt x="50292" y="76200"/>
                </a:lnTo>
                <a:lnTo>
                  <a:pt x="50292" y="73745"/>
                </a:lnTo>
                <a:close/>
              </a:path>
              <a:path w="76200" h="411479">
                <a:moveTo>
                  <a:pt x="38100" y="0"/>
                </a:moveTo>
                <a:lnTo>
                  <a:pt x="23252" y="2988"/>
                </a:lnTo>
                <a:lnTo>
                  <a:pt x="11144" y="11144"/>
                </a:lnTo>
                <a:lnTo>
                  <a:pt x="2988" y="23252"/>
                </a:lnTo>
                <a:lnTo>
                  <a:pt x="0" y="38100"/>
                </a:lnTo>
                <a:lnTo>
                  <a:pt x="2988" y="52947"/>
                </a:lnTo>
                <a:lnTo>
                  <a:pt x="11144" y="65055"/>
                </a:lnTo>
                <a:lnTo>
                  <a:pt x="23252" y="73211"/>
                </a:lnTo>
                <a:lnTo>
                  <a:pt x="25908" y="73745"/>
                </a:lnTo>
                <a:lnTo>
                  <a:pt x="25908" y="38100"/>
                </a:lnTo>
                <a:lnTo>
                  <a:pt x="76200" y="38100"/>
                </a:lnTo>
                <a:lnTo>
                  <a:pt x="73211" y="23252"/>
                </a:lnTo>
                <a:lnTo>
                  <a:pt x="65055" y="11144"/>
                </a:lnTo>
                <a:lnTo>
                  <a:pt x="52947" y="2988"/>
                </a:lnTo>
                <a:lnTo>
                  <a:pt x="38100" y="0"/>
                </a:lnTo>
                <a:close/>
              </a:path>
              <a:path w="76200" h="411479">
                <a:moveTo>
                  <a:pt x="76200" y="38100"/>
                </a:moveTo>
                <a:lnTo>
                  <a:pt x="50292" y="38100"/>
                </a:lnTo>
                <a:lnTo>
                  <a:pt x="50292" y="73745"/>
                </a:lnTo>
                <a:lnTo>
                  <a:pt x="52947" y="73211"/>
                </a:lnTo>
                <a:lnTo>
                  <a:pt x="65055" y="65055"/>
                </a:lnTo>
                <a:lnTo>
                  <a:pt x="73211" y="52947"/>
                </a:lnTo>
                <a:lnTo>
                  <a:pt x="76200" y="38100"/>
                </a:lnTo>
                <a:close/>
              </a:path>
            </a:pathLst>
          </a:custGeom>
          <a:solidFill>
            <a:schemeClr val="accent4">
              <a:lumMod val="90000"/>
            </a:schemeClr>
          </a:solidFill>
        </p:spPr>
        <p:txBody>
          <a:bodyPr wrap="square" lIns="0" tIns="0" rIns="0" bIns="0" rtlCol="0"/>
          <a:lstStyle/>
          <a:p>
            <a:pPr eaLnBrk="1" fontAlgn="auto" hangingPunct="1">
              <a:spcBef>
                <a:spcPts val="0"/>
              </a:spcBef>
              <a:spcAft>
                <a:spcPts val="0"/>
              </a:spcAft>
            </a:pPr>
            <a:endParaRPr dirty="0">
              <a:solidFill>
                <a:prstClr val="black"/>
              </a:solidFill>
              <a:latin typeface="Calibri"/>
              <a:ea typeface="+mn-ea"/>
              <a:cs typeface="+mn-cs"/>
            </a:endParaRPr>
          </a:p>
        </p:txBody>
      </p:sp>
    </p:spTree>
    <p:extLst>
      <p:ext uri="{BB962C8B-B14F-4D97-AF65-F5344CB8AC3E}">
        <p14:creationId xmlns:p14="http://schemas.microsoft.com/office/powerpoint/2010/main" val="33176655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E18547-CFF5-4113-9AF2-1BE93ACD31B1}"/>
              </a:ext>
            </a:extLst>
          </p:cNvPr>
          <p:cNvGraphicFramePr>
            <a:graphicFrameLocks noChangeAspect="1"/>
          </p:cNvGraphicFramePr>
          <p:nvPr>
            <p:custDataLst>
              <p:tags r:id="rId2"/>
            </p:custDataLst>
          </p:nvPr>
        </p:nvGraphicFramePr>
        <p:xfrm>
          <a:off x="1528763" y="1589"/>
          <a:ext cx="1588" cy="1588"/>
        </p:xfrm>
        <a:graphic>
          <a:graphicData uri="http://schemas.openxmlformats.org/presentationml/2006/ole">
            <mc:AlternateContent xmlns:mc="http://schemas.openxmlformats.org/markup-compatibility/2006">
              <mc:Choice xmlns:v="urn:schemas-microsoft-com:vml" Requires="v">
                <p:oleObj spid="_x0000_s223241" name="think-cell Slide" r:id="rId6" imgW="473" imgH="473" progId="TCLayout.ActiveDocument.1">
                  <p:embed/>
                </p:oleObj>
              </mc:Choice>
              <mc:Fallback>
                <p:oleObj name="think-cell Slide" r:id="rId6" imgW="473" imgH="473" progId="TCLayout.ActiveDocument.1">
                  <p:embed/>
                  <p:pic>
                    <p:nvPicPr>
                      <p:cNvPr id="5" name="Object 4" hidden="1">
                        <a:extLst>
                          <a:ext uri="{FF2B5EF4-FFF2-40B4-BE49-F238E27FC236}">
                            <a16:creationId xmlns:a16="http://schemas.microsoft.com/office/drawing/2014/main" id="{07E18547-CFF5-4113-9AF2-1BE93ACD31B1}"/>
                          </a:ext>
                        </a:extLst>
                      </p:cNvPr>
                      <p:cNvPicPr/>
                      <p:nvPr/>
                    </p:nvPicPr>
                    <p:blipFill>
                      <a:blip r:embed="rId7"/>
                      <a:stretch>
                        <a:fillRect/>
                      </a:stretch>
                    </p:blipFill>
                    <p:spPr>
                      <a:xfrm>
                        <a:off x="1528763" y="1589"/>
                        <a:ext cx="1588" cy="1588"/>
                      </a:xfrm>
                      <a:prstGeom prst="rect">
                        <a:avLst/>
                      </a:prstGeom>
                    </p:spPr>
                  </p:pic>
                </p:oleObj>
              </mc:Fallback>
            </mc:AlternateContent>
          </a:graphicData>
        </a:graphic>
      </p:graphicFrame>
      <p:sp>
        <p:nvSpPr>
          <p:cNvPr id="97" name="Rectangle 96" hidden="1">
            <a:extLst>
              <a:ext uri="{FF2B5EF4-FFF2-40B4-BE49-F238E27FC236}">
                <a16:creationId xmlns:a16="http://schemas.microsoft.com/office/drawing/2014/main" id="{89953834-FC86-40E6-AE0E-8430F4C7D839}"/>
              </a:ext>
            </a:extLst>
          </p:cNvPr>
          <p:cNvSpPr/>
          <p:nvPr>
            <p:custDataLst>
              <p:tags r:id="rId3"/>
            </p:custDataLst>
          </p:nvPr>
        </p:nvSpPr>
        <p:spPr>
          <a:xfrm>
            <a:off x="1527175" y="1"/>
            <a:ext cx="158750" cy="1587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70" rtl="0" eaLnBrk="1" fontAlgn="auto" latinLnBrk="0" hangingPunct="1">
              <a:lnSpc>
                <a:spcPts val="2400"/>
              </a:lnSpc>
              <a:spcBef>
                <a:spcPts val="0"/>
              </a:spcBef>
              <a:spcAft>
                <a:spcPts val="0"/>
              </a:spcAft>
              <a:buClrTx/>
              <a:buSzTx/>
              <a:buFontTx/>
              <a:buNone/>
              <a:tabLst/>
              <a:defRPr/>
            </a:pPr>
            <a:endParaRPr kumimoji="0" lang="en-US" sz="2177" b="1" i="0" u="none" strike="noStrike" kern="1200" cap="none" spc="0" normalizeH="0" baseline="0" noProof="0" dirty="0">
              <a:ln>
                <a:noFill/>
              </a:ln>
              <a:solidFill>
                <a:prstClr val="black"/>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276" name="Title 1">
            <a:extLst>
              <a:ext uri="{FF2B5EF4-FFF2-40B4-BE49-F238E27FC236}">
                <a16:creationId xmlns:a16="http://schemas.microsoft.com/office/drawing/2014/main" id="{7214BC5A-D7CD-48E8-AEC4-FCA640C239C7}"/>
              </a:ext>
            </a:extLst>
          </p:cNvPr>
          <p:cNvSpPr txBox="1">
            <a:spLocks/>
          </p:cNvSpPr>
          <p:nvPr/>
        </p:nvSpPr>
        <p:spPr>
          <a:xfrm>
            <a:off x="277429" y="84244"/>
            <a:ext cx="11700000" cy="354725"/>
          </a:xfrm>
          <a:prstGeom prst="rect">
            <a:avLst/>
          </a:prstGeom>
        </p:spPr>
        <p:txBody>
          <a:bodyPr vert="horz" lIns="0" tIns="0" rIns="0" bIns="0" rtlCol="0" anchor="t" anchorCtr="0">
            <a:noAutofit/>
          </a:bodyPr>
          <a:lstStyle>
            <a:lvl1pPr algn="l" defTabSz="1266737"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a:lstStyle>
          <a:p>
            <a:pPr marL="0" marR="0" lvl="0" indent="0" algn="l" defTabSz="1266696" rtl="0" eaLnBrk="1" fontAlgn="auto" latinLnBrk="0" hangingPunct="1">
              <a:lnSpc>
                <a:spcPct val="85000"/>
              </a:lnSpc>
              <a:spcBef>
                <a:spcPct val="0"/>
              </a:spcBef>
              <a:spcAft>
                <a:spcPts val="0"/>
              </a:spcAft>
              <a:buClrTx/>
              <a:buSzTx/>
              <a:buFontTx/>
              <a:buNone/>
              <a:tabLst/>
              <a:defRPr/>
            </a:pPr>
            <a:endParaRPr kumimoji="0" lang="en-US" sz="1800" b="1" i="0" u="none" strike="noStrike" kern="1200" cap="none" spc="0" normalizeH="0" baseline="0" noProof="0" dirty="0">
              <a:ln>
                <a:noFill/>
              </a:ln>
              <a:solidFill>
                <a:srgbClr val="646464"/>
              </a:solidFill>
              <a:effectLst/>
              <a:uLnTx/>
              <a:uFillTx/>
              <a:latin typeface="EYInterstate" panose="02000503020000020004" pitchFamily="2" charset="0"/>
              <a:ea typeface="+mj-ea"/>
              <a:cs typeface="Arial" pitchFamily="34" charset="0"/>
            </a:endParaRPr>
          </a:p>
        </p:txBody>
      </p:sp>
      <p:sp>
        <p:nvSpPr>
          <p:cNvPr id="2" name="Title 1">
            <a:extLst>
              <a:ext uri="{FF2B5EF4-FFF2-40B4-BE49-F238E27FC236}">
                <a16:creationId xmlns:a16="http://schemas.microsoft.com/office/drawing/2014/main" id="{B91F41DB-6207-4DED-A3E7-DF69C27142FD}"/>
              </a:ext>
            </a:extLst>
          </p:cNvPr>
          <p:cNvSpPr>
            <a:spLocks noGrp="1"/>
          </p:cNvSpPr>
          <p:nvPr>
            <p:ph type="title"/>
          </p:nvPr>
        </p:nvSpPr>
        <p:spPr>
          <a:xfrm>
            <a:off x="855875" y="551813"/>
            <a:ext cx="10992414" cy="672625"/>
          </a:xfrm>
        </p:spPr>
        <p:txBody>
          <a:bodyPr/>
          <a:lstStyle/>
          <a:p>
            <a:pPr defTabSz="1266696"/>
            <a:r>
              <a:rPr lang="en-US" dirty="0"/>
              <a:t>Our guiding principles for common, scalable, secured and consistent Data Platform would enable a plethora of advanced data capabilities</a:t>
            </a:r>
            <a:endParaRPr lang="en-US" dirty="0">
              <a:solidFill>
                <a:srgbClr val="646464"/>
              </a:solidFill>
            </a:endParaRPr>
          </a:p>
        </p:txBody>
      </p:sp>
      <p:sp>
        <p:nvSpPr>
          <p:cNvPr id="65" name="Shape 19585">
            <a:extLst>
              <a:ext uri="{FF2B5EF4-FFF2-40B4-BE49-F238E27FC236}">
                <a16:creationId xmlns:a16="http://schemas.microsoft.com/office/drawing/2014/main" id="{5E36FB62-A7C6-47A7-BF58-49D108E17322}"/>
              </a:ext>
            </a:extLst>
          </p:cNvPr>
          <p:cNvSpPr/>
          <p:nvPr/>
        </p:nvSpPr>
        <p:spPr>
          <a:xfrm>
            <a:off x="858330" y="2698783"/>
            <a:ext cx="1960315" cy="3533048"/>
          </a:xfrm>
          <a:prstGeom prst="roundRect">
            <a:avLst/>
          </a:prstGeom>
          <a:noFill/>
          <a:ln w="19050" cap="flat">
            <a:solidFill>
              <a:schemeClr val="accent2"/>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dirty="0">
              <a:ln>
                <a:noFill/>
              </a:ln>
              <a:solidFill>
                <a:srgbClr val="000000"/>
              </a:solidFill>
              <a:effectLst/>
              <a:uLnTx/>
              <a:uFillTx/>
              <a:latin typeface="Lato Light" panose="020F0502020204030203" pitchFamily="34" charset="0"/>
              <a:ea typeface="+mn-ea"/>
              <a:cs typeface="Arial" charset="0"/>
            </a:endParaRPr>
          </a:p>
        </p:txBody>
      </p:sp>
      <p:sp>
        <p:nvSpPr>
          <p:cNvPr id="226" name="Rectangle 225">
            <a:extLst>
              <a:ext uri="{FF2B5EF4-FFF2-40B4-BE49-F238E27FC236}">
                <a16:creationId xmlns:a16="http://schemas.microsoft.com/office/drawing/2014/main" id="{304E1A2B-A634-46D4-8393-192A797B5585}"/>
              </a:ext>
            </a:extLst>
          </p:cNvPr>
          <p:cNvSpPr/>
          <p:nvPr/>
        </p:nvSpPr>
        <p:spPr>
          <a:xfrm>
            <a:off x="963038" y="3026432"/>
            <a:ext cx="1741347" cy="1906932"/>
          </a:xfrm>
          <a:prstGeom prst="rect">
            <a:avLst/>
          </a:prstGeom>
        </p:spPr>
        <p:txBody>
          <a:bodyPr wrap="square">
            <a:spAutoFit/>
          </a:bodyPr>
          <a:lstStyle/>
          <a:p>
            <a:pPr marL="0" marR="0" lvl="0" indent="0" algn="l" defTabSz="829361" rtl="0" eaLnBrk="1" fontAlgn="base" latinLnBrk="0" hangingPunct="1">
              <a:lnSpc>
                <a:spcPct val="100000"/>
              </a:lnSpc>
              <a:spcBef>
                <a:spcPct val="0"/>
              </a:spcBef>
              <a:spcAft>
                <a:spcPts val="544"/>
              </a:spcAft>
              <a:buClr>
                <a:srgbClr val="FFE600"/>
              </a:buClr>
              <a:buSzPct val="80000"/>
              <a:buFontTx/>
              <a:buNone/>
              <a:tabLst/>
              <a:defRPr/>
            </a:pPr>
            <a:r>
              <a:rPr kumimoji="0" lang="en-AU" sz="1179" b="0" i="0" u="none" strike="noStrike" kern="1200" cap="none" spc="0" normalizeH="0" baseline="0" noProof="0" dirty="0">
                <a:ln>
                  <a:noFill/>
                </a:ln>
                <a:solidFill>
                  <a:srgbClr val="000000"/>
                </a:solidFill>
                <a:effectLst/>
                <a:uLnTx/>
                <a:uFillTx/>
                <a:latin typeface="EYInterstate Light" pitchFamily="2" charset="0"/>
                <a:ea typeface="+mn-ea"/>
                <a:cs typeface="Arial" charset="0"/>
              </a:rPr>
              <a:t>Supports batch and near real-time ingest frequency. </a:t>
            </a:r>
            <a:r>
              <a:rPr kumimoji="0" lang="en-US" sz="1179" b="0" i="0" u="none" strike="noStrike" kern="1200" cap="none" spc="0" normalizeH="0" baseline="0" noProof="0" dirty="0">
                <a:ln>
                  <a:noFill/>
                </a:ln>
                <a:solidFill>
                  <a:srgbClr val="000000"/>
                </a:solidFill>
                <a:effectLst/>
                <a:uLnTx/>
                <a:uFillTx/>
                <a:latin typeface="EYInterstate Light" pitchFamily="2" charset="0"/>
                <a:ea typeface="+mn-ea"/>
                <a:cs typeface="Arial" charset="0"/>
              </a:rPr>
              <a:t>Contains all master, reference, transactions, events and external data. </a:t>
            </a:r>
            <a:r>
              <a:rPr kumimoji="0" lang="en-AU" sz="1179" b="0" i="0" u="none" strike="noStrike" kern="1200" cap="none" spc="0" normalizeH="0" baseline="0" noProof="0" dirty="0">
                <a:ln>
                  <a:noFill/>
                </a:ln>
                <a:solidFill>
                  <a:srgbClr val="000000"/>
                </a:solidFill>
                <a:effectLst/>
                <a:uLnTx/>
                <a:uFillTx/>
                <a:latin typeface="EYInterstate Light" pitchFamily="2" charset="0"/>
                <a:ea typeface="+mn-ea"/>
                <a:cs typeface="Arial" charset="0"/>
              </a:rPr>
              <a:t>Multilayer data stores designed to support real time and batch use cases.</a:t>
            </a:r>
            <a:endParaRPr kumimoji="0" lang="en-US" sz="1179" b="0" i="0" u="none" strike="noStrike" kern="1200" cap="none" spc="0" normalizeH="0" baseline="0" noProof="0" dirty="0">
              <a:ln>
                <a:noFill/>
              </a:ln>
              <a:solidFill>
                <a:srgbClr val="000000"/>
              </a:solidFill>
              <a:effectLst/>
              <a:uLnTx/>
              <a:uFillTx/>
              <a:latin typeface="EYInterstate Light" pitchFamily="2" charset="0"/>
              <a:ea typeface="+mn-ea"/>
              <a:cs typeface="Arial" charset="0"/>
            </a:endParaRPr>
          </a:p>
        </p:txBody>
      </p:sp>
      <p:sp>
        <p:nvSpPr>
          <p:cNvPr id="4" name="Rectangle 3">
            <a:extLst>
              <a:ext uri="{FF2B5EF4-FFF2-40B4-BE49-F238E27FC236}">
                <a16:creationId xmlns:a16="http://schemas.microsoft.com/office/drawing/2014/main" id="{64C5AAC4-9D13-4231-A574-DF803CAA54AB}"/>
              </a:ext>
            </a:extLst>
          </p:cNvPr>
          <p:cNvSpPr/>
          <p:nvPr/>
        </p:nvSpPr>
        <p:spPr>
          <a:xfrm>
            <a:off x="1211155" y="2375903"/>
            <a:ext cx="1354851" cy="622606"/>
          </a:xfrm>
          <a:prstGeom prst="rect">
            <a:avLst/>
          </a:prstGeom>
          <a:solidFill>
            <a:schemeClr val="tx2"/>
          </a:solidFill>
        </p:spPr>
        <p:txBody>
          <a:bodyPr wrap="square">
            <a:sp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723" b="1" i="0" u="none" strike="noStrike" kern="1200" cap="none" spc="0" normalizeH="0" baseline="0" noProof="0" dirty="0">
                <a:ln>
                  <a:noFill/>
                </a:ln>
                <a:solidFill>
                  <a:srgbClr val="00A3AE"/>
                </a:solidFill>
                <a:effectLst/>
                <a:uLnTx/>
                <a:uFillTx/>
                <a:latin typeface="EYInterstate Light" pitchFamily="2" charset="0"/>
                <a:ea typeface="+mn-ea"/>
                <a:cs typeface="Arial" charset="0"/>
              </a:rPr>
              <a:t>Common </a:t>
            </a:r>
            <a:br>
              <a:rPr kumimoji="0" lang="en-US" sz="1723" b="1" i="0" u="none" strike="noStrike" kern="1200" cap="none" spc="0" normalizeH="0" baseline="0" noProof="0" dirty="0">
                <a:ln>
                  <a:noFill/>
                </a:ln>
                <a:solidFill>
                  <a:srgbClr val="00A3AE"/>
                </a:solidFill>
                <a:effectLst/>
                <a:uLnTx/>
                <a:uFillTx/>
                <a:latin typeface="EYInterstate Light" pitchFamily="2" charset="0"/>
                <a:ea typeface="+mn-ea"/>
                <a:cs typeface="Arial" charset="0"/>
              </a:rPr>
            </a:br>
            <a:r>
              <a:rPr kumimoji="0" lang="en-US" sz="1723" b="1" i="0" u="none" strike="noStrike" kern="1200" cap="none" spc="0" normalizeH="0" baseline="0" noProof="0" dirty="0">
                <a:ln>
                  <a:noFill/>
                </a:ln>
                <a:solidFill>
                  <a:srgbClr val="00A3AE"/>
                </a:solidFill>
                <a:effectLst/>
                <a:uLnTx/>
                <a:uFillTx/>
                <a:latin typeface="EYInterstate Light" pitchFamily="2" charset="0"/>
                <a:ea typeface="+mn-ea"/>
                <a:cs typeface="Arial" charset="0"/>
              </a:rPr>
              <a:t>Data Layer</a:t>
            </a:r>
          </a:p>
        </p:txBody>
      </p:sp>
      <p:sp>
        <p:nvSpPr>
          <p:cNvPr id="40" name="Shape 19585">
            <a:extLst>
              <a:ext uri="{FF2B5EF4-FFF2-40B4-BE49-F238E27FC236}">
                <a16:creationId xmlns:a16="http://schemas.microsoft.com/office/drawing/2014/main" id="{3793AD7C-939A-49C0-BE44-2963AA1C023E}"/>
              </a:ext>
            </a:extLst>
          </p:cNvPr>
          <p:cNvSpPr/>
          <p:nvPr/>
        </p:nvSpPr>
        <p:spPr>
          <a:xfrm>
            <a:off x="2982296" y="2698783"/>
            <a:ext cx="2076087" cy="3533048"/>
          </a:xfrm>
          <a:prstGeom prst="roundRect">
            <a:avLst/>
          </a:prstGeom>
          <a:noFill/>
          <a:ln w="19050" cap="flat">
            <a:solidFill>
              <a:schemeClr val="accent2"/>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dirty="0">
              <a:ln>
                <a:noFill/>
              </a:ln>
              <a:solidFill>
                <a:srgbClr val="000000"/>
              </a:solidFill>
              <a:effectLst/>
              <a:uLnTx/>
              <a:uFillTx/>
              <a:latin typeface="Lato Light" panose="020F0502020204030203" pitchFamily="34" charset="0"/>
              <a:ea typeface="+mn-ea"/>
              <a:cs typeface="Arial" charset="0"/>
            </a:endParaRPr>
          </a:p>
        </p:txBody>
      </p:sp>
      <p:sp>
        <p:nvSpPr>
          <p:cNvPr id="41" name="Rectangle 40">
            <a:extLst>
              <a:ext uri="{FF2B5EF4-FFF2-40B4-BE49-F238E27FC236}">
                <a16:creationId xmlns:a16="http://schemas.microsoft.com/office/drawing/2014/main" id="{6E6FC238-B070-441A-9E31-F94EDDAA3BBE}"/>
              </a:ext>
            </a:extLst>
          </p:cNvPr>
          <p:cNvSpPr/>
          <p:nvPr/>
        </p:nvSpPr>
        <p:spPr>
          <a:xfrm>
            <a:off x="3141130" y="3026432"/>
            <a:ext cx="1801481" cy="1725472"/>
          </a:xfrm>
          <a:prstGeom prst="rect">
            <a:avLst/>
          </a:prstGeom>
        </p:spPr>
        <p:txBody>
          <a:bodyPr wrap="square">
            <a:spAutoFit/>
          </a:bodyPr>
          <a:lstStyle/>
          <a:p>
            <a:pPr marL="0" marR="0" lvl="0" indent="0" algn="l" defTabSz="829361" rtl="0" eaLnBrk="1" fontAlgn="base" latinLnBrk="0" hangingPunct="1">
              <a:lnSpc>
                <a:spcPct val="100000"/>
              </a:lnSpc>
              <a:spcBef>
                <a:spcPct val="0"/>
              </a:spcBef>
              <a:spcAft>
                <a:spcPts val="544"/>
              </a:spcAft>
              <a:buClr>
                <a:srgbClr val="FFE600"/>
              </a:buClr>
              <a:buSzPct val="80000"/>
              <a:buFontTx/>
              <a:buNone/>
              <a:tabLst/>
              <a:defRPr/>
            </a:pPr>
            <a:r>
              <a:rPr kumimoji="0" lang="en-US" sz="1179" b="0" i="0" u="none" strike="noStrike" kern="1200" cap="none" spc="0" normalizeH="0" baseline="0" noProof="0" dirty="0">
                <a:ln>
                  <a:noFill/>
                </a:ln>
                <a:solidFill>
                  <a:srgbClr val="000000"/>
                </a:solidFill>
                <a:effectLst/>
                <a:uLnTx/>
                <a:uFillTx/>
                <a:latin typeface="EYInterstate Light" pitchFamily="2" charset="0"/>
                <a:ea typeface="+mn-ea"/>
                <a:cs typeface="Arial" charset="0"/>
              </a:rPr>
              <a:t>A consistent view and data definition for the curated data in the customer data store. Use the same column name for common data regardless of the application name or business function.</a:t>
            </a:r>
          </a:p>
        </p:txBody>
      </p:sp>
      <p:sp>
        <p:nvSpPr>
          <p:cNvPr id="42" name="Rectangle 41">
            <a:extLst>
              <a:ext uri="{FF2B5EF4-FFF2-40B4-BE49-F238E27FC236}">
                <a16:creationId xmlns:a16="http://schemas.microsoft.com/office/drawing/2014/main" id="{1130381E-C176-49B0-93DF-1A57BDB6077D}"/>
              </a:ext>
            </a:extLst>
          </p:cNvPr>
          <p:cNvSpPr/>
          <p:nvPr/>
        </p:nvSpPr>
        <p:spPr>
          <a:xfrm>
            <a:off x="3306223" y="2508500"/>
            <a:ext cx="1451563" cy="357470"/>
          </a:xfrm>
          <a:prstGeom prst="rect">
            <a:avLst/>
          </a:prstGeom>
          <a:solidFill>
            <a:schemeClr val="tx2"/>
          </a:solidFill>
        </p:spPr>
        <p:txBody>
          <a:bodyPr wrap="square">
            <a:sp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723" b="1" i="0" u="none" strike="noStrike" kern="1200" cap="none" spc="0" normalizeH="0" baseline="0" noProof="0" dirty="0">
                <a:ln>
                  <a:noFill/>
                </a:ln>
                <a:solidFill>
                  <a:srgbClr val="00A3AE"/>
                </a:solidFill>
                <a:effectLst/>
                <a:uLnTx/>
                <a:uFillTx/>
                <a:latin typeface="EYInterstate Light" pitchFamily="2" charset="0"/>
                <a:ea typeface="+mn-ea"/>
                <a:cs typeface="Arial" charset="0"/>
              </a:rPr>
              <a:t>Consistency </a:t>
            </a:r>
          </a:p>
        </p:txBody>
      </p:sp>
      <p:sp>
        <p:nvSpPr>
          <p:cNvPr id="44" name="Shape 19585">
            <a:extLst>
              <a:ext uri="{FF2B5EF4-FFF2-40B4-BE49-F238E27FC236}">
                <a16:creationId xmlns:a16="http://schemas.microsoft.com/office/drawing/2014/main" id="{BD5CB004-BEF0-4694-BB0C-7B8D73138D84}"/>
              </a:ext>
            </a:extLst>
          </p:cNvPr>
          <p:cNvSpPr/>
          <p:nvPr/>
        </p:nvSpPr>
        <p:spPr>
          <a:xfrm>
            <a:off x="5183852" y="2698783"/>
            <a:ext cx="2151399" cy="3533048"/>
          </a:xfrm>
          <a:prstGeom prst="roundRect">
            <a:avLst>
              <a:gd name="adj" fmla="val 16667"/>
            </a:avLst>
          </a:prstGeom>
          <a:noFill/>
          <a:ln w="19050" cap="flat">
            <a:solidFill>
              <a:schemeClr val="accent2"/>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dirty="0">
              <a:ln>
                <a:noFill/>
              </a:ln>
              <a:solidFill>
                <a:srgbClr val="000000"/>
              </a:solidFill>
              <a:effectLst/>
              <a:uLnTx/>
              <a:uFillTx/>
              <a:latin typeface="Lato Light" panose="020F0502020204030203" pitchFamily="34" charset="0"/>
              <a:ea typeface="+mn-ea"/>
              <a:cs typeface="Arial" charset="0"/>
            </a:endParaRPr>
          </a:p>
        </p:txBody>
      </p:sp>
      <p:sp>
        <p:nvSpPr>
          <p:cNvPr id="45" name="Rectangle 44">
            <a:extLst>
              <a:ext uri="{FF2B5EF4-FFF2-40B4-BE49-F238E27FC236}">
                <a16:creationId xmlns:a16="http://schemas.microsoft.com/office/drawing/2014/main" id="{0F36AB51-67E9-4C60-97B0-10EDF5B1CB88}"/>
              </a:ext>
            </a:extLst>
          </p:cNvPr>
          <p:cNvSpPr/>
          <p:nvPr/>
        </p:nvSpPr>
        <p:spPr>
          <a:xfrm>
            <a:off x="5333189" y="3026432"/>
            <a:ext cx="1859725" cy="1725472"/>
          </a:xfrm>
          <a:prstGeom prst="rect">
            <a:avLst/>
          </a:prstGeom>
        </p:spPr>
        <p:txBody>
          <a:bodyPr wrap="square">
            <a:spAutoFit/>
          </a:bodyPr>
          <a:lstStyle/>
          <a:p>
            <a:pPr marL="0" marR="0" lvl="0" indent="0" algn="l" defTabSz="829361" rtl="0" eaLnBrk="1" fontAlgn="base" latinLnBrk="0" hangingPunct="1">
              <a:lnSpc>
                <a:spcPct val="100000"/>
              </a:lnSpc>
              <a:spcBef>
                <a:spcPct val="0"/>
              </a:spcBef>
              <a:spcAft>
                <a:spcPts val="544"/>
              </a:spcAft>
              <a:buClr>
                <a:srgbClr val="FFE600"/>
              </a:buClr>
              <a:buSzPct val="80000"/>
              <a:buFontTx/>
              <a:buNone/>
              <a:tabLst/>
              <a:defRPr/>
            </a:pPr>
            <a:r>
              <a:rPr kumimoji="0" lang="en-US" sz="1179" b="0" i="0" u="none" strike="noStrike" kern="1200" cap="none" spc="0" normalizeH="0" baseline="0" noProof="0" dirty="0">
                <a:ln>
                  <a:noFill/>
                </a:ln>
                <a:solidFill>
                  <a:srgbClr val="000000"/>
                </a:solidFill>
                <a:effectLst/>
                <a:uLnTx/>
                <a:uFillTx/>
                <a:latin typeface="EYInterstate Light" pitchFamily="2" charset="0"/>
                <a:ea typeface="+mn-ea"/>
                <a:cs typeface="Arial" charset="0"/>
              </a:rPr>
              <a:t>Continuously merge, update and create analytics ready data structure, With this the data scientist would spend more time on analysis and building models rather than data preparation.</a:t>
            </a:r>
          </a:p>
        </p:txBody>
      </p:sp>
      <p:sp>
        <p:nvSpPr>
          <p:cNvPr id="46" name="Rectangle 45">
            <a:extLst>
              <a:ext uri="{FF2B5EF4-FFF2-40B4-BE49-F238E27FC236}">
                <a16:creationId xmlns:a16="http://schemas.microsoft.com/office/drawing/2014/main" id="{9E29CE1C-8E38-44C0-9E4B-17DDC8942B0C}"/>
              </a:ext>
            </a:extLst>
          </p:cNvPr>
          <p:cNvSpPr/>
          <p:nvPr/>
        </p:nvSpPr>
        <p:spPr>
          <a:xfrm>
            <a:off x="5380339" y="2375903"/>
            <a:ext cx="1737360" cy="622606"/>
          </a:xfrm>
          <a:prstGeom prst="rect">
            <a:avLst/>
          </a:prstGeom>
          <a:solidFill>
            <a:schemeClr val="tx2"/>
          </a:solidFill>
        </p:spPr>
        <p:txBody>
          <a:bodyPr wrap="square">
            <a:sp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723" b="1" i="0" u="none" strike="noStrike" kern="1200" cap="none" spc="0" normalizeH="0" baseline="0" noProof="0" dirty="0">
                <a:ln>
                  <a:noFill/>
                </a:ln>
                <a:solidFill>
                  <a:srgbClr val="00A3AE"/>
                </a:solidFill>
                <a:effectLst/>
                <a:uLnTx/>
                <a:uFillTx/>
                <a:latin typeface="EYInterstate Light" pitchFamily="2" charset="0"/>
                <a:ea typeface="+mn-ea"/>
                <a:cs typeface="Arial" charset="0"/>
              </a:rPr>
              <a:t>AI &amp; Analytics Ready</a:t>
            </a:r>
          </a:p>
        </p:txBody>
      </p:sp>
      <p:sp>
        <p:nvSpPr>
          <p:cNvPr id="48" name="Shape 19585">
            <a:extLst>
              <a:ext uri="{FF2B5EF4-FFF2-40B4-BE49-F238E27FC236}">
                <a16:creationId xmlns:a16="http://schemas.microsoft.com/office/drawing/2014/main" id="{075FE92C-ED05-413E-86A9-C2D9D6A283BA}"/>
              </a:ext>
            </a:extLst>
          </p:cNvPr>
          <p:cNvSpPr/>
          <p:nvPr/>
        </p:nvSpPr>
        <p:spPr>
          <a:xfrm>
            <a:off x="7453732" y="2698783"/>
            <a:ext cx="2040233" cy="3533048"/>
          </a:xfrm>
          <a:prstGeom prst="roundRect">
            <a:avLst/>
          </a:prstGeom>
          <a:noFill/>
          <a:ln w="19050" cap="flat">
            <a:solidFill>
              <a:schemeClr val="accent2"/>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dirty="0">
              <a:ln>
                <a:noFill/>
              </a:ln>
              <a:solidFill>
                <a:srgbClr val="000000"/>
              </a:solidFill>
              <a:effectLst/>
              <a:uLnTx/>
              <a:uFillTx/>
              <a:latin typeface="Lato Light" panose="020F0502020204030203" pitchFamily="34" charset="0"/>
              <a:ea typeface="+mn-ea"/>
              <a:cs typeface="Arial" charset="0"/>
            </a:endParaRPr>
          </a:p>
        </p:txBody>
      </p:sp>
      <p:sp>
        <p:nvSpPr>
          <p:cNvPr id="49" name="Rectangle 48">
            <a:extLst>
              <a:ext uri="{FF2B5EF4-FFF2-40B4-BE49-F238E27FC236}">
                <a16:creationId xmlns:a16="http://schemas.microsoft.com/office/drawing/2014/main" id="{F2B9853E-DFDA-4CA3-906F-CF49647181F5}"/>
              </a:ext>
            </a:extLst>
          </p:cNvPr>
          <p:cNvSpPr/>
          <p:nvPr/>
        </p:nvSpPr>
        <p:spPr>
          <a:xfrm>
            <a:off x="7494086" y="3026432"/>
            <a:ext cx="1961646" cy="1426673"/>
          </a:xfrm>
          <a:prstGeom prst="rect">
            <a:avLst/>
          </a:prstGeom>
        </p:spPr>
        <p:txBody>
          <a:bodyPr wrap="square">
            <a:spAutoFit/>
          </a:bodyPr>
          <a:lstStyle/>
          <a:p>
            <a:pPr defTabSz="829361" eaLnBrk="1" hangingPunct="1">
              <a:spcAft>
                <a:spcPts val="544"/>
              </a:spcAft>
              <a:buClr>
                <a:srgbClr val="FFE600"/>
              </a:buClr>
              <a:buSzPct val="80000"/>
              <a:defRPr/>
            </a:pPr>
            <a:r>
              <a:rPr lang="en-AU" sz="1179" dirty="0">
                <a:solidFill>
                  <a:srgbClr val="000000"/>
                </a:solidFill>
                <a:latin typeface="EYInterstate Light" pitchFamily="2" charset="0"/>
                <a:ea typeface="+mn-ea"/>
              </a:rPr>
              <a:t>Secure data transmission</a:t>
            </a:r>
            <a:br>
              <a:rPr lang="en-AU" sz="1179" dirty="0">
                <a:solidFill>
                  <a:srgbClr val="000000"/>
                </a:solidFill>
                <a:latin typeface="EYInterstate Light" pitchFamily="2" charset="0"/>
                <a:ea typeface="+mn-ea"/>
              </a:rPr>
            </a:br>
            <a:r>
              <a:rPr lang="en-AU" sz="1179" dirty="0">
                <a:solidFill>
                  <a:srgbClr val="000000"/>
                </a:solidFill>
                <a:latin typeface="EYInterstate Light" pitchFamily="2" charset="0"/>
                <a:ea typeface="+mn-ea"/>
              </a:rPr>
              <a:t>and scalable data protection. </a:t>
            </a:r>
          </a:p>
          <a:p>
            <a:pPr defTabSz="829361" eaLnBrk="1" hangingPunct="1">
              <a:spcAft>
                <a:spcPts val="544"/>
              </a:spcAft>
              <a:buClr>
                <a:srgbClr val="FFE600"/>
              </a:buClr>
              <a:buSzPct val="80000"/>
              <a:defRPr/>
            </a:pPr>
            <a:r>
              <a:rPr lang="en-AU" sz="1179" dirty="0">
                <a:solidFill>
                  <a:srgbClr val="000000"/>
                </a:solidFill>
                <a:latin typeface="EYInterstate Light" pitchFamily="2" charset="0"/>
                <a:ea typeface="+mn-ea"/>
              </a:rPr>
              <a:t>Data governance enabled with metadata automation and data quality rules. </a:t>
            </a:r>
          </a:p>
        </p:txBody>
      </p:sp>
      <p:sp>
        <p:nvSpPr>
          <p:cNvPr id="50" name="Rectangle 49">
            <a:extLst>
              <a:ext uri="{FF2B5EF4-FFF2-40B4-BE49-F238E27FC236}">
                <a16:creationId xmlns:a16="http://schemas.microsoft.com/office/drawing/2014/main" id="{2BE857C6-A9CE-41A1-B60E-F28E7EEDB4EE}"/>
              </a:ext>
            </a:extLst>
          </p:cNvPr>
          <p:cNvSpPr/>
          <p:nvPr/>
        </p:nvSpPr>
        <p:spPr>
          <a:xfrm>
            <a:off x="7744732" y="2375903"/>
            <a:ext cx="1459509" cy="622606"/>
          </a:xfrm>
          <a:prstGeom prst="rect">
            <a:avLst/>
          </a:prstGeom>
          <a:solidFill>
            <a:schemeClr val="tx2"/>
          </a:solidFill>
        </p:spPr>
        <p:txBody>
          <a:bodyPr wrap="square">
            <a:sp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723" b="1" i="0" u="none" strike="noStrike" kern="1200" cap="none" spc="0" normalizeH="0" baseline="0" noProof="0" dirty="0">
                <a:ln>
                  <a:noFill/>
                </a:ln>
                <a:solidFill>
                  <a:srgbClr val="00A3AE"/>
                </a:solidFill>
                <a:effectLst/>
                <a:uLnTx/>
                <a:uFillTx/>
                <a:latin typeface="EYInterstate Light" pitchFamily="2" charset="0"/>
                <a:ea typeface="+mn-ea"/>
                <a:cs typeface="Arial" charset="0"/>
              </a:rPr>
              <a:t>Secured and Governed</a:t>
            </a:r>
          </a:p>
        </p:txBody>
      </p:sp>
      <p:sp>
        <p:nvSpPr>
          <p:cNvPr id="58" name="Shape 19585">
            <a:extLst>
              <a:ext uri="{FF2B5EF4-FFF2-40B4-BE49-F238E27FC236}">
                <a16:creationId xmlns:a16="http://schemas.microsoft.com/office/drawing/2014/main" id="{FAABD820-A218-4DF7-BE70-DBDECB3E7A19}"/>
              </a:ext>
            </a:extLst>
          </p:cNvPr>
          <p:cNvSpPr/>
          <p:nvPr/>
        </p:nvSpPr>
        <p:spPr>
          <a:xfrm>
            <a:off x="9640556" y="2698783"/>
            <a:ext cx="2040233" cy="3533048"/>
          </a:xfrm>
          <a:prstGeom prst="roundRect">
            <a:avLst/>
          </a:prstGeom>
          <a:noFill/>
          <a:ln w="19050" cap="flat">
            <a:solidFill>
              <a:schemeClr val="accent2"/>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dirty="0">
              <a:ln>
                <a:noFill/>
              </a:ln>
              <a:solidFill>
                <a:srgbClr val="000000"/>
              </a:solidFill>
              <a:effectLst/>
              <a:uLnTx/>
              <a:uFillTx/>
              <a:latin typeface="Lato Light" panose="020F0502020204030203" pitchFamily="34" charset="0"/>
              <a:ea typeface="+mn-ea"/>
              <a:cs typeface="Arial" charset="0"/>
            </a:endParaRPr>
          </a:p>
        </p:txBody>
      </p:sp>
      <p:sp>
        <p:nvSpPr>
          <p:cNvPr id="59" name="Rectangle 58">
            <a:extLst>
              <a:ext uri="{FF2B5EF4-FFF2-40B4-BE49-F238E27FC236}">
                <a16:creationId xmlns:a16="http://schemas.microsoft.com/office/drawing/2014/main" id="{789444C9-C8C2-4257-8997-5E58D43FD027}"/>
              </a:ext>
            </a:extLst>
          </p:cNvPr>
          <p:cNvSpPr/>
          <p:nvPr/>
        </p:nvSpPr>
        <p:spPr>
          <a:xfrm>
            <a:off x="9760479" y="3026432"/>
            <a:ext cx="1881398" cy="2515432"/>
          </a:xfrm>
          <a:prstGeom prst="rect">
            <a:avLst/>
          </a:prstGeom>
        </p:spPr>
        <p:txBody>
          <a:bodyPr wrap="square">
            <a:spAutoFit/>
          </a:bodyPr>
          <a:lstStyle/>
          <a:p>
            <a:pPr defTabSz="829361" eaLnBrk="1" hangingPunct="1">
              <a:spcAft>
                <a:spcPts val="544"/>
              </a:spcAft>
              <a:buClr>
                <a:srgbClr val="FFE600"/>
              </a:buClr>
              <a:buSzPct val="80000"/>
            </a:pPr>
            <a:r>
              <a:rPr lang="en-US" sz="1179" dirty="0">
                <a:solidFill>
                  <a:srgbClr val="000000"/>
                </a:solidFill>
                <a:latin typeface="EYInterstate Light" pitchFamily="2" charset="0"/>
                <a:ea typeface="+mn-ea"/>
              </a:rPr>
              <a:t>Forward compatibility characteristic enables our proposed system to accept input intended for a later version of itself. </a:t>
            </a:r>
          </a:p>
          <a:p>
            <a:pPr defTabSz="829361" eaLnBrk="1" hangingPunct="1">
              <a:spcAft>
                <a:spcPts val="544"/>
              </a:spcAft>
              <a:buClr>
                <a:srgbClr val="FFE600"/>
              </a:buClr>
              <a:buSzPct val="80000"/>
            </a:pPr>
            <a:r>
              <a:rPr lang="en-US" sz="1179" dirty="0">
                <a:solidFill>
                  <a:srgbClr val="000000"/>
                </a:solidFill>
                <a:latin typeface="EYInterstate Light" pitchFamily="2" charset="0"/>
                <a:ea typeface="+mn-ea"/>
              </a:rPr>
              <a:t>The proposed solution will be crafted to ensure that the infrastructure services can later be orchestrated and automated quickly to meet business demands.</a:t>
            </a:r>
          </a:p>
        </p:txBody>
      </p:sp>
      <p:sp>
        <p:nvSpPr>
          <p:cNvPr id="60" name="Rectangle 59">
            <a:extLst>
              <a:ext uri="{FF2B5EF4-FFF2-40B4-BE49-F238E27FC236}">
                <a16:creationId xmlns:a16="http://schemas.microsoft.com/office/drawing/2014/main" id="{AF8A3079-B12C-4877-B180-FF3EDE19E1D9}"/>
              </a:ext>
            </a:extLst>
          </p:cNvPr>
          <p:cNvSpPr/>
          <p:nvPr/>
        </p:nvSpPr>
        <p:spPr>
          <a:xfrm>
            <a:off x="9941053" y="2375903"/>
            <a:ext cx="1459509" cy="622606"/>
          </a:xfrm>
          <a:prstGeom prst="rect">
            <a:avLst/>
          </a:prstGeom>
          <a:solidFill>
            <a:schemeClr val="tx2"/>
          </a:solidFill>
        </p:spPr>
        <p:txBody>
          <a:bodyPr wrap="square">
            <a:sp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723" b="1" i="0" u="none" strike="noStrike" kern="1200" cap="none" spc="0" normalizeH="0" baseline="0" noProof="0" dirty="0">
                <a:ln>
                  <a:noFill/>
                </a:ln>
                <a:solidFill>
                  <a:srgbClr val="00A3AE"/>
                </a:solidFill>
                <a:effectLst/>
                <a:uLnTx/>
                <a:uFillTx/>
                <a:latin typeface="EYInterstate Light" pitchFamily="2" charset="0"/>
                <a:ea typeface="+mn-ea"/>
                <a:cs typeface="Arial" charset="0"/>
              </a:rPr>
              <a:t>Forward Compatible</a:t>
            </a:r>
          </a:p>
        </p:txBody>
      </p:sp>
      <p:pic>
        <p:nvPicPr>
          <p:cNvPr id="6" name="Graphic 5">
            <a:extLst>
              <a:ext uri="{FF2B5EF4-FFF2-40B4-BE49-F238E27FC236}">
                <a16:creationId xmlns:a16="http://schemas.microsoft.com/office/drawing/2014/main" id="{8381175F-213A-48A2-B1CF-45E1565181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44613" y="1474692"/>
            <a:ext cx="822960" cy="822960"/>
          </a:xfrm>
          <a:prstGeom prst="rect">
            <a:avLst/>
          </a:prstGeom>
        </p:spPr>
      </p:pic>
      <p:pic>
        <p:nvPicPr>
          <p:cNvPr id="8" name="Graphic 7">
            <a:extLst>
              <a:ext uri="{FF2B5EF4-FFF2-40B4-BE49-F238E27FC236}">
                <a16:creationId xmlns:a16="http://schemas.microsoft.com/office/drawing/2014/main" id="{ACE9477A-2357-41CC-8DB7-BCCECAF471F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01934" y="1474692"/>
            <a:ext cx="822960" cy="822960"/>
          </a:xfrm>
          <a:prstGeom prst="rect">
            <a:avLst/>
          </a:prstGeom>
        </p:spPr>
      </p:pic>
      <p:pic>
        <p:nvPicPr>
          <p:cNvPr id="10" name="Graphic 9">
            <a:extLst>
              <a:ext uri="{FF2B5EF4-FFF2-40B4-BE49-F238E27FC236}">
                <a16:creationId xmlns:a16="http://schemas.microsoft.com/office/drawing/2014/main" id="{6A29D152-84DB-4DEA-A8E7-545E469BF8F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54875" y="1474692"/>
            <a:ext cx="822960" cy="822960"/>
          </a:xfrm>
          <a:prstGeom prst="rect">
            <a:avLst/>
          </a:prstGeom>
        </p:spPr>
      </p:pic>
      <p:pic>
        <p:nvPicPr>
          <p:cNvPr id="12" name="Graphic 11">
            <a:extLst>
              <a:ext uri="{FF2B5EF4-FFF2-40B4-BE49-F238E27FC236}">
                <a16:creationId xmlns:a16="http://schemas.microsoft.com/office/drawing/2014/main" id="{D70A230C-E168-4C0D-9547-A33CBE1817B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594386" y="1474692"/>
            <a:ext cx="822960" cy="822960"/>
          </a:xfrm>
          <a:prstGeom prst="rect">
            <a:avLst/>
          </a:prstGeom>
        </p:spPr>
      </p:pic>
      <p:pic>
        <p:nvPicPr>
          <p:cNvPr id="14" name="Graphic 13">
            <a:extLst>
              <a:ext uri="{FF2B5EF4-FFF2-40B4-BE49-F238E27FC236}">
                <a16:creationId xmlns:a16="http://schemas.microsoft.com/office/drawing/2014/main" id="{56A95DC4-860E-4AD0-AC2C-939A9DC3AE0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392726" y="1474692"/>
            <a:ext cx="822960" cy="822960"/>
          </a:xfrm>
          <a:prstGeom prst="rect">
            <a:avLst/>
          </a:prstGeom>
        </p:spPr>
      </p:pic>
      <p:sp>
        <p:nvSpPr>
          <p:cNvPr id="27" name="Chevron 26">
            <a:extLst>
              <a:ext uri="{FF2B5EF4-FFF2-40B4-BE49-F238E27FC236}">
                <a16:creationId xmlns:a16="http://schemas.microsoft.com/office/drawing/2014/main" id="{9A9CCA1C-8187-4147-95EE-7488F83D69EF}"/>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46464"/>
                </a:solidFill>
                <a:effectLst/>
                <a:uLnTx/>
                <a:uFillTx/>
                <a:latin typeface="EYInterstate"/>
                <a:cs typeface="Arial" charset="0"/>
                <a:sym typeface="EYInterstate Light" panose="02000506000000020004" pitchFamily="2" charset="0"/>
              </a:rPr>
              <a:t>Guiding Principles</a:t>
            </a:r>
          </a:p>
        </p:txBody>
      </p:sp>
    </p:spTree>
    <p:extLst>
      <p:ext uri="{BB962C8B-B14F-4D97-AF65-F5344CB8AC3E}">
        <p14:creationId xmlns:p14="http://schemas.microsoft.com/office/powerpoint/2010/main" val="1916953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5F052-483F-4736-9C28-6FAD1E31E297}"/>
              </a:ext>
            </a:extLst>
          </p:cNvPr>
          <p:cNvSpPr>
            <a:spLocks noGrp="1"/>
          </p:cNvSpPr>
          <p:nvPr>
            <p:ph type="title"/>
          </p:nvPr>
        </p:nvSpPr>
        <p:spPr/>
        <p:txBody>
          <a:bodyPr/>
          <a:lstStyle/>
          <a:p>
            <a:r>
              <a:rPr lang="en-US" dirty="0">
                <a:latin typeface="+mj-lt"/>
              </a:rPr>
              <a:t>We will bring our Next Generation Data Platform Architecture &amp; Framework to accelerate the assessment of your current Group IT / AIAT Roadmap Standard  </a:t>
            </a:r>
          </a:p>
        </p:txBody>
      </p:sp>
      <p:sp>
        <p:nvSpPr>
          <p:cNvPr id="3" name="Rectangle 2">
            <a:extLst>
              <a:ext uri="{FF2B5EF4-FFF2-40B4-BE49-F238E27FC236}">
                <a16:creationId xmlns:a16="http://schemas.microsoft.com/office/drawing/2014/main" id="{F6007EE1-E32A-49FC-91BB-7C7ACE2472ED}"/>
              </a:ext>
            </a:extLst>
          </p:cNvPr>
          <p:cNvSpPr/>
          <p:nvPr/>
        </p:nvSpPr>
        <p:spPr>
          <a:xfrm>
            <a:off x="740639" y="1722882"/>
            <a:ext cx="897610" cy="1371345"/>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j-lt"/>
              <a:ea typeface="+mn-ea"/>
              <a:cs typeface="+mn-cs"/>
            </a:endParaRPr>
          </a:p>
        </p:txBody>
      </p:sp>
      <p:sp>
        <p:nvSpPr>
          <p:cNvPr id="4" name="object 7">
            <a:extLst>
              <a:ext uri="{FF2B5EF4-FFF2-40B4-BE49-F238E27FC236}">
                <a16:creationId xmlns:a16="http://schemas.microsoft.com/office/drawing/2014/main" id="{EFE75339-B485-40A3-ABC1-BC6F3017C511}"/>
              </a:ext>
            </a:extLst>
          </p:cNvPr>
          <p:cNvSpPr/>
          <p:nvPr/>
        </p:nvSpPr>
        <p:spPr>
          <a:xfrm>
            <a:off x="3515232" y="6361569"/>
            <a:ext cx="815975" cy="228600"/>
          </a:xfrm>
          <a:custGeom>
            <a:avLst/>
            <a:gdLst/>
            <a:ahLst/>
            <a:cxnLst/>
            <a:rect l="l" t="t" r="r" b="b"/>
            <a:pathLst>
              <a:path w="815975" h="228600">
                <a:moveTo>
                  <a:pt x="0" y="228600"/>
                </a:moveTo>
                <a:lnTo>
                  <a:pt x="815479" y="228600"/>
                </a:lnTo>
                <a:lnTo>
                  <a:pt x="815479" y="0"/>
                </a:lnTo>
                <a:lnTo>
                  <a:pt x="0" y="0"/>
                </a:lnTo>
                <a:lnTo>
                  <a:pt x="0" y="228600"/>
                </a:lnTo>
                <a:close/>
              </a:path>
            </a:pathLst>
          </a:custGeom>
          <a:solidFill>
            <a:srgbClr val="EBEBEB"/>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5" name="object 8">
            <a:extLst>
              <a:ext uri="{FF2B5EF4-FFF2-40B4-BE49-F238E27FC236}">
                <a16:creationId xmlns:a16="http://schemas.microsoft.com/office/drawing/2014/main" id="{D877EA85-6E5F-41E4-A53F-C48704C38A62}"/>
              </a:ext>
            </a:extLst>
          </p:cNvPr>
          <p:cNvSpPr/>
          <p:nvPr/>
        </p:nvSpPr>
        <p:spPr>
          <a:xfrm>
            <a:off x="4330699" y="6361569"/>
            <a:ext cx="955675" cy="228600"/>
          </a:xfrm>
          <a:custGeom>
            <a:avLst/>
            <a:gdLst/>
            <a:ahLst/>
            <a:cxnLst/>
            <a:rect l="l" t="t" r="r" b="b"/>
            <a:pathLst>
              <a:path w="955675" h="228600">
                <a:moveTo>
                  <a:pt x="0" y="228600"/>
                </a:moveTo>
                <a:lnTo>
                  <a:pt x="955128" y="228600"/>
                </a:lnTo>
                <a:lnTo>
                  <a:pt x="955128" y="0"/>
                </a:lnTo>
                <a:lnTo>
                  <a:pt x="0" y="0"/>
                </a:lnTo>
                <a:lnTo>
                  <a:pt x="0" y="228600"/>
                </a:lnTo>
                <a:close/>
              </a:path>
            </a:pathLst>
          </a:custGeom>
          <a:solidFill>
            <a:srgbClr val="EBEBEB"/>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6" name="object 9">
            <a:extLst>
              <a:ext uri="{FF2B5EF4-FFF2-40B4-BE49-F238E27FC236}">
                <a16:creationId xmlns:a16="http://schemas.microsoft.com/office/drawing/2014/main" id="{8FBF8F84-B255-444B-B491-048E0C583B3A}"/>
              </a:ext>
            </a:extLst>
          </p:cNvPr>
          <p:cNvSpPr/>
          <p:nvPr/>
        </p:nvSpPr>
        <p:spPr>
          <a:xfrm>
            <a:off x="5285867" y="6361569"/>
            <a:ext cx="1487805" cy="228600"/>
          </a:xfrm>
          <a:custGeom>
            <a:avLst/>
            <a:gdLst/>
            <a:ahLst/>
            <a:cxnLst/>
            <a:rect l="l" t="t" r="r" b="b"/>
            <a:pathLst>
              <a:path w="1487804" h="228600">
                <a:moveTo>
                  <a:pt x="0" y="228600"/>
                </a:moveTo>
                <a:lnTo>
                  <a:pt x="1487297" y="228600"/>
                </a:lnTo>
                <a:lnTo>
                  <a:pt x="1487297" y="0"/>
                </a:lnTo>
                <a:lnTo>
                  <a:pt x="0" y="0"/>
                </a:lnTo>
                <a:lnTo>
                  <a:pt x="0" y="228600"/>
                </a:lnTo>
                <a:close/>
              </a:path>
            </a:pathLst>
          </a:custGeom>
          <a:solidFill>
            <a:srgbClr val="EBEBEB"/>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7" name="object 10">
            <a:extLst>
              <a:ext uri="{FF2B5EF4-FFF2-40B4-BE49-F238E27FC236}">
                <a16:creationId xmlns:a16="http://schemas.microsoft.com/office/drawing/2014/main" id="{61B1D817-61FF-4F7A-A898-6B5F3D8DD670}"/>
              </a:ext>
            </a:extLst>
          </p:cNvPr>
          <p:cNvSpPr/>
          <p:nvPr/>
        </p:nvSpPr>
        <p:spPr>
          <a:xfrm>
            <a:off x="6773163" y="6361569"/>
            <a:ext cx="941705" cy="228600"/>
          </a:xfrm>
          <a:custGeom>
            <a:avLst/>
            <a:gdLst/>
            <a:ahLst/>
            <a:cxnLst/>
            <a:rect l="l" t="t" r="r" b="b"/>
            <a:pathLst>
              <a:path w="941704" h="228600">
                <a:moveTo>
                  <a:pt x="0" y="228600"/>
                </a:moveTo>
                <a:lnTo>
                  <a:pt x="941489" y="228600"/>
                </a:lnTo>
                <a:lnTo>
                  <a:pt x="941489" y="0"/>
                </a:lnTo>
                <a:lnTo>
                  <a:pt x="0" y="0"/>
                </a:lnTo>
                <a:lnTo>
                  <a:pt x="0" y="228600"/>
                </a:lnTo>
                <a:close/>
              </a:path>
            </a:pathLst>
          </a:custGeom>
          <a:solidFill>
            <a:srgbClr val="EBEBEB"/>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8" name="object 11">
            <a:extLst>
              <a:ext uri="{FF2B5EF4-FFF2-40B4-BE49-F238E27FC236}">
                <a16:creationId xmlns:a16="http://schemas.microsoft.com/office/drawing/2014/main" id="{93C27987-DDA8-424A-B973-250433B677E9}"/>
              </a:ext>
            </a:extLst>
          </p:cNvPr>
          <p:cNvSpPr/>
          <p:nvPr/>
        </p:nvSpPr>
        <p:spPr>
          <a:xfrm>
            <a:off x="7714614" y="6361569"/>
            <a:ext cx="1816735" cy="228600"/>
          </a:xfrm>
          <a:custGeom>
            <a:avLst/>
            <a:gdLst/>
            <a:ahLst/>
            <a:cxnLst/>
            <a:rect l="l" t="t" r="r" b="b"/>
            <a:pathLst>
              <a:path w="1816734" h="228600">
                <a:moveTo>
                  <a:pt x="0" y="228600"/>
                </a:moveTo>
                <a:lnTo>
                  <a:pt x="1816735" y="228600"/>
                </a:lnTo>
                <a:lnTo>
                  <a:pt x="1816735" y="0"/>
                </a:lnTo>
                <a:lnTo>
                  <a:pt x="0" y="0"/>
                </a:lnTo>
                <a:lnTo>
                  <a:pt x="0" y="228600"/>
                </a:lnTo>
                <a:close/>
              </a:path>
            </a:pathLst>
          </a:custGeom>
          <a:solidFill>
            <a:srgbClr val="EBEBEB"/>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9" name="object 12">
            <a:extLst>
              <a:ext uri="{FF2B5EF4-FFF2-40B4-BE49-F238E27FC236}">
                <a16:creationId xmlns:a16="http://schemas.microsoft.com/office/drawing/2014/main" id="{03358DFA-8E93-4A01-9EFC-8E59D450FE42}"/>
              </a:ext>
            </a:extLst>
          </p:cNvPr>
          <p:cNvSpPr/>
          <p:nvPr/>
        </p:nvSpPr>
        <p:spPr>
          <a:xfrm>
            <a:off x="3101733" y="6361569"/>
            <a:ext cx="6436360" cy="0"/>
          </a:xfrm>
          <a:custGeom>
            <a:avLst/>
            <a:gdLst/>
            <a:ahLst/>
            <a:cxnLst/>
            <a:rect l="l" t="t" r="r" b="b"/>
            <a:pathLst>
              <a:path w="6436359">
                <a:moveTo>
                  <a:pt x="0" y="0"/>
                </a:moveTo>
                <a:lnTo>
                  <a:pt x="6435966" y="0"/>
                </a:lnTo>
              </a:path>
            </a:pathLst>
          </a:custGeom>
          <a:ln w="12700">
            <a:solidFill>
              <a:srgbClr val="000000"/>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10" name="object 13">
            <a:extLst>
              <a:ext uri="{FF2B5EF4-FFF2-40B4-BE49-F238E27FC236}">
                <a16:creationId xmlns:a16="http://schemas.microsoft.com/office/drawing/2014/main" id="{4625809D-4E7D-4EC8-B9A7-D25F7F89D244}"/>
              </a:ext>
            </a:extLst>
          </p:cNvPr>
          <p:cNvSpPr/>
          <p:nvPr/>
        </p:nvSpPr>
        <p:spPr>
          <a:xfrm>
            <a:off x="3101733" y="6590169"/>
            <a:ext cx="6436360" cy="0"/>
          </a:xfrm>
          <a:custGeom>
            <a:avLst/>
            <a:gdLst/>
            <a:ahLst/>
            <a:cxnLst/>
            <a:rect l="l" t="t" r="r" b="b"/>
            <a:pathLst>
              <a:path w="6436359">
                <a:moveTo>
                  <a:pt x="0" y="0"/>
                </a:moveTo>
                <a:lnTo>
                  <a:pt x="6435966" y="0"/>
                </a:lnTo>
              </a:path>
            </a:pathLst>
          </a:custGeom>
          <a:ln w="12700">
            <a:solidFill>
              <a:srgbClr val="000000"/>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11" name="object 14">
            <a:extLst>
              <a:ext uri="{FF2B5EF4-FFF2-40B4-BE49-F238E27FC236}">
                <a16:creationId xmlns:a16="http://schemas.microsoft.com/office/drawing/2014/main" id="{D5BF4803-DFCF-40EE-83F8-4DBA1E519870}"/>
              </a:ext>
            </a:extLst>
          </p:cNvPr>
          <p:cNvSpPr txBox="1"/>
          <p:nvPr/>
        </p:nvSpPr>
        <p:spPr>
          <a:xfrm>
            <a:off x="3108083" y="6361569"/>
            <a:ext cx="407670" cy="182742"/>
          </a:xfrm>
          <a:prstGeom prst="rect">
            <a:avLst/>
          </a:prstGeom>
          <a:solidFill>
            <a:srgbClr val="EBEBEB"/>
          </a:solidFill>
          <a:ln w="12700">
            <a:solidFill>
              <a:srgbClr val="000000"/>
            </a:solidFill>
          </a:ln>
        </p:spPr>
        <p:txBody>
          <a:bodyPr vert="horz" wrap="square" lIns="0" tIns="43815" rIns="0" bIns="0" rtlCol="0">
            <a:spAutoFit/>
          </a:bodyPr>
          <a:lstStyle/>
          <a:p>
            <a:pPr marL="97790" eaLnBrk="1" fontAlgn="auto" hangingPunct="1">
              <a:spcBef>
                <a:spcPts val="345"/>
              </a:spcBef>
              <a:spcAft>
                <a:spcPts val="0"/>
              </a:spcAft>
            </a:pPr>
            <a:r>
              <a:rPr lang="en-US" sz="900" b="1" dirty="0">
                <a:solidFill>
                  <a:srgbClr val="636363"/>
                </a:solidFill>
                <a:latin typeface="+mj-lt"/>
                <a:ea typeface="+mn-ea"/>
                <a:cs typeface="Arial"/>
              </a:rPr>
              <a:t>Key</a:t>
            </a:r>
            <a:endParaRPr lang="en-US" sz="900" dirty="0">
              <a:solidFill>
                <a:prstClr val="black"/>
              </a:solidFill>
              <a:latin typeface="+mj-lt"/>
              <a:ea typeface="+mn-ea"/>
              <a:cs typeface="Arial"/>
            </a:endParaRPr>
          </a:p>
        </p:txBody>
      </p:sp>
      <p:sp>
        <p:nvSpPr>
          <p:cNvPr id="12" name="object 15">
            <a:extLst>
              <a:ext uri="{FF2B5EF4-FFF2-40B4-BE49-F238E27FC236}">
                <a16:creationId xmlns:a16="http://schemas.microsoft.com/office/drawing/2014/main" id="{F2C7DBEC-4B44-4026-8457-39CA9A27EED1}"/>
              </a:ext>
            </a:extLst>
          </p:cNvPr>
          <p:cNvSpPr txBox="1"/>
          <p:nvPr/>
        </p:nvSpPr>
        <p:spPr>
          <a:xfrm>
            <a:off x="3515232" y="6361569"/>
            <a:ext cx="815975" cy="182742"/>
          </a:xfrm>
          <a:prstGeom prst="rect">
            <a:avLst/>
          </a:prstGeom>
          <a:ln w="12700">
            <a:solidFill>
              <a:srgbClr val="000000"/>
            </a:solidFill>
          </a:ln>
        </p:spPr>
        <p:txBody>
          <a:bodyPr vert="horz" wrap="square" lIns="0" tIns="43815" rIns="0" bIns="0" rtlCol="0">
            <a:spAutoFit/>
          </a:bodyPr>
          <a:lstStyle/>
          <a:p>
            <a:pPr algn="ctr" eaLnBrk="1" fontAlgn="auto" hangingPunct="1">
              <a:spcBef>
                <a:spcPts val="345"/>
              </a:spcBef>
              <a:spcAft>
                <a:spcPts val="0"/>
              </a:spcAft>
            </a:pPr>
            <a:r>
              <a:rPr lang="en-US" sz="900" b="1" dirty="0">
                <a:solidFill>
                  <a:srgbClr val="636363"/>
                </a:solidFill>
                <a:latin typeface="+mj-lt"/>
                <a:ea typeface="+mn-ea"/>
                <a:cs typeface="Arial"/>
              </a:rPr>
              <a:t>Data</a:t>
            </a:r>
            <a:endParaRPr lang="en-US" sz="900" dirty="0">
              <a:solidFill>
                <a:prstClr val="black"/>
              </a:solidFill>
              <a:latin typeface="+mj-lt"/>
              <a:ea typeface="+mn-ea"/>
              <a:cs typeface="Arial"/>
            </a:endParaRPr>
          </a:p>
        </p:txBody>
      </p:sp>
      <p:sp>
        <p:nvSpPr>
          <p:cNvPr id="13" name="object 16">
            <a:extLst>
              <a:ext uri="{FF2B5EF4-FFF2-40B4-BE49-F238E27FC236}">
                <a16:creationId xmlns:a16="http://schemas.microsoft.com/office/drawing/2014/main" id="{9A64BF05-04E7-419F-8157-A22C8DBE8DF0}"/>
              </a:ext>
            </a:extLst>
          </p:cNvPr>
          <p:cNvSpPr txBox="1"/>
          <p:nvPr/>
        </p:nvSpPr>
        <p:spPr>
          <a:xfrm>
            <a:off x="4330699" y="6361569"/>
            <a:ext cx="955675" cy="182742"/>
          </a:xfrm>
          <a:prstGeom prst="rect">
            <a:avLst/>
          </a:prstGeom>
          <a:ln w="12700">
            <a:solidFill>
              <a:srgbClr val="000000"/>
            </a:solidFill>
          </a:ln>
        </p:spPr>
        <p:txBody>
          <a:bodyPr vert="horz" wrap="square" lIns="0" tIns="43815" rIns="0" bIns="0" rtlCol="0">
            <a:spAutoFit/>
          </a:bodyPr>
          <a:lstStyle/>
          <a:p>
            <a:pPr marL="287020" eaLnBrk="1" fontAlgn="auto" hangingPunct="1">
              <a:spcBef>
                <a:spcPts val="345"/>
              </a:spcBef>
              <a:spcAft>
                <a:spcPts val="0"/>
              </a:spcAft>
            </a:pPr>
            <a:r>
              <a:rPr lang="en-US" sz="900" b="1" dirty="0">
                <a:solidFill>
                  <a:srgbClr val="636363"/>
                </a:solidFill>
                <a:latin typeface="+mj-lt"/>
                <a:ea typeface="+mn-ea"/>
                <a:cs typeface="Arial"/>
              </a:rPr>
              <a:t>Data</a:t>
            </a:r>
            <a:r>
              <a:rPr lang="en-US" sz="900" b="1" spc="-35" dirty="0">
                <a:solidFill>
                  <a:srgbClr val="636363"/>
                </a:solidFill>
                <a:latin typeface="+mj-lt"/>
                <a:ea typeface="+mn-ea"/>
                <a:cs typeface="Arial"/>
              </a:rPr>
              <a:t> </a:t>
            </a:r>
            <a:r>
              <a:rPr lang="en-US" sz="900" b="1" dirty="0">
                <a:solidFill>
                  <a:srgbClr val="636363"/>
                </a:solidFill>
                <a:latin typeface="+mj-lt"/>
                <a:ea typeface="+mn-ea"/>
                <a:cs typeface="Arial"/>
              </a:rPr>
              <a:t>Store</a:t>
            </a:r>
            <a:endParaRPr lang="en-US" sz="900" dirty="0">
              <a:solidFill>
                <a:prstClr val="black"/>
              </a:solidFill>
              <a:latin typeface="+mj-lt"/>
              <a:ea typeface="+mn-ea"/>
              <a:cs typeface="Arial"/>
            </a:endParaRPr>
          </a:p>
        </p:txBody>
      </p:sp>
      <p:sp>
        <p:nvSpPr>
          <p:cNvPr id="14" name="object 17">
            <a:extLst>
              <a:ext uri="{FF2B5EF4-FFF2-40B4-BE49-F238E27FC236}">
                <a16:creationId xmlns:a16="http://schemas.microsoft.com/office/drawing/2014/main" id="{49EA9ED8-C1FB-4CF5-9886-2ECA253E6929}"/>
              </a:ext>
            </a:extLst>
          </p:cNvPr>
          <p:cNvSpPr txBox="1"/>
          <p:nvPr/>
        </p:nvSpPr>
        <p:spPr>
          <a:xfrm>
            <a:off x="5285867" y="6361569"/>
            <a:ext cx="1487805" cy="182742"/>
          </a:xfrm>
          <a:prstGeom prst="rect">
            <a:avLst/>
          </a:prstGeom>
          <a:ln w="12700">
            <a:solidFill>
              <a:srgbClr val="000000"/>
            </a:solidFill>
          </a:ln>
        </p:spPr>
        <p:txBody>
          <a:bodyPr vert="horz" wrap="square" lIns="0" tIns="43815" rIns="0" bIns="0" rtlCol="0">
            <a:spAutoFit/>
          </a:bodyPr>
          <a:lstStyle/>
          <a:p>
            <a:pPr marL="363220" eaLnBrk="1" fontAlgn="auto" hangingPunct="1">
              <a:spcBef>
                <a:spcPts val="345"/>
              </a:spcBef>
              <a:spcAft>
                <a:spcPts val="0"/>
              </a:spcAft>
            </a:pPr>
            <a:r>
              <a:rPr lang="en-US" sz="900" b="1" dirty="0">
                <a:solidFill>
                  <a:srgbClr val="636363"/>
                </a:solidFill>
                <a:latin typeface="+mj-lt"/>
                <a:ea typeface="+mn-ea"/>
                <a:cs typeface="Arial"/>
              </a:rPr>
              <a:t>Processing</a:t>
            </a:r>
            <a:r>
              <a:rPr lang="en-US" sz="900" b="1" spc="-60" dirty="0">
                <a:solidFill>
                  <a:srgbClr val="636363"/>
                </a:solidFill>
                <a:latin typeface="+mj-lt"/>
                <a:ea typeface="+mn-ea"/>
                <a:cs typeface="Arial"/>
              </a:rPr>
              <a:t> </a:t>
            </a:r>
            <a:r>
              <a:rPr lang="en-US" sz="900" b="1" dirty="0">
                <a:solidFill>
                  <a:srgbClr val="636363"/>
                </a:solidFill>
                <a:latin typeface="+mj-lt"/>
                <a:ea typeface="+mn-ea"/>
                <a:cs typeface="Arial"/>
              </a:rPr>
              <a:t>Engine</a:t>
            </a:r>
            <a:endParaRPr lang="en-US" sz="900" dirty="0">
              <a:solidFill>
                <a:prstClr val="black"/>
              </a:solidFill>
              <a:latin typeface="+mj-lt"/>
              <a:ea typeface="+mn-ea"/>
              <a:cs typeface="Arial"/>
            </a:endParaRPr>
          </a:p>
        </p:txBody>
      </p:sp>
      <p:sp>
        <p:nvSpPr>
          <p:cNvPr id="15" name="object 18">
            <a:extLst>
              <a:ext uri="{FF2B5EF4-FFF2-40B4-BE49-F238E27FC236}">
                <a16:creationId xmlns:a16="http://schemas.microsoft.com/office/drawing/2014/main" id="{1AC48B05-DAF7-466D-93A4-E3717B268F10}"/>
              </a:ext>
            </a:extLst>
          </p:cNvPr>
          <p:cNvSpPr txBox="1"/>
          <p:nvPr/>
        </p:nvSpPr>
        <p:spPr>
          <a:xfrm>
            <a:off x="6773163" y="6361569"/>
            <a:ext cx="941705" cy="182742"/>
          </a:xfrm>
          <a:prstGeom prst="rect">
            <a:avLst/>
          </a:prstGeom>
          <a:ln w="12700">
            <a:solidFill>
              <a:srgbClr val="000000"/>
            </a:solidFill>
          </a:ln>
        </p:spPr>
        <p:txBody>
          <a:bodyPr vert="horz" wrap="square" lIns="0" tIns="43815" rIns="0" bIns="0" rtlCol="0">
            <a:spAutoFit/>
          </a:bodyPr>
          <a:lstStyle/>
          <a:p>
            <a:pPr marL="360680" eaLnBrk="1" fontAlgn="auto" hangingPunct="1">
              <a:spcBef>
                <a:spcPts val="345"/>
              </a:spcBef>
              <a:spcAft>
                <a:spcPts val="0"/>
              </a:spcAft>
            </a:pPr>
            <a:r>
              <a:rPr lang="en-US" sz="900" b="1" dirty="0">
                <a:solidFill>
                  <a:srgbClr val="636363"/>
                </a:solidFill>
                <a:latin typeface="+mj-lt"/>
                <a:ea typeface="+mn-ea"/>
                <a:cs typeface="Arial"/>
              </a:rPr>
              <a:t>Function</a:t>
            </a:r>
            <a:endParaRPr lang="en-US" sz="900" dirty="0">
              <a:solidFill>
                <a:prstClr val="black"/>
              </a:solidFill>
              <a:latin typeface="+mj-lt"/>
              <a:ea typeface="+mn-ea"/>
              <a:cs typeface="Arial"/>
            </a:endParaRPr>
          </a:p>
        </p:txBody>
      </p:sp>
      <p:sp>
        <p:nvSpPr>
          <p:cNvPr id="16" name="object 19">
            <a:extLst>
              <a:ext uri="{FF2B5EF4-FFF2-40B4-BE49-F238E27FC236}">
                <a16:creationId xmlns:a16="http://schemas.microsoft.com/office/drawing/2014/main" id="{A45A8A07-0504-472F-B900-517162F703F8}"/>
              </a:ext>
            </a:extLst>
          </p:cNvPr>
          <p:cNvSpPr txBox="1"/>
          <p:nvPr/>
        </p:nvSpPr>
        <p:spPr>
          <a:xfrm>
            <a:off x="7714614" y="6361569"/>
            <a:ext cx="1816735" cy="182742"/>
          </a:xfrm>
          <a:prstGeom prst="rect">
            <a:avLst/>
          </a:prstGeom>
          <a:ln w="12700">
            <a:solidFill>
              <a:srgbClr val="000000"/>
            </a:solidFill>
          </a:ln>
        </p:spPr>
        <p:txBody>
          <a:bodyPr vert="horz" wrap="square" lIns="0" tIns="43815" rIns="0" bIns="0" rtlCol="0">
            <a:spAutoFit/>
          </a:bodyPr>
          <a:lstStyle/>
          <a:p>
            <a:pPr marL="275590" eaLnBrk="1" fontAlgn="auto" hangingPunct="1">
              <a:spcBef>
                <a:spcPts val="345"/>
              </a:spcBef>
              <a:spcAft>
                <a:spcPts val="0"/>
              </a:spcAft>
            </a:pPr>
            <a:r>
              <a:rPr lang="en-US" sz="900" b="1" spc="5" dirty="0">
                <a:solidFill>
                  <a:srgbClr val="636363"/>
                </a:solidFill>
                <a:latin typeface="+mj-lt"/>
                <a:ea typeface="+mn-ea"/>
                <a:cs typeface="Arial"/>
              </a:rPr>
              <a:t>Machine </a:t>
            </a:r>
            <a:r>
              <a:rPr lang="en-US" sz="900" b="1" dirty="0">
                <a:solidFill>
                  <a:srgbClr val="636363"/>
                </a:solidFill>
                <a:latin typeface="+mj-lt"/>
                <a:ea typeface="+mn-ea"/>
                <a:cs typeface="Arial"/>
              </a:rPr>
              <a:t>Learning</a:t>
            </a:r>
            <a:r>
              <a:rPr lang="en-US" sz="900" b="1" spc="-150" dirty="0">
                <a:solidFill>
                  <a:srgbClr val="636363"/>
                </a:solidFill>
                <a:latin typeface="+mj-lt"/>
                <a:ea typeface="+mn-ea"/>
                <a:cs typeface="Arial"/>
              </a:rPr>
              <a:t> </a:t>
            </a:r>
            <a:r>
              <a:rPr lang="en-US" sz="900" b="1" dirty="0">
                <a:solidFill>
                  <a:srgbClr val="636363"/>
                </a:solidFill>
                <a:latin typeface="+mj-lt"/>
                <a:ea typeface="+mn-ea"/>
                <a:cs typeface="Arial"/>
              </a:rPr>
              <a:t>Capable</a:t>
            </a:r>
            <a:endParaRPr lang="en-US" sz="900" dirty="0">
              <a:solidFill>
                <a:prstClr val="black"/>
              </a:solidFill>
              <a:latin typeface="+mj-lt"/>
              <a:ea typeface="+mn-ea"/>
              <a:cs typeface="Arial"/>
            </a:endParaRPr>
          </a:p>
        </p:txBody>
      </p:sp>
      <p:sp>
        <p:nvSpPr>
          <p:cNvPr id="17" name="object 20">
            <a:extLst>
              <a:ext uri="{FF2B5EF4-FFF2-40B4-BE49-F238E27FC236}">
                <a16:creationId xmlns:a16="http://schemas.microsoft.com/office/drawing/2014/main" id="{5ABF88B9-6E7F-464B-92F1-AE8D8D546ACF}"/>
              </a:ext>
            </a:extLst>
          </p:cNvPr>
          <p:cNvSpPr/>
          <p:nvPr/>
        </p:nvSpPr>
        <p:spPr>
          <a:xfrm>
            <a:off x="3605276" y="6404355"/>
            <a:ext cx="143510" cy="119380"/>
          </a:xfrm>
          <a:custGeom>
            <a:avLst/>
            <a:gdLst/>
            <a:ahLst/>
            <a:cxnLst/>
            <a:rect l="l" t="t" r="r" b="b"/>
            <a:pathLst>
              <a:path w="143510" h="119379">
                <a:moveTo>
                  <a:pt x="0" y="118871"/>
                </a:moveTo>
                <a:lnTo>
                  <a:pt x="143256" y="118871"/>
                </a:lnTo>
                <a:lnTo>
                  <a:pt x="143256" y="0"/>
                </a:lnTo>
                <a:lnTo>
                  <a:pt x="0" y="0"/>
                </a:lnTo>
                <a:lnTo>
                  <a:pt x="0" y="118871"/>
                </a:lnTo>
                <a:close/>
              </a:path>
            </a:pathLst>
          </a:custGeom>
          <a:solidFill>
            <a:srgbClr val="FFF599"/>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18" name="object 21">
            <a:extLst>
              <a:ext uri="{FF2B5EF4-FFF2-40B4-BE49-F238E27FC236}">
                <a16:creationId xmlns:a16="http://schemas.microsoft.com/office/drawing/2014/main" id="{DBFDF032-B881-4590-80B0-EA12BA5C6719}"/>
              </a:ext>
            </a:extLst>
          </p:cNvPr>
          <p:cNvSpPr/>
          <p:nvPr/>
        </p:nvSpPr>
        <p:spPr>
          <a:xfrm>
            <a:off x="3605276" y="6404355"/>
            <a:ext cx="143510" cy="119380"/>
          </a:xfrm>
          <a:custGeom>
            <a:avLst/>
            <a:gdLst/>
            <a:ahLst/>
            <a:cxnLst/>
            <a:rect l="l" t="t" r="r" b="b"/>
            <a:pathLst>
              <a:path w="143510" h="119379">
                <a:moveTo>
                  <a:pt x="0" y="118871"/>
                </a:moveTo>
                <a:lnTo>
                  <a:pt x="143256" y="118871"/>
                </a:lnTo>
                <a:lnTo>
                  <a:pt x="143256" y="0"/>
                </a:lnTo>
                <a:lnTo>
                  <a:pt x="0" y="0"/>
                </a:lnTo>
                <a:lnTo>
                  <a:pt x="0" y="118871"/>
                </a:lnTo>
                <a:close/>
              </a:path>
            </a:pathLst>
          </a:custGeom>
          <a:ln w="9144">
            <a:solidFill>
              <a:srgbClr val="808080"/>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19" name="object 22">
            <a:extLst>
              <a:ext uri="{FF2B5EF4-FFF2-40B4-BE49-F238E27FC236}">
                <a16:creationId xmlns:a16="http://schemas.microsoft.com/office/drawing/2014/main" id="{ED19E419-878E-4C93-9E1C-E8FCBE2A8A3E}"/>
              </a:ext>
            </a:extLst>
          </p:cNvPr>
          <p:cNvSpPr/>
          <p:nvPr/>
        </p:nvSpPr>
        <p:spPr>
          <a:xfrm>
            <a:off x="4406899" y="6404355"/>
            <a:ext cx="143510" cy="119380"/>
          </a:xfrm>
          <a:custGeom>
            <a:avLst/>
            <a:gdLst/>
            <a:ahLst/>
            <a:cxnLst/>
            <a:rect l="l" t="t" r="r" b="b"/>
            <a:pathLst>
              <a:path w="143510" h="119379">
                <a:moveTo>
                  <a:pt x="0" y="118871"/>
                </a:moveTo>
                <a:lnTo>
                  <a:pt x="143256" y="118871"/>
                </a:lnTo>
                <a:lnTo>
                  <a:pt x="143256" y="0"/>
                </a:lnTo>
                <a:lnTo>
                  <a:pt x="0" y="0"/>
                </a:lnTo>
                <a:lnTo>
                  <a:pt x="0" y="118871"/>
                </a:lnTo>
                <a:close/>
              </a:path>
            </a:pathLst>
          </a:custGeom>
          <a:solidFill>
            <a:srgbClr val="FFE600"/>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20" name="object 23">
            <a:extLst>
              <a:ext uri="{FF2B5EF4-FFF2-40B4-BE49-F238E27FC236}">
                <a16:creationId xmlns:a16="http://schemas.microsoft.com/office/drawing/2014/main" id="{B3025867-2172-4F15-9D7E-D02D79A1FF84}"/>
              </a:ext>
            </a:extLst>
          </p:cNvPr>
          <p:cNvSpPr/>
          <p:nvPr/>
        </p:nvSpPr>
        <p:spPr>
          <a:xfrm>
            <a:off x="4406899" y="6404355"/>
            <a:ext cx="143510" cy="119380"/>
          </a:xfrm>
          <a:custGeom>
            <a:avLst/>
            <a:gdLst/>
            <a:ahLst/>
            <a:cxnLst/>
            <a:rect l="l" t="t" r="r" b="b"/>
            <a:pathLst>
              <a:path w="143510" h="119379">
                <a:moveTo>
                  <a:pt x="0" y="118871"/>
                </a:moveTo>
                <a:lnTo>
                  <a:pt x="143256" y="118871"/>
                </a:lnTo>
                <a:lnTo>
                  <a:pt x="143256" y="0"/>
                </a:lnTo>
                <a:lnTo>
                  <a:pt x="0" y="0"/>
                </a:lnTo>
                <a:lnTo>
                  <a:pt x="0" y="118871"/>
                </a:lnTo>
                <a:close/>
              </a:path>
            </a:pathLst>
          </a:custGeom>
          <a:ln w="9144">
            <a:solidFill>
              <a:srgbClr val="808080"/>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21" name="object 24">
            <a:extLst>
              <a:ext uri="{FF2B5EF4-FFF2-40B4-BE49-F238E27FC236}">
                <a16:creationId xmlns:a16="http://schemas.microsoft.com/office/drawing/2014/main" id="{A3693312-C662-4A15-A87F-199B4AC6C646}"/>
              </a:ext>
            </a:extLst>
          </p:cNvPr>
          <p:cNvSpPr/>
          <p:nvPr/>
        </p:nvSpPr>
        <p:spPr>
          <a:xfrm>
            <a:off x="5363971" y="6404355"/>
            <a:ext cx="143510" cy="119380"/>
          </a:xfrm>
          <a:custGeom>
            <a:avLst/>
            <a:gdLst/>
            <a:ahLst/>
            <a:cxnLst/>
            <a:rect l="l" t="t" r="r" b="b"/>
            <a:pathLst>
              <a:path w="143510" h="119379">
                <a:moveTo>
                  <a:pt x="0" y="118871"/>
                </a:moveTo>
                <a:lnTo>
                  <a:pt x="143255" y="118871"/>
                </a:lnTo>
                <a:lnTo>
                  <a:pt x="143255" y="0"/>
                </a:lnTo>
                <a:lnTo>
                  <a:pt x="0" y="0"/>
                </a:lnTo>
                <a:lnTo>
                  <a:pt x="0" y="118871"/>
                </a:lnTo>
                <a:close/>
              </a:path>
            </a:pathLst>
          </a:custGeom>
          <a:solidFill>
            <a:srgbClr val="C1C1C1"/>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22" name="object 25">
            <a:extLst>
              <a:ext uri="{FF2B5EF4-FFF2-40B4-BE49-F238E27FC236}">
                <a16:creationId xmlns:a16="http://schemas.microsoft.com/office/drawing/2014/main" id="{2B0532A4-261C-463B-B56E-5DBED82CC723}"/>
              </a:ext>
            </a:extLst>
          </p:cNvPr>
          <p:cNvSpPr/>
          <p:nvPr/>
        </p:nvSpPr>
        <p:spPr>
          <a:xfrm>
            <a:off x="5363971" y="6404355"/>
            <a:ext cx="143510" cy="119380"/>
          </a:xfrm>
          <a:custGeom>
            <a:avLst/>
            <a:gdLst/>
            <a:ahLst/>
            <a:cxnLst/>
            <a:rect l="l" t="t" r="r" b="b"/>
            <a:pathLst>
              <a:path w="143510" h="119379">
                <a:moveTo>
                  <a:pt x="0" y="118871"/>
                </a:moveTo>
                <a:lnTo>
                  <a:pt x="143255" y="118871"/>
                </a:lnTo>
                <a:lnTo>
                  <a:pt x="143255" y="0"/>
                </a:lnTo>
                <a:lnTo>
                  <a:pt x="0" y="0"/>
                </a:lnTo>
                <a:lnTo>
                  <a:pt x="0" y="118871"/>
                </a:lnTo>
                <a:close/>
              </a:path>
            </a:pathLst>
          </a:custGeom>
          <a:ln w="9143">
            <a:solidFill>
              <a:srgbClr val="808080"/>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23" name="object 26">
            <a:extLst>
              <a:ext uri="{FF2B5EF4-FFF2-40B4-BE49-F238E27FC236}">
                <a16:creationId xmlns:a16="http://schemas.microsoft.com/office/drawing/2014/main" id="{E7740F4B-E08E-4FDD-950E-17FF88C331FB}"/>
              </a:ext>
            </a:extLst>
          </p:cNvPr>
          <p:cNvSpPr/>
          <p:nvPr/>
        </p:nvSpPr>
        <p:spPr>
          <a:xfrm>
            <a:off x="6830060" y="6404355"/>
            <a:ext cx="143510" cy="119380"/>
          </a:xfrm>
          <a:custGeom>
            <a:avLst/>
            <a:gdLst/>
            <a:ahLst/>
            <a:cxnLst/>
            <a:rect l="l" t="t" r="r" b="b"/>
            <a:pathLst>
              <a:path w="143510" h="119379">
                <a:moveTo>
                  <a:pt x="0" y="118871"/>
                </a:moveTo>
                <a:lnTo>
                  <a:pt x="143255" y="118871"/>
                </a:lnTo>
                <a:lnTo>
                  <a:pt x="143255" y="0"/>
                </a:lnTo>
                <a:lnTo>
                  <a:pt x="0" y="0"/>
                </a:lnTo>
                <a:lnTo>
                  <a:pt x="0" y="118871"/>
                </a:lnTo>
                <a:close/>
              </a:path>
            </a:pathLst>
          </a:custGeom>
          <a:solidFill>
            <a:srgbClr val="FFFFFF"/>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24" name="object 27">
            <a:extLst>
              <a:ext uri="{FF2B5EF4-FFF2-40B4-BE49-F238E27FC236}">
                <a16:creationId xmlns:a16="http://schemas.microsoft.com/office/drawing/2014/main" id="{58393038-EDBF-4D95-B287-6E1CF46F5B82}"/>
              </a:ext>
            </a:extLst>
          </p:cNvPr>
          <p:cNvSpPr/>
          <p:nvPr/>
        </p:nvSpPr>
        <p:spPr>
          <a:xfrm>
            <a:off x="6830060" y="6404355"/>
            <a:ext cx="143510" cy="119380"/>
          </a:xfrm>
          <a:custGeom>
            <a:avLst/>
            <a:gdLst/>
            <a:ahLst/>
            <a:cxnLst/>
            <a:rect l="l" t="t" r="r" b="b"/>
            <a:pathLst>
              <a:path w="143510" h="119379">
                <a:moveTo>
                  <a:pt x="0" y="118871"/>
                </a:moveTo>
                <a:lnTo>
                  <a:pt x="143255" y="118871"/>
                </a:lnTo>
                <a:lnTo>
                  <a:pt x="143255" y="0"/>
                </a:lnTo>
                <a:lnTo>
                  <a:pt x="0" y="0"/>
                </a:lnTo>
                <a:lnTo>
                  <a:pt x="0" y="118871"/>
                </a:lnTo>
                <a:close/>
              </a:path>
            </a:pathLst>
          </a:custGeom>
          <a:ln w="9143">
            <a:solidFill>
              <a:srgbClr val="808080"/>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25" name="object 28">
            <a:extLst>
              <a:ext uri="{FF2B5EF4-FFF2-40B4-BE49-F238E27FC236}">
                <a16:creationId xmlns:a16="http://schemas.microsoft.com/office/drawing/2014/main" id="{F142B9BF-BE12-46D3-83B0-B14585121508}"/>
              </a:ext>
            </a:extLst>
          </p:cNvPr>
          <p:cNvSpPr/>
          <p:nvPr/>
        </p:nvSpPr>
        <p:spPr>
          <a:xfrm>
            <a:off x="1838960" y="1300480"/>
            <a:ext cx="9187180" cy="4983480"/>
          </a:xfrm>
          <a:custGeom>
            <a:avLst/>
            <a:gdLst/>
            <a:ahLst/>
            <a:cxnLst/>
            <a:rect l="l" t="t" r="r" b="b"/>
            <a:pathLst>
              <a:path w="9187180" h="4983480">
                <a:moveTo>
                  <a:pt x="0" y="4983480"/>
                </a:moveTo>
                <a:lnTo>
                  <a:pt x="9186672" y="4983480"/>
                </a:lnTo>
                <a:lnTo>
                  <a:pt x="9186672" y="0"/>
                </a:lnTo>
                <a:lnTo>
                  <a:pt x="0" y="0"/>
                </a:lnTo>
                <a:lnTo>
                  <a:pt x="0" y="4983480"/>
                </a:lnTo>
                <a:close/>
              </a:path>
            </a:pathLst>
          </a:custGeom>
          <a:solidFill>
            <a:srgbClr val="DFDFDF"/>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26" name="object 29">
            <a:extLst>
              <a:ext uri="{FF2B5EF4-FFF2-40B4-BE49-F238E27FC236}">
                <a16:creationId xmlns:a16="http://schemas.microsoft.com/office/drawing/2014/main" id="{C3ED573A-C457-4AB0-9B5C-DCF6BC108B4F}"/>
              </a:ext>
            </a:extLst>
          </p:cNvPr>
          <p:cNvSpPr txBox="1"/>
          <p:nvPr/>
        </p:nvSpPr>
        <p:spPr>
          <a:xfrm>
            <a:off x="4946471" y="1331087"/>
            <a:ext cx="3211828" cy="197490"/>
          </a:xfrm>
          <a:prstGeom prst="rect">
            <a:avLst/>
          </a:prstGeom>
        </p:spPr>
        <p:txBody>
          <a:bodyPr vert="horz" wrap="square" lIns="0" tIns="12700" rIns="0" bIns="0" rtlCol="0">
            <a:spAutoFit/>
          </a:bodyPr>
          <a:lstStyle/>
          <a:p>
            <a:pPr marL="12700" algn="ctr" eaLnBrk="1" fontAlgn="auto" hangingPunct="1">
              <a:spcBef>
                <a:spcPts val="100"/>
              </a:spcBef>
              <a:spcAft>
                <a:spcPts val="0"/>
              </a:spcAft>
            </a:pPr>
            <a:r>
              <a:rPr lang="en-US" sz="1200" b="1" spc="-5" dirty="0">
                <a:solidFill>
                  <a:srgbClr val="636363"/>
                </a:solidFill>
                <a:latin typeface="+mj-lt"/>
                <a:ea typeface="+mn-ea"/>
                <a:cs typeface="Arial"/>
              </a:rPr>
              <a:t>Enterprise </a:t>
            </a:r>
            <a:r>
              <a:rPr lang="en-US" sz="1200" b="1" dirty="0">
                <a:solidFill>
                  <a:srgbClr val="636363"/>
                </a:solidFill>
                <a:latin typeface="+mj-lt"/>
                <a:ea typeface="+mn-ea"/>
                <a:cs typeface="Arial"/>
              </a:rPr>
              <a:t>Data</a:t>
            </a:r>
            <a:r>
              <a:rPr lang="en-US" sz="1200" b="1" spc="-105" dirty="0">
                <a:solidFill>
                  <a:srgbClr val="636363"/>
                </a:solidFill>
                <a:latin typeface="+mj-lt"/>
                <a:ea typeface="+mn-ea"/>
                <a:cs typeface="Arial"/>
              </a:rPr>
              <a:t> </a:t>
            </a:r>
            <a:r>
              <a:rPr lang="en-US" sz="1200" b="1" spc="-10" dirty="0">
                <a:solidFill>
                  <a:srgbClr val="636363"/>
                </a:solidFill>
                <a:latin typeface="+mj-lt"/>
                <a:ea typeface="+mn-ea"/>
                <a:cs typeface="Arial"/>
              </a:rPr>
              <a:t>Architecture</a:t>
            </a:r>
            <a:endParaRPr lang="en-US" sz="1200" dirty="0">
              <a:solidFill>
                <a:prstClr val="black"/>
              </a:solidFill>
              <a:latin typeface="+mj-lt"/>
              <a:ea typeface="+mn-ea"/>
              <a:cs typeface="Arial"/>
            </a:endParaRPr>
          </a:p>
        </p:txBody>
      </p:sp>
      <p:sp>
        <p:nvSpPr>
          <p:cNvPr id="27" name="object 30">
            <a:extLst>
              <a:ext uri="{FF2B5EF4-FFF2-40B4-BE49-F238E27FC236}">
                <a16:creationId xmlns:a16="http://schemas.microsoft.com/office/drawing/2014/main" id="{EAEEB4B7-55E7-4DED-B9FD-25C46212A233}"/>
              </a:ext>
            </a:extLst>
          </p:cNvPr>
          <p:cNvSpPr/>
          <p:nvPr/>
        </p:nvSpPr>
        <p:spPr>
          <a:xfrm>
            <a:off x="3484880" y="2879344"/>
            <a:ext cx="4706620" cy="2045335"/>
          </a:xfrm>
          <a:custGeom>
            <a:avLst/>
            <a:gdLst/>
            <a:ahLst/>
            <a:cxnLst/>
            <a:rect l="l" t="t" r="r" b="b"/>
            <a:pathLst>
              <a:path w="4706620" h="2045335">
                <a:moveTo>
                  <a:pt x="0" y="2045207"/>
                </a:moveTo>
                <a:lnTo>
                  <a:pt x="4706111" y="2045207"/>
                </a:lnTo>
                <a:lnTo>
                  <a:pt x="4706111" y="0"/>
                </a:lnTo>
                <a:lnTo>
                  <a:pt x="0" y="0"/>
                </a:lnTo>
                <a:lnTo>
                  <a:pt x="0" y="2045207"/>
                </a:lnTo>
                <a:close/>
              </a:path>
            </a:pathLst>
          </a:custGeom>
          <a:solidFill>
            <a:srgbClr val="EFEFEF"/>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28" name="object 31">
            <a:extLst>
              <a:ext uri="{FF2B5EF4-FFF2-40B4-BE49-F238E27FC236}">
                <a16:creationId xmlns:a16="http://schemas.microsoft.com/office/drawing/2014/main" id="{A0679C20-3B06-4870-AD6B-76144113601A}"/>
              </a:ext>
            </a:extLst>
          </p:cNvPr>
          <p:cNvSpPr/>
          <p:nvPr/>
        </p:nvSpPr>
        <p:spPr>
          <a:xfrm>
            <a:off x="3484880" y="2879344"/>
            <a:ext cx="4706620" cy="2045335"/>
          </a:xfrm>
          <a:custGeom>
            <a:avLst/>
            <a:gdLst/>
            <a:ahLst/>
            <a:cxnLst/>
            <a:rect l="l" t="t" r="r" b="b"/>
            <a:pathLst>
              <a:path w="4706620" h="2045335">
                <a:moveTo>
                  <a:pt x="0" y="2045207"/>
                </a:moveTo>
                <a:lnTo>
                  <a:pt x="4706111" y="2045207"/>
                </a:lnTo>
                <a:lnTo>
                  <a:pt x="4706111" y="0"/>
                </a:lnTo>
                <a:lnTo>
                  <a:pt x="0" y="0"/>
                </a:lnTo>
                <a:lnTo>
                  <a:pt x="0" y="2045207"/>
                </a:lnTo>
                <a:close/>
              </a:path>
            </a:pathLst>
          </a:custGeom>
          <a:ln w="24384">
            <a:solidFill>
              <a:srgbClr val="AFAFAF"/>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29" name="object 32">
            <a:extLst>
              <a:ext uri="{FF2B5EF4-FFF2-40B4-BE49-F238E27FC236}">
                <a16:creationId xmlns:a16="http://schemas.microsoft.com/office/drawing/2014/main" id="{D76500A7-6B5C-4D89-8505-324ACEA7DB48}"/>
              </a:ext>
            </a:extLst>
          </p:cNvPr>
          <p:cNvSpPr/>
          <p:nvPr/>
        </p:nvSpPr>
        <p:spPr>
          <a:xfrm>
            <a:off x="11098783" y="1300480"/>
            <a:ext cx="829310" cy="4977765"/>
          </a:xfrm>
          <a:custGeom>
            <a:avLst/>
            <a:gdLst/>
            <a:ahLst/>
            <a:cxnLst/>
            <a:rect l="l" t="t" r="r" b="b"/>
            <a:pathLst>
              <a:path w="829309" h="4977765">
                <a:moveTo>
                  <a:pt x="0" y="4977384"/>
                </a:moveTo>
                <a:lnTo>
                  <a:pt x="829055" y="4977384"/>
                </a:lnTo>
                <a:lnTo>
                  <a:pt x="829055" y="0"/>
                </a:lnTo>
                <a:lnTo>
                  <a:pt x="0" y="0"/>
                </a:lnTo>
                <a:lnTo>
                  <a:pt x="0" y="4977384"/>
                </a:lnTo>
                <a:close/>
              </a:path>
            </a:pathLst>
          </a:custGeom>
          <a:solidFill>
            <a:srgbClr val="636363"/>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30" name="object 33">
            <a:extLst>
              <a:ext uri="{FF2B5EF4-FFF2-40B4-BE49-F238E27FC236}">
                <a16:creationId xmlns:a16="http://schemas.microsoft.com/office/drawing/2014/main" id="{C568AACE-46D2-41CD-A5B1-C138C1A3B650}"/>
              </a:ext>
            </a:extLst>
          </p:cNvPr>
          <p:cNvSpPr txBox="1"/>
          <p:nvPr/>
        </p:nvSpPr>
        <p:spPr>
          <a:xfrm>
            <a:off x="11195177" y="1331087"/>
            <a:ext cx="640080" cy="391795"/>
          </a:xfrm>
          <a:prstGeom prst="rect">
            <a:avLst/>
          </a:prstGeom>
        </p:spPr>
        <p:txBody>
          <a:bodyPr vert="horz" wrap="square" lIns="0" tIns="12700" rIns="0" bIns="0" rtlCol="0">
            <a:spAutoFit/>
          </a:bodyPr>
          <a:lstStyle/>
          <a:p>
            <a:pPr marL="12700" eaLnBrk="1" fontAlgn="auto" hangingPunct="1">
              <a:spcBef>
                <a:spcPts val="100"/>
              </a:spcBef>
              <a:spcAft>
                <a:spcPts val="0"/>
              </a:spcAft>
            </a:pPr>
            <a:r>
              <a:rPr lang="en-US" sz="1200" b="1" spc="-10" dirty="0">
                <a:solidFill>
                  <a:srgbClr val="FFFFFF"/>
                </a:solidFill>
                <a:latin typeface="+mj-lt"/>
                <a:ea typeface="+mn-ea"/>
                <a:cs typeface="Arial"/>
              </a:rPr>
              <a:t>Access</a:t>
            </a:r>
            <a:r>
              <a:rPr lang="en-US" sz="1200" b="1" spc="-95" dirty="0">
                <a:solidFill>
                  <a:srgbClr val="FFFFFF"/>
                </a:solidFill>
                <a:latin typeface="+mj-lt"/>
                <a:ea typeface="+mn-ea"/>
                <a:cs typeface="Arial"/>
              </a:rPr>
              <a:t> </a:t>
            </a:r>
            <a:r>
              <a:rPr lang="en-US" sz="1200" b="1" dirty="0">
                <a:solidFill>
                  <a:srgbClr val="FFFFFF"/>
                </a:solidFill>
                <a:latin typeface="+mj-lt"/>
                <a:ea typeface="+mn-ea"/>
                <a:cs typeface="Arial"/>
              </a:rPr>
              <a:t>/</a:t>
            </a:r>
            <a:endParaRPr lang="en-US" sz="1200" dirty="0">
              <a:solidFill>
                <a:prstClr val="black"/>
              </a:solidFill>
              <a:latin typeface="+mj-lt"/>
              <a:ea typeface="+mn-ea"/>
              <a:cs typeface="Arial"/>
            </a:endParaRPr>
          </a:p>
          <a:p>
            <a:pPr marL="27305" eaLnBrk="1" fontAlgn="auto" hangingPunct="1">
              <a:spcBef>
                <a:spcPts val="0"/>
              </a:spcBef>
              <a:spcAft>
                <a:spcPts val="0"/>
              </a:spcAft>
            </a:pPr>
            <a:r>
              <a:rPr lang="en-US" sz="1200" b="1" spc="-5" dirty="0">
                <a:solidFill>
                  <a:srgbClr val="FFFFFF"/>
                </a:solidFill>
                <a:latin typeface="+mj-lt"/>
                <a:ea typeface="+mn-ea"/>
                <a:cs typeface="Arial"/>
              </a:rPr>
              <a:t>Delivery</a:t>
            </a:r>
            <a:endParaRPr lang="en-US" sz="1200" dirty="0">
              <a:solidFill>
                <a:prstClr val="black"/>
              </a:solidFill>
              <a:latin typeface="+mj-lt"/>
              <a:ea typeface="+mn-ea"/>
              <a:cs typeface="Arial"/>
            </a:endParaRPr>
          </a:p>
        </p:txBody>
      </p:sp>
      <p:sp>
        <p:nvSpPr>
          <p:cNvPr id="31" name="object 34">
            <a:extLst>
              <a:ext uri="{FF2B5EF4-FFF2-40B4-BE49-F238E27FC236}">
                <a16:creationId xmlns:a16="http://schemas.microsoft.com/office/drawing/2014/main" id="{709094BA-74F7-491B-AEDF-A2FFF32EBB2C}"/>
              </a:ext>
            </a:extLst>
          </p:cNvPr>
          <p:cNvSpPr/>
          <p:nvPr/>
        </p:nvSpPr>
        <p:spPr>
          <a:xfrm>
            <a:off x="662941" y="1300480"/>
            <a:ext cx="1096770" cy="4977765"/>
          </a:xfrm>
          <a:custGeom>
            <a:avLst/>
            <a:gdLst/>
            <a:ahLst/>
            <a:cxnLst/>
            <a:rect l="l" t="t" r="r" b="b"/>
            <a:pathLst>
              <a:path w="822960" h="4977765">
                <a:moveTo>
                  <a:pt x="0" y="4977384"/>
                </a:moveTo>
                <a:lnTo>
                  <a:pt x="822959" y="4977384"/>
                </a:lnTo>
                <a:lnTo>
                  <a:pt x="822959" y="0"/>
                </a:lnTo>
                <a:lnTo>
                  <a:pt x="0" y="0"/>
                </a:lnTo>
                <a:lnTo>
                  <a:pt x="0" y="4977384"/>
                </a:lnTo>
                <a:close/>
              </a:path>
            </a:pathLst>
          </a:custGeom>
          <a:solidFill>
            <a:srgbClr val="EEECE1">
              <a:lumMod val="25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j-lt"/>
              <a:ea typeface="+mn-ea"/>
              <a:cs typeface="+mn-cs"/>
            </a:endParaRPr>
          </a:p>
        </p:txBody>
      </p:sp>
      <p:sp>
        <p:nvSpPr>
          <p:cNvPr id="32" name="object 35">
            <a:extLst>
              <a:ext uri="{FF2B5EF4-FFF2-40B4-BE49-F238E27FC236}">
                <a16:creationId xmlns:a16="http://schemas.microsoft.com/office/drawing/2014/main" id="{5307FD53-5316-4A97-B0EA-9E83E5523205}"/>
              </a:ext>
            </a:extLst>
          </p:cNvPr>
          <p:cNvSpPr txBox="1"/>
          <p:nvPr/>
        </p:nvSpPr>
        <p:spPr>
          <a:xfrm>
            <a:off x="917244" y="1351956"/>
            <a:ext cx="539750" cy="391795"/>
          </a:xfrm>
          <a:prstGeom prst="rect">
            <a:avLst/>
          </a:prstGeom>
        </p:spPr>
        <p:txBody>
          <a:bodyPr vert="horz" wrap="square" lIns="0" tIns="12700" rIns="0" bIns="0" rtlCol="0">
            <a:spAutoFit/>
          </a:bodyPr>
          <a:lstStyle/>
          <a:p>
            <a:pPr algn="ctr" eaLnBrk="1" fontAlgn="auto" hangingPunct="1">
              <a:spcBef>
                <a:spcPts val="100"/>
              </a:spcBef>
              <a:spcAft>
                <a:spcPts val="0"/>
              </a:spcAft>
            </a:pPr>
            <a:r>
              <a:rPr lang="en-US" sz="1200" b="1" dirty="0">
                <a:solidFill>
                  <a:srgbClr val="FFFFFF"/>
                </a:solidFill>
                <a:latin typeface="+mj-lt"/>
                <a:ea typeface="+mn-ea"/>
                <a:cs typeface="Arial"/>
              </a:rPr>
              <a:t>Data</a:t>
            </a:r>
            <a:endParaRPr lang="en-US" sz="1200" dirty="0">
              <a:solidFill>
                <a:prstClr val="black"/>
              </a:solidFill>
              <a:latin typeface="+mj-lt"/>
              <a:ea typeface="+mn-ea"/>
              <a:cs typeface="Arial"/>
            </a:endParaRPr>
          </a:p>
          <a:p>
            <a:pPr algn="ctr" eaLnBrk="1" fontAlgn="auto" hangingPunct="1">
              <a:spcBef>
                <a:spcPts val="0"/>
              </a:spcBef>
              <a:spcAft>
                <a:spcPts val="0"/>
              </a:spcAft>
            </a:pPr>
            <a:r>
              <a:rPr lang="en-US" sz="1200" b="1" spc="-10" dirty="0">
                <a:solidFill>
                  <a:srgbClr val="FFFFFF"/>
                </a:solidFill>
                <a:latin typeface="+mj-lt"/>
                <a:ea typeface="+mn-ea"/>
                <a:cs typeface="Arial"/>
              </a:rPr>
              <a:t>S</a:t>
            </a:r>
            <a:r>
              <a:rPr lang="en-US" sz="1200" b="1" spc="5" dirty="0">
                <a:solidFill>
                  <a:srgbClr val="FFFFFF"/>
                </a:solidFill>
                <a:latin typeface="+mj-lt"/>
                <a:ea typeface="+mn-ea"/>
                <a:cs typeface="Arial"/>
              </a:rPr>
              <a:t>o</a:t>
            </a:r>
            <a:r>
              <a:rPr lang="en-US" sz="1200" b="1" spc="-15" dirty="0">
                <a:solidFill>
                  <a:srgbClr val="FFFFFF"/>
                </a:solidFill>
                <a:latin typeface="+mj-lt"/>
                <a:ea typeface="+mn-ea"/>
                <a:cs typeface="Arial"/>
              </a:rPr>
              <a:t>ur</a:t>
            </a:r>
            <a:r>
              <a:rPr lang="en-US" sz="1200" b="1" dirty="0">
                <a:solidFill>
                  <a:srgbClr val="FFFFFF"/>
                </a:solidFill>
                <a:latin typeface="+mj-lt"/>
                <a:ea typeface="+mn-ea"/>
                <a:cs typeface="Arial"/>
              </a:rPr>
              <a:t>ce</a:t>
            </a:r>
            <a:endParaRPr lang="en-US" sz="1200" dirty="0">
              <a:solidFill>
                <a:prstClr val="black"/>
              </a:solidFill>
              <a:latin typeface="+mj-lt"/>
              <a:ea typeface="+mn-ea"/>
              <a:cs typeface="Arial"/>
            </a:endParaRPr>
          </a:p>
        </p:txBody>
      </p:sp>
      <p:sp>
        <p:nvSpPr>
          <p:cNvPr id="33" name="object 36">
            <a:extLst>
              <a:ext uri="{FF2B5EF4-FFF2-40B4-BE49-F238E27FC236}">
                <a16:creationId xmlns:a16="http://schemas.microsoft.com/office/drawing/2014/main" id="{B7153F6C-1D5F-40B9-B439-35D506D4D917}"/>
              </a:ext>
            </a:extLst>
          </p:cNvPr>
          <p:cNvSpPr txBox="1"/>
          <p:nvPr/>
        </p:nvSpPr>
        <p:spPr>
          <a:xfrm>
            <a:off x="11199367" y="3077463"/>
            <a:ext cx="640080" cy="705321"/>
          </a:xfrm>
          <a:prstGeom prst="rect">
            <a:avLst/>
          </a:prstGeom>
          <a:solidFill>
            <a:srgbClr val="B3B3B3"/>
          </a:solidFill>
          <a:ln w="18288">
            <a:solidFill>
              <a:srgbClr val="FFFFFF"/>
            </a:solidFill>
          </a:ln>
        </p:spPr>
        <p:txBody>
          <a:bodyPr vert="horz" wrap="square" lIns="0" tIns="0" rIns="0" bIns="0" rtlCol="0">
            <a:spAutoFit/>
          </a:bodyPr>
          <a:lstStyle/>
          <a:p>
            <a:pPr eaLnBrk="1" fontAlgn="auto" hangingPunct="1">
              <a:spcBef>
                <a:spcPts val="0"/>
              </a:spcBef>
              <a:spcAft>
                <a:spcPts val="0"/>
              </a:spcAft>
            </a:pPr>
            <a:endParaRPr lang="en-US" sz="1000" dirty="0">
              <a:solidFill>
                <a:prstClr val="black"/>
              </a:solidFill>
              <a:latin typeface="+mj-lt"/>
              <a:ea typeface="+mn-ea"/>
              <a:cs typeface="Times New Roman"/>
            </a:endParaRPr>
          </a:p>
          <a:p>
            <a:pPr eaLnBrk="1" fontAlgn="auto" hangingPunct="1">
              <a:spcBef>
                <a:spcPts val="55"/>
              </a:spcBef>
              <a:spcAft>
                <a:spcPts val="0"/>
              </a:spcAft>
            </a:pPr>
            <a:endParaRPr lang="en-US" sz="800" dirty="0">
              <a:solidFill>
                <a:prstClr val="black"/>
              </a:solidFill>
              <a:latin typeface="+mj-lt"/>
              <a:ea typeface="+mn-ea"/>
              <a:cs typeface="Times New Roman"/>
            </a:endParaRPr>
          </a:p>
          <a:p>
            <a:pPr marL="69850" marR="60325" indent="1270" algn="ctr" eaLnBrk="1" fontAlgn="auto" hangingPunct="1">
              <a:spcBef>
                <a:spcPts val="0"/>
              </a:spcBef>
              <a:spcAft>
                <a:spcPts val="0"/>
              </a:spcAft>
            </a:pPr>
            <a:r>
              <a:rPr lang="en-US" sz="900" spc="10" dirty="0">
                <a:solidFill>
                  <a:srgbClr val="FFFFFF"/>
                </a:solidFill>
                <a:latin typeface="+mj-lt"/>
                <a:ea typeface="+mn-ea"/>
                <a:cs typeface="Arial"/>
              </a:rPr>
              <a:t>Web  </a:t>
            </a:r>
            <a:r>
              <a:rPr lang="en-US" sz="900" spc="-5" dirty="0">
                <a:solidFill>
                  <a:srgbClr val="FFFFFF"/>
                </a:solidFill>
                <a:latin typeface="+mj-lt"/>
                <a:ea typeface="+mn-ea"/>
                <a:cs typeface="Arial"/>
              </a:rPr>
              <a:t>Services</a:t>
            </a:r>
            <a:r>
              <a:rPr lang="en-US" sz="900" spc="-80" dirty="0">
                <a:solidFill>
                  <a:srgbClr val="FFFFFF"/>
                </a:solidFill>
                <a:latin typeface="+mj-lt"/>
                <a:ea typeface="+mn-ea"/>
                <a:cs typeface="Arial"/>
              </a:rPr>
              <a:t> </a:t>
            </a:r>
            <a:r>
              <a:rPr lang="en-US" sz="900" dirty="0">
                <a:solidFill>
                  <a:srgbClr val="FFFFFF"/>
                </a:solidFill>
                <a:latin typeface="+mj-lt"/>
                <a:ea typeface="+mn-ea"/>
                <a:cs typeface="Arial"/>
              </a:rPr>
              <a:t>/  </a:t>
            </a:r>
            <a:r>
              <a:rPr lang="en-US" sz="900" spc="5" dirty="0">
                <a:solidFill>
                  <a:srgbClr val="FFFFFF"/>
                </a:solidFill>
                <a:latin typeface="+mj-lt"/>
                <a:ea typeface="+mn-ea"/>
                <a:cs typeface="Arial"/>
              </a:rPr>
              <a:t>Portals</a:t>
            </a:r>
            <a:endParaRPr lang="en-US" sz="900" dirty="0">
              <a:solidFill>
                <a:prstClr val="black"/>
              </a:solidFill>
              <a:latin typeface="+mj-lt"/>
              <a:ea typeface="+mn-ea"/>
              <a:cs typeface="Arial"/>
            </a:endParaRPr>
          </a:p>
        </p:txBody>
      </p:sp>
      <p:sp>
        <p:nvSpPr>
          <p:cNvPr id="34" name="object 37">
            <a:extLst>
              <a:ext uri="{FF2B5EF4-FFF2-40B4-BE49-F238E27FC236}">
                <a16:creationId xmlns:a16="http://schemas.microsoft.com/office/drawing/2014/main" id="{5B0F7D40-5C56-4533-80BC-14A627ED382B}"/>
              </a:ext>
            </a:extLst>
          </p:cNvPr>
          <p:cNvSpPr txBox="1"/>
          <p:nvPr/>
        </p:nvSpPr>
        <p:spPr>
          <a:xfrm>
            <a:off x="11199367" y="5247639"/>
            <a:ext cx="640080" cy="561692"/>
          </a:xfrm>
          <a:prstGeom prst="rect">
            <a:avLst/>
          </a:prstGeom>
          <a:solidFill>
            <a:srgbClr val="B3B3B3"/>
          </a:solidFill>
          <a:ln w="18288">
            <a:solidFill>
              <a:srgbClr val="FFFFFF"/>
            </a:solidFill>
          </a:ln>
        </p:spPr>
        <p:txBody>
          <a:bodyPr vert="horz" wrap="square" lIns="0" tIns="0" rIns="0" bIns="0" rtlCol="0">
            <a:spAutoFit/>
          </a:bodyPr>
          <a:lstStyle/>
          <a:p>
            <a:pPr eaLnBrk="1" fontAlgn="auto" hangingPunct="1">
              <a:spcBef>
                <a:spcPts val="0"/>
              </a:spcBef>
              <a:spcAft>
                <a:spcPts val="0"/>
              </a:spcAft>
            </a:pPr>
            <a:endParaRPr lang="en-US" sz="800" dirty="0">
              <a:solidFill>
                <a:prstClr val="black"/>
              </a:solidFill>
              <a:latin typeface="+mj-lt"/>
              <a:ea typeface="+mn-ea"/>
              <a:cs typeface="Times New Roman"/>
            </a:endParaRPr>
          </a:p>
          <a:p>
            <a:pPr eaLnBrk="1" fontAlgn="auto" hangingPunct="1">
              <a:spcBef>
                <a:spcPts val="0"/>
              </a:spcBef>
              <a:spcAft>
                <a:spcPts val="0"/>
              </a:spcAft>
            </a:pPr>
            <a:endParaRPr lang="en-US" sz="800" dirty="0">
              <a:solidFill>
                <a:prstClr val="black"/>
              </a:solidFill>
              <a:latin typeface="+mj-lt"/>
              <a:ea typeface="+mn-ea"/>
              <a:cs typeface="Times New Roman"/>
            </a:endParaRPr>
          </a:p>
          <a:p>
            <a:pPr eaLnBrk="1" fontAlgn="auto" hangingPunct="1">
              <a:spcBef>
                <a:spcPts val="0"/>
              </a:spcBef>
              <a:spcAft>
                <a:spcPts val="0"/>
              </a:spcAft>
            </a:pPr>
            <a:endParaRPr lang="en-US" sz="800" dirty="0">
              <a:solidFill>
                <a:prstClr val="black"/>
              </a:solidFill>
              <a:latin typeface="+mj-lt"/>
              <a:ea typeface="+mn-ea"/>
              <a:cs typeface="Times New Roman"/>
            </a:endParaRPr>
          </a:p>
          <a:p>
            <a:pPr marL="70485" eaLnBrk="1" fontAlgn="auto" hangingPunct="1">
              <a:spcBef>
                <a:spcPts val="565"/>
              </a:spcBef>
              <a:spcAft>
                <a:spcPts val="0"/>
              </a:spcAft>
            </a:pPr>
            <a:r>
              <a:rPr lang="en-US" sz="750" spc="-10" dirty="0">
                <a:solidFill>
                  <a:srgbClr val="FFFFFF"/>
                </a:solidFill>
                <a:latin typeface="+mj-lt"/>
                <a:ea typeface="+mn-ea"/>
                <a:cs typeface="Arial"/>
              </a:rPr>
              <a:t>Applications</a:t>
            </a:r>
            <a:endParaRPr lang="en-US" sz="750" dirty="0">
              <a:solidFill>
                <a:prstClr val="black"/>
              </a:solidFill>
              <a:latin typeface="+mj-lt"/>
              <a:ea typeface="+mn-ea"/>
              <a:cs typeface="Arial"/>
            </a:endParaRPr>
          </a:p>
        </p:txBody>
      </p:sp>
      <p:sp>
        <p:nvSpPr>
          <p:cNvPr id="35" name="object 38">
            <a:extLst>
              <a:ext uri="{FF2B5EF4-FFF2-40B4-BE49-F238E27FC236}">
                <a16:creationId xmlns:a16="http://schemas.microsoft.com/office/drawing/2014/main" id="{8E328D4A-CAE3-4479-9388-89AFF8B75B02}"/>
              </a:ext>
            </a:extLst>
          </p:cNvPr>
          <p:cNvSpPr txBox="1"/>
          <p:nvPr/>
        </p:nvSpPr>
        <p:spPr>
          <a:xfrm>
            <a:off x="11199367" y="4177791"/>
            <a:ext cx="640080" cy="574516"/>
          </a:xfrm>
          <a:prstGeom prst="rect">
            <a:avLst/>
          </a:prstGeom>
          <a:solidFill>
            <a:srgbClr val="B3B3B3"/>
          </a:solidFill>
          <a:ln w="18288">
            <a:solidFill>
              <a:srgbClr val="FFFFFF"/>
            </a:solidFill>
          </a:ln>
        </p:spPr>
        <p:txBody>
          <a:bodyPr vert="horz" wrap="square" lIns="0" tIns="0" rIns="0" bIns="0" rtlCol="0">
            <a:spAutoFit/>
          </a:bodyPr>
          <a:lstStyle/>
          <a:p>
            <a:pPr eaLnBrk="1" fontAlgn="auto" hangingPunct="1">
              <a:spcBef>
                <a:spcPts val="0"/>
              </a:spcBef>
              <a:spcAft>
                <a:spcPts val="0"/>
              </a:spcAft>
            </a:pPr>
            <a:endParaRPr lang="en-US" sz="1000" dirty="0">
              <a:solidFill>
                <a:prstClr val="black"/>
              </a:solidFill>
              <a:latin typeface="+mj-lt"/>
              <a:ea typeface="+mn-ea"/>
              <a:cs typeface="Times New Roman"/>
            </a:endParaRPr>
          </a:p>
          <a:p>
            <a:pPr eaLnBrk="1" fontAlgn="auto" hangingPunct="1">
              <a:spcBef>
                <a:spcPts val="0"/>
              </a:spcBef>
              <a:spcAft>
                <a:spcPts val="0"/>
              </a:spcAft>
            </a:pPr>
            <a:endParaRPr lang="en-US" sz="1000" dirty="0">
              <a:solidFill>
                <a:prstClr val="black"/>
              </a:solidFill>
              <a:latin typeface="+mj-lt"/>
              <a:ea typeface="+mn-ea"/>
              <a:cs typeface="Times New Roman"/>
            </a:endParaRPr>
          </a:p>
          <a:p>
            <a:pPr eaLnBrk="1" fontAlgn="auto" hangingPunct="1">
              <a:spcBef>
                <a:spcPts val="50"/>
              </a:spcBef>
              <a:spcAft>
                <a:spcPts val="0"/>
              </a:spcAft>
            </a:pPr>
            <a:endParaRPr lang="en-US" sz="750" dirty="0">
              <a:solidFill>
                <a:prstClr val="black"/>
              </a:solidFill>
              <a:latin typeface="+mj-lt"/>
              <a:ea typeface="+mn-ea"/>
              <a:cs typeface="Times New Roman"/>
            </a:endParaRPr>
          </a:p>
          <a:p>
            <a:pPr marL="152400" eaLnBrk="1" fontAlgn="auto" hangingPunct="1">
              <a:spcBef>
                <a:spcPts val="0"/>
              </a:spcBef>
              <a:spcAft>
                <a:spcPts val="0"/>
              </a:spcAft>
            </a:pPr>
            <a:r>
              <a:rPr lang="en-US" sz="900" dirty="0">
                <a:solidFill>
                  <a:srgbClr val="FFFFFF"/>
                </a:solidFill>
                <a:latin typeface="+mj-lt"/>
                <a:ea typeface="+mn-ea"/>
                <a:cs typeface="Arial"/>
              </a:rPr>
              <a:t>Mobile</a:t>
            </a:r>
            <a:endParaRPr lang="en-US" sz="900" dirty="0">
              <a:solidFill>
                <a:prstClr val="black"/>
              </a:solidFill>
              <a:latin typeface="+mj-lt"/>
              <a:ea typeface="+mn-ea"/>
              <a:cs typeface="Arial"/>
            </a:endParaRPr>
          </a:p>
        </p:txBody>
      </p:sp>
      <p:sp>
        <p:nvSpPr>
          <p:cNvPr id="36" name="object 39">
            <a:extLst>
              <a:ext uri="{FF2B5EF4-FFF2-40B4-BE49-F238E27FC236}">
                <a16:creationId xmlns:a16="http://schemas.microsoft.com/office/drawing/2014/main" id="{3010C131-4254-4624-9E1B-7D0C57D82497}"/>
              </a:ext>
            </a:extLst>
          </p:cNvPr>
          <p:cNvSpPr txBox="1"/>
          <p:nvPr/>
        </p:nvSpPr>
        <p:spPr>
          <a:xfrm>
            <a:off x="11199367" y="1958847"/>
            <a:ext cx="640080" cy="561692"/>
          </a:xfrm>
          <a:prstGeom prst="rect">
            <a:avLst/>
          </a:prstGeom>
          <a:solidFill>
            <a:srgbClr val="B3B3B3"/>
          </a:solidFill>
          <a:ln w="18288">
            <a:solidFill>
              <a:srgbClr val="FFFFFF"/>
            </a:solidFill>
          </a:ln>
        </p:spPr>
        <p:txBody>
          <a:bodyPr vert="horz" wrap="square" lIns="0" tIns="0" rIns="0" bIns="0" rtlCol="0">
            <a:spAutoFit/>
          </a:bodyPr>
          <a:lstStyle/>
          <a:p>
            <a:pPr eaLnBrk="1" fontAlgn="auto" hangingPunct="1">
              <a:spcBef>
                <a:spcPts val="0"/>
              </a:spcBef>
              <a:spcAft>
                <a:spcPts val="0"/>
              </a:spcAft>
            </a:pPr>
            <a:endParaRPr lang="en-US" sz="800" dirty="0">
              <a:solidFill>
                <a:prstClr val="black"/>
              </a:solidFill>
              <a:latin typeface="+mj-lt"/>
              <a:ea typeface="+mn-ea"/>
              <a:cs typeface="Times New Roman"/>
            </a:endParaRPr>
          </a:p>
          <a:p>
            <a:pPr eaLnBrk="1" fontAlgn="auto" hangingPunct="1">
              <a:spcBef>
                <a:spcPts val="0"/>
              </a:spcBef>
              <a:spcAft>
                <a:spcPts val="0"/>
              </a:spcAft>
            </a:pPr>
            <a:endParaRPr lang="en-US" sz="800" dirty="0">
              <a:solidFill>
                <a:prstClr val="black"/>
              </a:solidFill>
              <a:latin typeface="+mj-lt"/>
              <a:ea typeface="+mn-ea"/>
              <a:cs typeface="Times New Roman"/>
            </a:endParaRPr>
          </a:p>
          <a:p>
            <a:pPr eaLnBrk="1" fontAlgn="auto" hangingPunct="1">
              <a:spcBef>
                <a:spcPts val="0"/>
              </a:spcBef>
              <a:spcAft>
                <a:spcPts val="0"/>
              </a:spcAft>
            </a:pPr>
            <a:endParaRPr lang="en-US" sz="800" dirty="0">
              <a:solidFill>
                <a:prstClr val="black"/>
              </a:solidFill>
              <a:latin typeface="+mj-lt"/>
              <a:ea typeface="+mn-ea"/>
              <a:cs typeface="Times New Roman"/>
            </a:endParaRPr>
          </a:p>
          <a:p>
            <a:pPr marL="52069" eaLnBrk="1" fontAlgn="auto" hangingPunct="1">
              <a:spcBef>
                <a:spcPts val="560"/>
              </a:spcBef>
              <a:spcAft>
                <a:spcPts val="0"/>
              </a:spcAft>
            </a:pPr>
            <a:r>
              <a:rPr lang="en-US" sz="750" spc="-15" dirty="0">
                <a:solidFill>
                  <a:srgbClr val="FFFFFF"/>
                </a:solidFill>
                <a:latin typeface="+mj-lt"/>
                <a:ea typeface="+mn-ea"/>
                <a:cs typeface="Arial"/>
              </a:rPr>
              <a:t>Collaboration</a:t>
            </a:r>
            <a:endParaRPr lang="en-US" sz="750" dirty="0">
              <a:solidFill>
                <a:prstClr val="black"/>
              </a:solidFill>
              <a:latin typeface="+mj-lt"/>
              <a:ea typeface="+mn-ea"/>
              <a:cs typeface="Arial"/>
            </a:endParaRPr>
          </a:p>
        </p:txBody>
      </p:sp>
      <p:sp>
        <p:nvSpPr>
          <p:cNvPr id="37" name="object 43">
            <a:extLst>
              <a:ext uri="{FF2B5EF4-FFF2-40B4-BE49-F238E27FC236}">
                <a16:creationId xmlns:a16="http://schemas.microsoft.com/office/drawing/2014/main" id="{A224CBAD-FA5E-4FF6-BAA9-ED68D5A1F9B6}"/>
              </a:ext>
            </a:extLst>
          </p:cNvPr>
          <p:cNvSpPr/>
          <p:nvPr/>
        </p:nvSpPr>
        <p:spPr>
          <a:xfrm>
            <a:off x="1921256" y="2882391"/>
            <a:ext cx="1475740" cy="2042160"/>
          </a:xfrm>
          <a:custGeom>
            <a:avLst/>
            <a:gdLst/>
            <a:ahLst/>
            <a:cxnLst/>
            <a:rect l="l" t="t" r="r" b="b"/>
            <a:pathLst>
              <a:path w="1475739" h="2042160">
                <a:moveTo>
                  <a:pt x="0" y="2042160"/>
                </a:moveTo>
                <a:lnTo>
                  <a:pt x="1475231" y="2042160"/>
                </a:lnTo>
                <a:lnTo>
                  <a:pt x="1475231" y="0"/>
                </a:lnTo>
                <a:lnTo>
                  <a:pt x="0" y="0"/>
                </a:lnTo>
                <a:lnTo>
                  <a:pt x="0" y="2042160"/>
                </a:lnTo>
                <a:close/>
              </a:path>
            </a:pathLst>
          </a:custGeom>
          <a:solidFill>
            <a:srgbClr val="636363"/>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38" name="object 44">
            <a:extLst>
              <a:ext uri="{FF2B5EF4-FFF2-40B4-BE49-F238E27FC236}">
                <a16:creationId xmlns:a16="http://schemas.microsoft.com/office/drawing/2014/main" id="{0EB93B4C-42CE-42B1-8410-982BEC5FD035}"/>
              </a:ext>
            </a:extLst>
          </p:cNvPr>
          <p:cNvSpPr txBox="1"/>
          <p:nvPr/>
        </p:nvSpPr>
        <p:spPr>
          <a:xfrm>
            <a:off x="2246249" y="2912109"/>
            <a:ext cx="821690" cy="152606"/>
          </a:xfrm>
          <a:prstGeom prst="rect">
            <a:avLst/>
          </a:prstGeom>
        </p:spPr>
        <p:txBody>
          <a:bodyPr vert="horz" wrap="square" lIns="0" tIns="13970" rIns="0" bIns="0" rtlCol="0">
            <a:spAutoFit/>
          </a:bodyPr>
          <a:lstStyle/>
          <a:p>
            <a:pPr marL="12700" eaLnBrk="1" fontAlgn="auto" hangingPunct="1">
              <a:spcBef>
                <a:spcPts val="110"/>
              </a:spcBef>
              <a:spcAft>
                <a:spcPts val="0"/>
              </a:spcAft>
            </a:pPr>
            <a:r>
              <a:rPr lang="en-US" sz="900" b="1" dirty="0">
                <a:solidFill>
                  <a:srgbClr val="FFFFFF"/>
                </a:solidFill>
                <a:latin typeface="+mj-lt"/>
                <a:ea typeface="+mn-ea"/>
                <a:cs typeface="Arial"/>
              </a:rPr>
              <a:t>Data</a:t>
            </a:r>
            <a:r>
              <a:rPr lang="en-US" sz="900" b="1" spc="-50" dirty="0">
                <a:solidFill>
                  <a:srgbClr val="FFFFFF"/>
                </a:solidFill>
                <a:latin typeface="+mj-lt"/>
                <a:ea typeface="+mn-ea"/>
                <a:cs typeface="Arial"/>
              </a:rPr>
              <a:t> </a:t>
            </a:r>
            <a:r>
              <a:rPr lang="en-US" sz="900" b="1" dirty="0">
                <a:solidFill>
                  <a:srgbClr val="FFFFFF"/>
                </a:solidFill>
                <a:latin typeface="+mj-lt"/>
                <a:ea typeface="+mn-ea"/>
                <a:cs typeface="Arial"/>
              </a:rPr>
              <a:t>Ingestion</a:t>
            </a:r>
            <a:endParaRPr lang="en-US" sz="900" dirty="0">
              <a:solidFill>
                <a:prstClr val="black"/>
              </a:solidFill>
              <a:latin typeface="+mj-lt"/>
              <a:ea typeface="+mn-ea"/>
              <a:cs typeface="Arial"/>
            </a:endParaRPr>
          </a:p>
        </p:txBody>
      </p:sp>
      <p:sp>
        <p:nvSpPr>
          <p:cNvPr id="39" name="object 45">
            <a:extLst>
              <a:ext uri="{FF2B5EF4-FFF2-40B4-BE49-F238E27FC236}">
                <a16:creationId xmlns:a16="http://schemas.microsoft.com/office/drawing/2014/main" id="{DFB2F29E-1D30-40DA-8A91-14FE41C6A691}"/>
              </a:ext>
            </a:extLst>
          </p:cNvPr>
          <p:cNvSpPr/>
          <p:nvPr/>
        </p:nvSpPr>
        <p:spPr>
          <a:xfrm>
            <a:off x="2000504" y="3239007"/>
            <a:ext cx="1332230" cy="1597660"/>
          </a:xfrm>
          <a:custGeom>
            <a:avLst/>
            <a:gdLst/>
            <a:ahLst/>
            <a:cxnLst/>
            <a:rect l="l" t="t" r="r" b="b"/>
            <a:pathLst>
              <a:path w="1332230" h="1597660">
                <a:moveTo>
                  <a:pt x="0" y="1597152"/>
                </a:moveTo>
                <a:lnTo>
                  <a:pt x="1331976" y="1597152"/>
                </a:lnTo>
                <a:lnTo>
                  <a:pt x="1331976" y="0"/>
                </a:lnTo>
                <a:lnTo>
                  <a:pt x="0" y="0"/>
                </a:lnTo>
                <a:lnTo>
                  <a:pt x="0" y="1597152"/>
                </a:lnTo>
                <a:close/>
              </a:path>
            </a:pathLst>
          </a:custGeom>
          <a:solidFill>
            <a:srgbClr val="FFFFFF"/>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40" name="object 46">
            <a:extLst>
              <a:ext uri="{FF2B5EF4-FFF2-40B4-BE49-F238E27FC236}">
                <a16:creationId xmlns:a16="http://schemas.microsoft.com/office/drawing/2014/main" id="{BD449BC8-B1DA-45C1-8011-F6529E7A2B68}"/>
              </a:ext>
            </a:extLst>
          </p:cNvPr>
          <p:cNvSpPr/>
          <p:nvPr/>
        </p:nvSpPr>
        <p:spPr>
          <a:xfrm>
            <a:off x="2000504" y="3239007"/>
            <a:ext cx="1332230" cy="1597660"/>
          </a:xfrm>
          <a:custGeom>
            <a:avLst/>
            <a:gdLst/>
            <a:ahLst/>
            <a:cxnLst/>
            <a:rect l="l" t="t" r="r" b="b"/>
            <a:pathLst>
              <a:path w="1332230" h="1597660">
                <a:moveTo>
                  <a:pt x="0" y="1597152"/>
                </a:moveTo>
                <a:lnTo>
                  <a:pt x="1331976" y="1597152"/>
                </a:lnTo>
                <a:lnTo>
                  <a:pt x="1331976" y="0"/>
                </a:lnTo>
                <a:lnTo>
                  <a:pt x="0" y="0"/>
                </a:lnTo>
                <a:lnTo>
                  <a:pt x="0" y="1597152"/>
                </a:lnTo>
                <a:close/>
              </a:path>
            </a:pathLst>
          </a:custGeom>
          <a:ln w="18288">
            <a:solidFill>
              <a:srgbClr val="E6E6E6"/>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41" name="object 47">
            <a:extLst>
              <a:ext uri="{FF2B5EF4-FFF2-40B4-BE49-F238E27FC236}">
                <a16:creationId xmlns:a16="http://schemas.microsoft.com/office/drawing/2014/main" id="{DDDF2D7B-144B-43E1-92C8-C91C952317E1}"/>
              </a:ext>
            </a:extLst>
          </p:cNvPr>
          <p:cNvSpPr/>
          <p:nvPr/>
        </p:nvSpPr>
        <p:spPr>
          <a:xfrm>
            <a:off x="1921256" y="2397759"/>
            <a:ext cx="6276340" cy="426720"/>
          </a:xfrm>
          <a:custGeom>
            <a:avLst/>
            <a:gdLst/>
            <a:ahLst/>
            <a:cxnLst/>
            <a:rect l="l" t="t" r="r" b="b"/>
            <a:pathLst>
              <a:path w="6276340" h="426719">
                <a:moveTo>
                  <a:pt x="0" y="426720"/>
                </a:moveTo>
                <a:lnTo>
                  <a:pt x="6275832" y="426720"/>
                </a:lnTo>
                <a:lnTo>
                  <a:pt x="6275832" y="0"/>
                </a:lnTo>
                <a:lnTo>
                  <a:pt x="0" y="0"/>
                </a:lnTo>
                <a:lnTo>
                  <a:pt x="0" y="426720"/>
                </a:lnTo>
                <a:close/>
              </a:path>
            </a:pathLst>
          </a:custGeom>
          <a:solidFill>
            <a:srgbClr val="808080"/>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42" name="object 48">
            <a:extLst>
              <a:ext uri="{FF2B5EF4-FFF2-40B4-BE49-F238E27FC236}">
                <a16:creationId xmlns:a16="http://schemas.microsoft.com/office/drawing/2014/main" id="{3479B85C-16D7-4CD9-B058-038AAD90200C}"/>
              </a:ext>
            </a:extLst>
          </p:cNvPr>
          <p:cNvSpPr txBox="1"/>
          <p:nvPr/>
        </p:nvSpPr>
        <p:spPr>
          <a:xfrm>
            <a:off x="4780533" y="2424430"/>
            <a:ext cx="580390" cy="152606"/>
          </a:xfrm>
          <a:prstGeom prst="rect">
            <a:avLst/>
          </a:prstGeom>
        </p:spPr>
        <p:txBody>
          <a:bodyPr vert="horz" wrap="square" lIns="0" tIns="13970" rIns="0" bIns="0" rtlCol="0">
            <a:spAutoFit/>
          </a:bodyPr>
          <a:lstStyle/>
          <a:p>
            <a:pPr eaLnBrk="1" fontAlgn="auto" hangingPunct="1">
              <a:spcBef>
                <a:spcPts val="110"/>
              </a:spcBef>
              <a:spcAft>
                <a:spcPts val="0"/>
              </a:spcAft>
            </a:pPr>
            <a:r>
              <a:rPr lang="en-US" sz="900" b="1" dirty="0">
                <a:solidFill>
                  <a:srgbClr val="FFFFFF"/>
                </a:solidFill>
                <a:latin typeface="+mj-lt"/>
                <a:ea typeface="+mn-ea"/>
                <a:cs typeface="Arial"/>
              </a:rPr>
              <a:t>Streaming</a:t>
            </a:r>
            <a:endParaRPr lang="en-US" sz="900" dirty="0">
              <a:solidFill>
                <a:prstClr val="black"/>
              </a:solidFill>
              <a:latin typeface="+mj-lt"/>
              <a:ea typeface="+mn-ea"/>
              <a:cs typeface="Arial"/>
            </a:endParaRPr>
          </a:p>
        </p:txBody>
      </p:sp>
      <p:sp>
        <p:nvSpPr>
          <p:cNvPr id="43" name="object 49">
            <a:extLst>
              <a:ext uri="{FF2B5EF4-FFF2-40B4-BE49-F238E27FC236}">
                <a16:creationId xmlns:a16="http://schemas.microsoft.com/office/drawing/2014/main" id="{29D619DF-63A8-42F2-AB80-FC391FF9B6F9}"/>
              </a:ext>
            </a:extLst>
          </p:cNvPr>
          <p:cNvSpPr/>
          <p:nvPr/>
        </p:nvSpPr>
        <p:spPr>
          <a:xfrm>
            <a:off x="8251952" y="2394712"/>
            <a:ext cx="1274445" cy="1571359"/>
          </a:xfrm>
          <a:custGeom>
            <a:avLst/>
            <a:gdLst/>
            <a:ahLst/>
            <a:cxnLst/>
            <a:rect l="l" t="t" r="r" b="b"/>
            <a:pathLst>
              <a:path w="1274445" h="2529840">
                <a:moveTo>
                  <a:pt x="0" y="2529840"/>
                </a:moveTo>
                <a:lnTo>
                  <a:pt x="1274063" y="2529840"/>
                </a:lnTo>
                <a:lnTo>
                  <a:pt x="1274063" y="0"/>
                </a:lnTo>
                <a:lnTo>
                  <a:pt x="0" y="0"/>
                </a:lnTo>
                <a:lnTo>
                  <a:pt x="0" y="2529840"/>
                </a:lnTo>
                <a:close/>
              </a:path>
            </a:pathLst>
          </a:custGeom>
          <a:solidFill>
            <a:srgbClr val="636363"/>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44" name="object 50">
            <a:extLst>
              <a:ext uri="{FF2B5EF4-FFF2-40B4-BE49-F238E27FC236}">
                <a16:creationId xmlns:a16="http://schemas.microsoft.com/office/drawing/2014/main" id="{01B656EE-1D08-4A15-AEA0-0F8E704C764F}"/>
              </a:ext>
            </a:extLst>
          </p:cNvPr>
          <p:cNvSpPr txBox="1"/>
          <p:nvPr/>
        </p:nvSpPr>
        <p:spPr>
          <a:xfrm>
            <a:off x="8409940" y="2423795"/>
            <a:ext cx="961390" cy="301625"/>
          </a:xfrm>
          <a:prstGeom prst="rect">
            <a:avLst/>
          </a:prstGeom>
        </p:spPr>
        <p:txBody>
          <a:bodyPr vert="horz" wrap="square" lIns="0" tIns="13970" rIns="0" bIns="0" rtlCol="0">
            <a:spAutoFit/>
          </a:bodyPr>
          <a:lstStyle/>
          <a:p>
            <a:pPr marL="12700" marR="5080" indent="2540" eaLnBrk="1" fontAlgn="auto" hangingPunct="1">
              <a:spcBef>
                <a:spcPts val="110"/>
              </a:spcBef>
              <a:spcAft>
                <a:spcPts val="0"/>
              </a:spcAft>
            </a:pPr>
            <a:r>
              <a:rPr lang="en-US" sz="900" b="1" dirty="0">
                <a:solidFill>
                  <a:srgbClr val="FFFFFF"/>
                </a:solidFill>
                <a:latin typeface="+mj-lt"/>
                <a:ea typeface="+mn-ea"/>
                <a:cs typeface="Arial"/>
              </a:rPr>
              <a:t>Data</a:t>
            </a:r>
            <a:r>
              <a:rPr lang="en-US" sz="900" b="1" spc="-60" dirty="0">
                <a:solidFill>
                  <a:srgbClr val="FFFFFF"/>
                </a:solidFill>
                <a:latin typeface="+mj-lt"/>
                <a:ea typeface="+mn-ea"/>
                <a:cs typeface="Arial"/>
              </a:rPr>
              <a:t> </a:t>
            </a:r>
            <a:r>
              <a:rPr lang="en-US" sz="900" b="1" dirty="0">
                <a:solidFill>
                  <a:srgbClr val="FFFFFF"/>
                </a:solidFill>
                <a:latin typeface="+mj-lt"/>
                <a:ea typeface="+mn-ea"/>
                <a:cs typeface="Arial"/>
              </a:rPr>
              <a:t>Distribution  and</a:t>
            </a:r>
            <a:r>
              <a:rPr lang="en-US" sz="900" b="1" spc="-75" dirty="0">
                <a:solidFill>
                  <a:srgbClr val="FFFFFF"/>
                </a:solidFill>
                <a:latin typeface="+mj-lt"/>
                <a:ea typeface="+mn-ea"/>
                <a:cs typeface="Arial"/>
              </a:rPr>
              <a:t> </a:t>
            </a:r>
            <a:r>
              <a:rPr lang="en-US" sz="900" b="1" dirty="0">
                <a:solidFill>
                  <a:srgbClr val="FFFFFF"/>
                </a:solidFill>
                <a:latin typeface="+mj-lt"/>
                <a:ea typeface="+mn-ea"/>
                <a:cs typeface="Arial"/>
              </a:rPr>
              <a:t>Provisioning</a:t>
            </a:r>
            <a:endParaRPr lang="en-US" sz="900" dirty="0">
              <a:solidFill>
                <a:prstClr val="black"/>
              </a:solidFill>
              <a:latin typeface="+mj-lt"/>
              <a:ea typeface="+mn-ea"/>
              <a:cs typeface="Arial"/>
            </a:endParaRPr>
          </a:p>
        </p:txBody>
      </p:sp>
      <p:sp>
        <p:nvSpPr>
          <p:cNvPr id="45" name="object 51">
            <a:extLst>
              <a:ext uri="{FF2B5EF4-FFF2-40B4-BE49-F238E27FC236}">
                <a16:creationId xmlns:a16="http://schemas.microsoft.com/office/drawing/2014/main" id="{F8EC79EF-11F3-40FC-830D-EFB4E1420B67}"/>
              </a:ext>
            </a:extLst>
          </p:cNvPr>
          <p:cNvSpPr/>
          <p:nvPr/>
        </p:nvSpPr>
        <p:spPr>
          <a:xfrm>
            <a:off x="1933448" y="5662168"/>
            <a:ext cx="9037320" cy="561340"/>
          </a:xfrm>
          <a:custGeom>
            <a:avLst/>
            <a:gdLst/>
            <a:ahLst/>
            <a:cxnLst/>
            <a:rect l="l" t="t" r="r" b="b"/>
            <a:pathLst>
              <a:path w="9037320" h="561339">
                <a:moveTo>
                  <a:pt x="0" y="560832"/>
                </a:moveTo>
                <a:lnTo>
                  <a:pt x="9037319" y="560832"/>
                </a:lnTo>
                <a:lnTo>
                  <a:pt x="9037319" y="0"/>
                </a:lnTo>
                <a:lnTo>
                  <a:pt x="0" y="0"/>
                </a:lnTo>
                <a:lnTo>
                  <a:pt x="0" y="560832"/>
                </a:lnTo>
                <a:close/>
              </a:path>
            </a:pathLst>
          </a:custGeom>
          <a:solidFill>
            <a:srgbClr val="636363"/>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46" name="object 52">
            <a:extLst>
              <a:ext uri="{FF2B5EF4-FFF2-40B4-BE49-F238E27FC236}">
                <a16:creationId xmlns:a16="http://schemas.microsoft.com/office/drawing/2014/main" id="{D98B6272-64B2-48B6-8B95-D207DEBFB73B}"/>
              </a:ext>
            </a:extLst>
          </p:cNvPr>
          <p:cNvSpPr txBox="1"/>
          <p:nvPr/>
        </p:nvSpPr>
        <p:spPr>
          <a:xfrm>
            <a:off x="6072758" y="5692749"/>
            <a:ext cx="768350" cy="152606"/>
          </a:xfrm>
          <a:prstGeom prst="rect">
            <a:avLst/>
          </a:prstGeom>
        </p:spPr>
        <p:txBody>
          <a:bodyPr vert="horz" wrap="square" lIns="0" tIns="13970" rIns="0" bIns="0" rtlCol="0">
            <a:spAutoFit/>
          </a:bodyPr>
          <a:lstStyle/>
          <a:p>
            <a:pPr marL="12700" eaLnBrk="1" fontAlgn="auto" hangingPunct="1">
              <a:spcBef>
                <a:spcPts val="110"/>
              </a:spcBef>
              <a:spcAft>
                <a:spcPts val="0"/>
              </a:spcAft>
            </a:pPr>
            <a:r>
              <a:rPr lang="en-US" sz="900" b="1" dirty="0">
                <a:solidFill>
                  <a:srgbClr val="FFFFFF"/>
                </a:solidFill>
                <a:latin typeface="+mj-lt"/>
                <a:ea typeface="+mn-ea"/>
                <a:cs typeface="Arial"/>
              </a:rPr>
              <a:t>Data</a:t>
            </a:r>
            <a:r>
              <a:rPr lang="en-US" sz="900" b="1" spc="-60" dirty="0">
                <a:solidFill>
                  <a:srgbClr val="FFFFFF"/>
                </a:solidFill>
                <a:latin typeface="+mj-lt"/>
                <a:ea typeface="+mn-ea"/>
                <a:cs typeface="Arial"/>
              </a:rPr>
              <a:t> </a:t>
            </a:r>
            <a:r>
              <a:rPr lang="en-US" sz="900" b="1" dirty="0">
                <a:solidFill>
                  <a:srgbClr val="FFFFFF"/>
                </a:solidFill>
                <a:latin typeface="+mj-lt"/>
                <a:ea typeface="+mn-ea"/>
                <a:cs typeface="Arial"/>
              </a:rPr>
              <a:t>Transfer</a:t>
            </a:r>
            <a:endParaRPr lang="en-US" sz="900" dirty="0">
              <a:solidFill>
                <a:prstClr val="black"/>
              </a:solidFill>
              <a:latin typeface="+mj-lt"/>
              <a:ea typeface="+mn-ea"/>
              <a:cs typeface="Arial"/>
            </a:endParaRPr>
          </a:p>
        </p:txBody>
      </p:sp>
      <p:sp>
        <p:nvSpPr>
          <p:cNvPr id="47" name="object 53">
            <a:extLst>
              <a:ext uri="{FF2B5EF4-FFF2-40B4-BE49-F238E27FC236}">
                <a16:creationId xmlns:a16="http://schemas.microsoft.com/office/drawing/2014/main" id="{9EC40E2E-B83B-482F-AC83-31DF9D7B53C9}"/>
              </a:ext>
            </a:extLst>
          </p:cNvPr>
          <p:cNvSpPr/>
          <p:nvPr/>
        </p:nvSpPr>
        <p:spPr>
          <a:xfrm>
            <a:off x="1924304" y="4991608"/>
            <a:ext cx="9046845" cy="603885"/>
          </a:xfrm>
          <a:custGeom>
            <a:avLst/>
            <a:gdLst/>
            <a:ahLst/>
            <a:cxnLst/>
            <a:rect l="l" t="t" r="r" b="b"/>
            <a:pathLst>
              <a:path w="9046845" h="603885">
                <a:moveTo>
                  <a:pt x="0" y="603504"/>
                </a:moveTo>
                <a:lnTo>
                  <a:pt x="9046464" y="603504"/>
                </a:lnTo>
                <a:lnTo>
                  <a:pt x="9046464" y="0"/>
                </a:lnTo>
                <a:lnTo>
                  <a:pt x="0" y="0"/>
                </a:lnTo>
                <a:lnTo>
                  <a:pt x="0" y="603504"/>
                </a:lnTo>
                <a:close/>
              </a:path>
            </a:pathLst>
          </a:custGeom>
          <a:solidFill>
            <a:srgbClr val="636363"/>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48" name="object 54">
            <a:extLst>
              <a:ext uri="{FF2B5EF4-FFF2-40B4-BE49-F238E27FC236}">
                <a16:creationId xmlns:a16="http://schemas.microsoft.com/office/drawing/2014/main" id="{E9BD1F4E-C767-45D8-A83D-CAEE72E2A059}"/>
              </a:ext>
            </a:extLst>
          </p:cNvPr>
          <p:cNvSpPr txBox="1"/>
          <p:nvPr/>
        </p:nvSpPr>
        <p:spPr>
          <a:xfrm>
            <a:off x="5753862" y="5021326"/>
            <a:ext cx="1393825" cy="152606"/>
          </a:xfrm>
          <a:prstGeom prst="rect">
            <a:avLst/>
          </a:prstGeom>
        </p:spPr>
        <p:txBody>
          <a:bodyPr vert="horz" wrap="square" lIns="0" tIns="13970" rIns="0" bIns="0" rtlCol="0">
            <a:spAutoFit/>
          </a:bodyPr>
          <a:lstStyle/>
          <a:p>
            <a:pPr marL="12700" eaLnBrk="1" fontAlgn="auto" hangingPunct="1">
              <a:spcBef>
                <a:spcPts val="110"/>
              </a:spcBef>
              <a:spcAft>
                <a:spcPts val="0"/>
              </a:spcAft>
            </a:pPr>
            <a:r>
              <a:rPr lang="en-US" sz="900" b="1" dirty="0">
                <a:solidFill>
                  <a:srgbClr val="FFFFFF"/>
                </a:solidFill>
                <a:latin typeface="+mj-lt"/>
                <a:ea typeface="+mn-ea"/>
                <a:cs typeface="Arial"/>
              </a:rPr>
              <a:t>Shared Operational</a:t>
            </a:r>
            <a:r>
              <a:rPr lang="en-US" sz="900" b="1" spc="114" dirty="0">
                <a:solidFill>
                  <a:srgbClr val="FFFFFF"/>
                </a:solidFill>
                <a:latin typeface="+mj-lt"/>
                <a:ea typeface="+mn-ea"/>
                <a:cs typeface="Arial"/>
              </a:rPr>
              <a:t> </a:t>
            </a:r>
            <a:r>
              <a:rPr lang="en-US" sz="900" b="1" dirty="0">
                <a:solidFill>
                  <a:srgbClr val="FFFFFF"/>
                </a:solidFill>
                <a:latin typeface="+mj-lt"/>
                <a:ea typeface="+mn-ea"/>
                <a:cs typeface="Arial"/>
              </a:rPr>
              <a:t>Data</a:t>
            </a:r>
            <a:endParaRPr lang="en-US" sz="900" dirty="0">
              <a:solidFill>
                <a:prstClr val="black"/>
              </a:solidFill>
              <a:latin typeface="+mj-lt"/>
              <a:ea typeface="+mn-ea"/>
              <a:cs typeface="Arial"/>
            </a:endParaRPr>
          </a:p>
        </p:txBody>
      </p:sp>
      <p:sp>
        <p:nvSpPr>
          <p:cNvPr id="49" name="object 55">
            <a:extLst>
              <a:ext uri="{FF2B5EF4-FFF2-40B4-BE49-F238E27FC236}">
                <a16:creationId xmlns:a16="http://schemas.microsoft.com/office/drawing/2014/main" id="{8C868269-E60F-4656-A523-583FA35E4386}"/>
              </a:ext>
            </a:extLst>
          </p:cNvPr>
          <p:cNvSpPr/>
          <p:nvPr/>
        </p:nvSpPr>
        <p:spPr>
          <a:xfrm>
            <a:off x="8319007" y="2897632"/>
            <a:ext cx="1143000" cy="992251"/>
          </a:xfrm>
          <a:custGeom>
            <a:avLst/>
            <a:gdLst/>
            <a:ahLst/>
            <a:cxnLst/>
            <a:rect l="l" t="t" r="r" b="b"/>
            <a:pathLst>
              <a:path w="1143000" h="1938654">
                <a:moveTo>
                  <a:pt x="0" y="1938528"/>
                </a:moveTo>
                <a:lnTo>
                  <a:pt x="1143000" y="1938528"/>
                </a:lnTo>
                <a:lnTo>
                  <a:pt x="1143000" y="0"/>
                </a:lnTo>
                <a:lnTo>
                  <a:pt x="0" y="0"/>
                </a:lnTo>
                <a:lnTo>
                  <a:pt x="0" y="1938528"/>
                </a:lnTo>
                <a:close/>
              </a:path>
            </a:pathLst>
          </a:custGeom>
          <a:solidFill>
            <a:srgbClr val="FFFFFF"/>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50" name="object 56">
            <a:extLst>
              <a:ext uri="{FF2B5EF4-FFF2-40B4-BE49-F238E27FC236}">
                <a16:creationId xmlns:a16="http://schemas.microsoft.com/office/drawing/2014/main" id="{44C3716A-EEF6-44F2-B872-935C7B5F779F}"/>
              </a:ext>
            </a:extLst>
          </p:cNvPr>
          <p:cNvSpPr/>
          <p:nvPr/>
        </p:nvSpPr>
        <p:spPr>
          <a:xfrm>
            <a:off x="8319007" y="2897632"/>
            <a:ext cx="1143000" cy="1045314"/>
          </a:xfrm>
          <a:custGeom>
            <a:avLst/>
            <a:gdLst/>
            <a:ahLst/>
            <a:cxnLst/>
            <a:rect l="l" t="t" r="r" b="b"/>
            <a:pathLst>
              <a:path w="1143000" h="1938654">
                <a:moveTo>
                  <a:pt x="0" y="1938528"/>
                </a:moveTo>
                <a:lnTo>
                  <a:pt x="1143000" y="1938528"/>
                </a:lnTo>
                <a:lnTo>
                  <a:pt x="1143000" y="0"/>
                </a:lnTo>
                <a:lnTo>
                  <a:pt x="0" y="0"/>
                </a:lnTo>
                <a:lnTo>
                  <a:pt x="0" y="1938528"/>
                </a:lnTo>
                <a:close/>
              </a:path>
            </a:pathLst>
          </a:custGeom>
          <a:ln w="18288">
            <a:solidFill>
              <a:srgbClr val="E6E6E6"/>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51" name="object 57">
            <a:extLst>
              <a:ext uri="{FF2B5EF4-FFF2-40B4-BE49-F238E27FC236}">
                <a16:creationId xmlns:a16="http://schemas.microsoft.com/office/drawing/2014/main" id="{FD40D3E9-F859-4B8B-A272-32DD71918B34}"/>
              </a:ext>
            </a:extLst>
          </p:cNvPr>
          <p:cNvSpPr txBox="1"/>
          <p:nvPr/>
        </p:nvSpPr>
        <p:spPr>
          <a:xfrm>
            <a:off x="2037080" y="2592831"/>
            <a:ext cx="6083935" cy="152606"/>
          </a:xfrm>
          <a:prstGeom prst="rect">
            <a:avLst/>
          </a:prstGeom>
          <a:solidFill>
            <a:srgbClr val="C1C1C1"/>
          </a:solidFill>
          <a:ln w="18288">
            <a:solidFill>
              <a:srgbClr val="E6E6E6"/>
            </a:solidFill>
          </a:ln>
        </p:spPr>
        <p:txBody>
          <a:bodyPr vert="horz" wrap="square" lIns="0" tIns="13970" rIns="0" bIns="0" rtlCol="0">
            <a:spAutoFit/>
          </a:bodyPr>
          <a:lstStyle/>
          <a:p>
            <a:pPr marL="1348105" eaLnBrk="1" fontAlgn="auto" hangingPunct="1">
              <a:spcBef>
                <a:spcPts val="110"/>
              </a:spcBef>
              <a:spcAft>
                <a:spcPts val="0"/>
              </a:spcAft>
            </a:pPr>
            <a:r>
              <a:rPr lang="en-US" sz="900" dirty="0">
                <a:solidFill>
                  <a:srgbClr val="FFFFFF"/>
                </a:solidFill>
                <a:latin typeface="+mj-lt"/>
                <a:ea typeface="+mn-ea"/>
                <a:cs typeface="Arial"/>
              </a:rPr>
              <a:t>Supports</a:t>
            </a:r>
            <a:r>
              <a:rPr lang="en-US" sz="900" spc="-60" dirty="0">
                <a:solidFill>
                  <a:srgbClr val="FFFFFF"/>
                </a:solidFill>
                <a:latin typeface="+mj-lt"/>
                <a:ea typeface="+mn-ea"/>
                <a:cs typeface="Arial"/>
              </a:rPr>
              <a:t> </a:t>
            </a:r>
            <a:r>
              <a:rPr lang="en-US" sz="900" dirty="0">
                <a:solidFill>
                  <a:srgbClr val="FFFFFF"/>
                </a:solidFill>
                <a:latin typeface="+mj-lt"/>
                <a:ea typeface="+mn-ea"/>
                <a:cs typeface="Arial"/>
              </a:rPr>
              <a:t>data</a:t>
            </a:r>
            <a:r>
              <a:rPr lang="en-US" sz="900" spc="-15" dirty="0">
                <a:solidFill>
                  <a:srgbClr val="FFFFFF"/>
                </a:solidFill>
                <a:latin typeface="+mj-lt"/>
                <a:ea typeface="+mn-ea"/>
                <a:cs typeface="Arial"/>
              </a:rPr>
              <a:t> </a:t>
            </a:r>
            <a:r>
              <a:rPr lang="en-US" sz="900" dirty="0">
                <a:solidFill>
                  <a:srgbClr val="FFFFFF"/>
                </a:solidFill>
                <a:latin typeface="+mj-lt"/>
                <a:ea typeface="+mn-ea"/>
                <a:cs typeface="Arial"/>
              </a:rPr>
              <a:t>transfer</a:t>
            </a:r>
            <a:r>
              <a:rPr lang="en-US" sz="900" spc="-55" dirty="0">
                <a:solidFill>
                  <a:srgbClr val="FFFFFF"/>
                </a:solidFill>
                <a:latin typeface="+mj-lt"/>
                <a:ea typeface="+mn-ea"/>
                <a:cs typeface="Arial"/>
              </a:rPr>
              <a:t> </a:t>
            </a:r>
            <a:r>
              <a:rPr lang="en-US" sz="900" dirty="0">
                <a:solidFill>
                  <a:srgbClr val="FFFFFF"/>
                </a:solidFill>
                <a:latin typeface="+mj-lt"/>
                <a:ea typeface="+mn-ea"/>
                <a:cs typeface="Arial"/>
              </a:rPr>
              <a:t>and</a:t>
            </a:r>
            <a:r>
              <a:rPr lang="en-US" sz="900" spc="-15" dirty="0">
                <a:solidFill>
                  <a:srgbClr val="FFFFFF"/>
                </a:solidFill>
                <a:latin typeface="+mj-lt"/>
                <a:ea typeface="+mn-ea"/>
                <a:cs typeface="Arial"/>
              </a:rPr>
              <a:t> </a:t>
            </a:r>
            <a:r>
              <a:rPr lang="en-US" sz="900" dirty="0">
                <a:solidFill>
                  <a:srgbClr val="FFFFFF"/>
                </a:solidFill>
                <a:latin typeface="+mj-lt"/>
                <a:ea typeface="+mn-ea"/>
                <a:cs typeface="Arial"/>
              </a:rPr>
              <a:t>processing</a:t>
            </a:r>
            <a:r>
              <a:rPr lang="en-US" sz="900" spc="-40" dirty="0">
                <a:solidFill>
                  <a:srgbClr val="FFFFFF"/>
                </a:solidFill>
                <a:latin typeface="+mj-lt"/>
                <a:ea typeface="+mn-ea"/>
                <a:cs typeface="Arial"/>
              </a:rPr>
              <a:t> </a:t>
            </a:r>
            <a:r>
              <a:rPr lang="en-US" sz="900" dirty="0">
                <a:solidFill>
                  <a:srgbClr val="FFFFFF"/>
                </a:solidFill>
                <a:latin typeface="+mj-lt"/>
                <a:ea typeface="+mn-ea"/>
                <a:cs typeface="Arial"/>
              </a:rPr>
              <a:t>at</a:t>
            </a:r>
            <a:r>
              <a:rPr lang="en-US" sz="900" spc="-5" dirty="0">
                <a:solidFill>
                  <a:srgbClr val="FFFFFF"/>
                </a:solidFill>
                <a:latin typeface="+mj-lt"/>
                <a:ea typeface="+mn-ea"/>
                <a:cs typeface="Arial"/>
              </a:rPr>
              <a:t> </a:t>
            </a:r>
            <a:r>
              <a:rPr lang="en-US" sz="900" spc="5" dirty="0">
                <a:solidFill>
                  <a:srgbClr val="FFFFFF"/>
                </a:solidFill>
                <a:latin typeface="+mj-lt"/>
                <a:ea typeface="+mn-ea"/>
                <a:cs typeface="Arial"/>
              </a:rPr>
              <a:t>a</a:t>
            </a:r>
            <a:r>
              <a:rPr lang="en-US" sz="900" spc="-15" dirty="0">
                <a:solidFill>
                  <a:srgbClr val="FFFFFF"/>
                </a:solidFill>
                <a:latin typeface="+mj-lt"/>
                <a:ea typeface="+mn-ea"/>
                <a:cs typeface="Arial"/>
              </a:rPr>
              <a:t> </a:t>
            </a:r>
            <a:r>
              <a:rPr lang="en-US" sz="900" dirty="0">
                <a:solidFill>
                  <a:srgbClr val="FFFFFF"/>
                </a:solidFill>
                <a:latin typeface="+mj-lt"/>
                <a:ea typeface="+mn-ea"/>
                <a:cs typeface="Arial"/>
              </a:rPr>
              <a:t>steady,</a:t>
            </a:r>
            <a:r>
              <a:rPr lang="en-US" sz="900" spc="-25" dirty="0">
                <a:solidFill>
                  <a:srgbClr val="FFFFFF"/>
                </a:solidFill>
                <a:latin typeface="+mj-lt"/>
                <a:ea typeface="+mn-ea"/>
                <a:cs typeface="Arial"/>
              </a:rPr>
              <a:t> </a:t>
            </a:r>
            <a:r>
              <a:rPr lang="en-US" sz="900" dirty="0">
                <a:solidFill>
                  <a:srgbClr val="FFFFFF"/>
                </a:solidFill>
                <a:latin typeface="+mj-lt"/>
                <a:ea typeface="+mn-ea"/>
                <a:cs typeface="Arial"/>
              </a:rPr>
              <a:t>high-speed</a:t>
            </a:r>
            <a:r>
              <a:rPr lang="en-US" sz="900" spc="-15" dirty="0">
                <a:solidFill>
                  <a:srgbClr val="FFFFFF"/>
                </a:solidFill>
                <a:latin typeface="+mj-lt"/>
                <a:ea typeface="+mn-ea"/>
                <a:cs typeface="Arial"/>
              </a:rPr>
              <a:t> </a:t>
            </a:r>
            <a:r>
              <a:rPr lang="en-US" sz="900" spc="5" dirty="0">
                <a:solidFill>
                  <a:srgbClr val="FFFFFF"/>
                </a:solidFill>
                <a:latin typeface="+mj-lt"/>
                <a:ea typeface="+mn-ea"/>
                <a:cs typeface="Arial"/>
              </a:rPr>
              <a:t>rate</a:t>
            </a:r>
            <a:endParaRPr lang="en-US" sz="900" dirty="0">
              <a:solidFill>
                <a:prstClr val="black"/>
              </a:solidFill>
              <a:latin typeface="+mj-lt"/>
              <a:ea typeface="+mn-ea"/>
              <a:cs typeface="Arial"/>
            </a:endParaRPr>
          </a:p>
        </p:txBody>
      </p:sp>
      <p:sp>
        <p:nvSpPr>
          <p:cNvPr id="52" name="object 58">
            <a:extLst>
              <a:ext uri="{FF2B5EF4-FFF2-40B4-BE49-F238E27FC236}">
                <a16:creationId xmlns:a16="http://schemas.microsoft.com/office/drawing/2014/main" id="{599119D1-1540-406B-B0AA-C09C8E09C675}"/>
              </a:ext>
            </a:extLst>
          </p:cNvPr>
          <p:cNvSpPr txBox="1"/>
          <p:nvPr/>
        </p:nvSpPr>
        <p:spPr>
          <a:xfrm>
            <a:off x="8401303" y="2955544"/>
            <a:ext cx="993775" cy="221214"/>
          </a:xfrm>
          <a:prstGeom prst="rect">
            <a:avLst/>
          </a:prstGeom>
          <a:solidFill>
            <a:srgbClr val="B3B3B3"/>
          </a:solidFill>
          <a:ln w="18288">
            <a:solidFill>
              <a:srgbClr val="808080"/>
            </a:solidFill>
          </a:ln>
        </p:spPr>
        <p:txBody>
          <a:bodyPr vert="horz" wrap="square" lIns="0" tIns="97155" rIns="0" bIns="0" rtlCol="0">
            <a:spAutoFit/>
          </a:bodyPr>
          <a:lstStyle/>
          <a:p>
            <a:pPr marL="150495" eaLnBrk="1" fontAlgn="auto" hangingPunct="1">
              <a:spcBef>
                <a:spcPts val="765"/>
              </a:spcBef>
              <a:spcAft>
                <a:spcPts val="0"/>
              </a:spcAft>
            </a:pPr>
            <a:r>
              <a:rPr lang="en-US" sz="800" spc="-15" dirty="0">
                <a:solidFill>
                  <a:srgbClr val="FFFFFF"/>
                </a:solidFill>
                <a:latin typeface="+mj-lt"/>
                <a:ea typeface="+mn-ea"/>
                <a:cs typeface="Arial"/>
              </a:rPr>
              <a:t>Semantic</a:t>
            </a:r>
            <a:r>
              <a:rPr lang="en-US" sz="800" spc="100" dirty="0">
                <a:solidFill>
                  <a:srgbClr val="FFFFFF"/>
                </a:solidFill>
                <a:latin typeface="+mj-lt"/>
                <a:ea typeface="+mn-ea"/>
                <a:cs typeface="Arial"/>
              </a:rPr>
              <a:t> </a:t>
            </a:r>
            <a:r>
              <a:rPr lang="en-US" sz="800" spc="-25" dirty="0">
                <a:solidFill>
                  <a:srgbClr val="FFFFFF"/>
                </a:solidFill>
                <a:latin typeface="+mj-lt"/>
                <a:ea typeface="+mn-ea"/>
                <a:cs typeface="Arial"/>
              </a:rPr>
              <a:t>Layer</a:t>
            </a:r>
            <a:endParaRPr lang="en-US" sz="800" dirty="0">
              <a:solidFill>
                <a:prstClr val="black"/>
              </a:solidFill>
              <a:latin typeface="+mj-lt"/>
              <a:ea typeface="+mn-ea"/>
              <a:cs typeface="Arial"/>
            </a:endParaRPr>
          </a:p>
        </p:txBody>
      </p:sp>
      <p:sp>
        <p:nvSpPr>
          <p:cNvPr id="53" name="object 59">
            <a:extLst>
              <a:ext uri="{FF2B5EF4-FFF2-40B4-BE49-F238E27FC236}">
                <a16:creationId xmlns:a16="http://schemas.microsoft.com/office/drawing/2014/main" id="{98363F39-CD8F-469C-A7C3-C4B046B337B4}"/>
              </a:ext>
            </a:extLst>
          </p:cNvPr>
          <p:cNvSpPr/>
          <p:nvPr/>
        </p:nvSpPr>
        <p:spPr>
          <a:xfrm>
            <a:off x="9596119" y="2394712"/>
            <a:ext cx="1374775" cy="2529840"/>
          </a:xfrm>
          <a:custGeom>
            <a:avLst/>
            <a:gdLst/>
            <a:ahLst/>
            <a:cxnLst/>
            <a:rect l="l" t="t" r="r" b="b"/>
            <a:pathLst>
              <a:path w="1374775" h="2529840">
                <a:moveTo>
                  <a:pt x="0" y="2529840"/>
                </a:moveTo>
                <a:lnTo>
                  <a:pt x="1374648" y="2529840"/>
                </a:lnTo>
                <a:lnTo>
                  <a:pt x="1374648" y="0"/>
                </a:lnTo>
                <a:lnTo>
                  <a:pt x="0" y="0"/>
                </a:lnTo>
                <a:lnTo>
                  <a:pt x="0" y="2529840"/>
                </a:lnTo>
                <a:close/>
              </a:path>
            </a:pathLst>
          </a:custGeom>
          <a:solidFill>
            <a:srgbClr val="636363"/>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54" name="object 60">
            <a:extLst>
              <a:ext uri="{FF2B5EF4-FFF2-40B4-BE49-F238E27FC236}">
                <a16:creationId xmlns:a16="http://schemas.microsoft.com/office/drawing/2014/main" id="{0BC8FEF4-A6FE-42CE-866D-B083E1335BD7}"/>
              </a:ext>
            </a:extLst>
          </p:cNvPr>
          <p:cNvSpPr txBox="1"/>
          <p:nvPr/>
        </p:nvSpPr>
        <p:spPr>
          <a:xfrm>
            <a:off x="9924795" y="2423795"/>
            <a:ext cx="720725" cy="438784"/>
          </a:xfrm>
          <a:prstGeom prst="rect">
            <a:avLst/>
          </a:prstGeom>
        </p:spPr>
        <p:txBody>
          <a:bodyPr vert="horz" wrap="square" lIns="0" tIns="13970" rIns="0" bIns="0" rtlCol="0">
            <a:spAutoFit/>
          </a:bodyPr>
          <a:lstStyle/>
          <a:p>
            <a:pPr marL="12700" marR="5080" indent="3810" algn="ctr" eaLnBrk="1" fontAlgn="auto" hangingPunct="1">
              <a:spcBef>
                <a:spcPts val="110"/>
              </a:spcBef>
              <a:spcAft>
                <a:spcPts val="0"/>
              </a:spcAft>
            </a:pPr>
            <a:r>
              <a:rPr lang="en-US" sz="900" b="1" dirty="0">
                <a:solidFill>
                  <a:srgbClr val="FFFFFF"/>
                </a:solidFill>
                <a:latin typeface="+mj-lt"/>
                <a:ea typeface="+mn-ea"/>
                <a:cs typeface="Arial"/>
              </a:rPr>
              <a:t>Analytic </a:t>
            </a:r>
            <a:r>
              <a:rPr lang="en-US" sz="900" b="1" spc="5" dirty="0">
                <a:solidFill>
                  <a:srgbClr val="FFFFFF"/>
                </a:solidFill>
                <a:latin typeface="+mj-lt"/>
                <a:ea typeface="+mn-ea"/>
                <a:cs typeface="Arial"/>
              </a:rPr>
              <a:t>&amp;  </a:t>
            </a:r>
            <a:r>
              <a:rPr lang="en-US" sz="900" b="1" dirty="0">
                <a:solidFill>
                  <a:srgbClr val="FFFFFF"/>
                </a:solidFill>
                <a:latin typeface="+mj-lt"/>
                <a:ea typeface="+mn-ea"/>
                <a:cs typeface="Arial"/>
              </a:rPr>
              <a:t>Operational  </a:t>
            </a:r>
            <a:r>
              <a:rPr lang="en-US" sz="900" b="1" spc="-5" dirty="0">
                <a:solidFill>
                  <a:srgbClr val="FFFFFF"/>
                </a:solidFill>
                <a:latin typeface="+mj-lt"/>
                <a:ea typeface="+mn-ea"/>
                <a:cs typeface="Arial"/>
              </a:rPr>
              <a:t>App</a:t>
            </a:r>
            <a:r>
              <a:rPr lang="en-US" sz="900" b="1" spc="5" dirty="0">
                <a:solidFill>
                  <a:srgbClr val="FFFFFF"/>
                </a:solidFill>
                <a:latin typeface="+mj-lt"/>
                <a:ea typeface="+mn-ea"/>
                <a:cs typeface="Arial"/>
              </a:rPr>
              <a:t>li</a:t>
            </a:r>
            <a:r>
              <a:rPr lang="en-US" sz="900" b="1" dirty="0">
                <a:solidFill>
                  <a:srgbClr val="FFFFFF"/>
                </a:solidFill>
                <a:latin typeface="+mj-lt"/>
                <a:ea typeface="+mn-ea"/>
                <a:cs typeface="Arial"/>
              </a:rPr>
              <a:t>ca</a:t>
            </a:r>
            <a:r>
              <a:rPr lang="en-US" sz="900" b="1" spc="5" dirty="0">
                <a:solidFill>
                  <a:srgbClr val="FFFFFF"/>
                </a:solidFill>
                <a:latin typeface="+mj-lt"/>
                <a:ea typeface="+mn-ea"/>
                <a:cs typeface="Arial"/>
              </a:rPr>
              <a:t>ti</a:t>
            </a:r>
            <a:r>
              <a:rPr lang="en-US" sz="900" b="1" spc="-5" dirty="0">
                <a:solidFill>
                  <a:srgbClr val="FFFFFF"/>
                </a:solidFill>
                <a:latin typeface="+mj-lt"/>
                <a:ea typeface="+mn-ea"/>
                <a:cs typeface="Arial"/>
              </a:rPr>
              <a:t>on</a:t>
            </a:r>
            <a:r>
              <a:rPr lang="en-US" sz="900" b="1" spc="5" dirty="0">
                <a:solidFill>
                  <a:srgbClr val="FFFFFF"/>
                </a:solidFill>
                <a:latin typeface="+mj-lt"/>
                <a:ea typeface="+mn-ea"/>
                <a:cs typeface="Arial"/>
              </a:rPr>
              <a:t>s</a:t>
            </a:r>
            <a:endParaRPr lang="en-US" sz="900" dirty="0">
              <a:solidFill>
                <a:prstClr val="black"/>
              </a:solidFill>
              <a:latin typeface="+mj-lt"/>
              <a:ea typeface="+mn-ea"/>
              <a:cs typeface="Arial"/>
            </a:endParaRPr>
          </a:p>
        </p:txBody>
      </p:sp>
      <p:sp>
        <p:nvSpPr>
          <p:cNvPr id="55" name="object 61">
            <a:extLst>
              <a:ext uri="{FF2B5EF4-FFF2-40B4-BE49-F238E27FC236}">
                <a16:creationId xmlns:a16="http://schemas.microsoft.com/office/drawing/2014/main" id="{F00804D1-F2B4-4A1C-A589-E05E041490F1}"/>
              </a:ext>
            </a:extLst>
          </p:cNvPr>
          <p:cNvSpPr/>
          <p:nvPr/>
        </p:nvSpPr>
        <p:spPr>
          <a:xfrm>
            <a:off x="9650983" y="2903728"/>
            <a:ext cx="1249680" cy="1932939"/>
          </a:xfrm>
          <a:custGeom>
            <a:avLst/>
            <a:gdLst/>
            <a:ahLst/>
            <a:cxnLst/>
            <a:rect l="l" t="t" r="r" b="b"/>
            <a:pathLst>
              <a:path w="1249679" h="1932939">
                <a:moveTo>
                  <a:pt x="0" y="1932432"/>
                </a:moveTo>
                <a:lnTo>
                  <a:pt x="1249679" y="1932432"/>
                </a:lnTo>
                <a:lnTo>
                  <a:pt x="1249679" y="0"/>
                </a:lnTo>
                <a:lnTo>
                  <a:pt x="0" y="0"/>
                </a:lnTo>
                <a:lnTo>
                  <a:pt x="0" y="1932432"/>
                </a:lnTo>
                <a:close/>
              </a:path>
            </a:pathLst>
          </a:custGeom>
          <a:solidFill>
            <a:srgbClr val="FFFFFF"/>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56" name="object 62">
            <a:extLst>
              <a:ext uri="{FF2B5EF4-FFF2-40B4-BE49-F238E27FC236}">
                <a16:creationId xmlns:a16="http://schemas.microsoft.com/office/drawing/2014/main" id="{CB0C658D-BC1E-4C77-BCCB-ACC5CD6B72AF}"/>
              </a:ext>
            </a:extLst>
          </p:cNvPr>
          <p:cNvSpPr/>
          <p:nvPr/>
        </p:nvSpPr>
        <p:spPr>
          <a:xfrm>
            <a:off x="9650983" y="2903728"/>
            <a:ext cx="1249680" cy="1932939"/>
          </a:xfrm>
          <a:custGeom>
            <a:avLst/>
            <a:gdLst/>
            <a:ahLst/>
            <a:cxnLst/>
            <a:rect l="l" t="t" r="r" b="b"/>
            <a:pathLst>
              <a:path w="1249679" h="1932939">
                <a:moveTo>
                  <a:pt x="0" y="1932432"/>
                </a:moveTo>
                <a:lnTo>
                  <a:pt x="1249679" y="1932432"/>
                </a:lnTo>
                <a:lnTo>
                  <a:pt x="1249679" y="0"/>
                </a:lnTo>
                <a:lnTo>
                  <a:pt x="0" y="0"/>
                </a:lnTo>
                <a:lnTo>
                  <a:pt x="0" y="1932432"/>
                </a:lnTo>
                <a:close/>
              </a:path>
            </a:pathLst>
          </a:custGeom>
          <a:ln w="18288">
            <a:solidFill>
              <a:srgbClr val="E6E6E6"/>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57" name="object 63">
            <a:extLst>
              <a:ext uri="{FF2B5EF4-FFF2-40B4-BE49-F238E27FC236}">
                <a16:creationId xmlns:a16="http://schemas.microsoft.com/office/drawing/2014/main" id="{D4BF9243-0CFD-4242-A1B2-9DCF1CEB0E09}"/>
              </a:ext>
            </a:extLst>
          </p:cNvPr>
          <p:cNvSpPr txBox="1"/>
          <p:nvPr/>
        </p:nvSpPr>
        <p:spPr>
          <a:xfrm>
            <a:off x="2046224" y="3278631"/>
            <a:ext cx="588645" cy="946413"/>
          </a:xfrm>
          <a:prstGeom prst="rect">
            <a:avLst/>
          </a:prstGeom>
          <a:solidFill>
            <a:srgbClr val="B3B3B3"/>
          </a:solidFill>
          <a:ln w="18287">
            <a:solidFill>
              <a:srgbClr val="808080"/>
            </a:solidFill>
          </a:ln>
        </p:spPr>
        <p:txBody>
          <a:bodyPr vert="horz" wrap="square" lIns="0" tIns="0" rIns="0" bIns="0" rtlCol="0">
            <a:spAutoFit/>
          </a:bodyPr>
          <a:lstStyle/>
          <a:p>
            <a:pPr eaLnBrk="1" fontAlgn="auto" hangingPunct="1">
              <a:spcBef>
                <a:spcPts val="0"/>
              </a:spcBef>
              <a:spcAft>
                <a:spcPts val="0"/>
              </a:spcAft>
            </a:pPr>
            <a:endParaRPr lang="en-US" sz="800" dirty="0">
              <a:solidFill>
                <a:prstClr val="black"/>
              </a:solidFill>
              <a:latin typeface="+mj-lt"/>
              <a:ea typeface="+mn-ea"/>
              <a:cs typeface="Times New Roman"/>
            </a:endParaRPr>
          </a:p>
          <a:p>
            <a:pPr eaLnBrk="1" fontAlgn="auto" hangingPunct="1">
              <a:spcBef>
                <a:spcPts val="0"/>
              </a:spcBef>
              <a:spcAft>
                <a:spcPts val="0"/>
              </a:spcAft>
            </a:pPr>
            <a:endParaRPr lang="en-US" sz="800" dirty="0">
              <a:solidFill>
                <a:prstClr val="black"/>
              </a:solidFill>
              <a:latin typeface="+mj-lt"/>
              <a:ea typeface="+mn-ea"/>
              <a:cs typeface="Times New Roman"/>
            </a:endParaRPr>
          </a:p>
          <a:p>
            <a:pPr eaLnBrk="1" fontAlgn="auto" hangingPunct="1">
              <a:spcBef>
                <a:spcPts val="15"/>
              </a:spcBef>
              <a:spcAft>
                <a:spcPts val="0"/>
              </a:spcAft>
            </a:pPr>
            <a:endParaRPr lang="en-US" sz="1050" dirty="0">
              <a:solidFill>
                <a:prstClr val="black"/>
              </a:solidFill>
              <a:latin typeface="+mj-lt"/>
              <a:ea typeface="+mn-ea"/>
              <a:cs typeface="Times New Roman"/>
            </a:endParaRPr>
          </a:p>
          <a:p>
            <a:pPr marL="54610" marR="45720" indent="137160" eaLnBrk="1" fontAlgn="auto" hangingPunct="1">
              <a:spcBef>
                <a:spcPts val="0"/>
              </a:spcBef>
              <a:spcAft>
                <a:spcPts val="0"/>
              </a:spcAft>
            </a:pPr>
            <a:r>
              <a:rPr lang="en-US" sz="700" spc="-15" dirty="0">
                <a:solidFill>
                  <a:srgbClr val="FFFFFF"/>
                </a:solidFill>
                <a:latin typeface="+mj-lt"/>
                <a:ea typeface="+mn-ea"/>
                <a:cs typeface="Arial"/>
              </a:rPr>
              <a:t>Data  </a:t>
            </a:r>
            <a:r>
              <a:rPr lang="en-US" sz="700" spc="-10" dirty="0">
                <a:solidFill>
                  <a:srgbClr val="FFFFFF"/>
                </a:solidFill>
                <a:latin typeface="+mj-lt"/>
                <a:ea typeface="+mn-ea"/>
                <a:cs typeface="Arial"/>
              </a:rPr>
              <a:t>A</a:t>
            </a:r>
            <a:r>
              <a:rPr lang="en-US" sz="700" spc="5" dirty="0">
                <a:solidFill>
                  <a:srgbClr val="FFFFFF"/>
                </a:solidFill>
                <a:latin typeface="+mj-lt"/>
                <a:ea typeface="+mn-ea"/>
                <a:cs typeface="Arial"/>
              </a:rPr>
              <a:t>c</a:t>
            </a:r>
            <a:r>
              <a:rPr lang="en-US" sz="700" spc="-15" dirty="0">
                <a:solidFill>
                  <a:srgbClr val="FFFFFF"/>
                </a:solidFill>
                <a:latin typeface="+mj-lt"/>
                <a:ea typeface="+mn-ea"/>
                <a:cs typeface="Arial"/>
              </a:rPr>
              <a:t>qui</a:t>
            </a:r>
            <a:r>
              <a:rPr lang="en-US" sz="700" spc="5" dirty="0">
                <a:solidFill>
                  <a:srgbClr val="FFFFFF"/>
                </a:solidFill>
                <a:latin typeface="+mj-lt"/>
                <a:ea typeface="+mn-ea"/>
                <a:cs typeface="Arial"/>
              </a:rPr>
              <a:t>s</a:t>
            </a:r>
            <a:r>
              <a:rPr lang="en-US" sz="700" spc="-15" dirty="0">
                <a:solidFill>
                  <a:srgbClr val="FFFFFF"/>
                </a:solidFill>
                <a:latin typeface="+mj-lt"/>
                <a:ea typeface="+mn-ea"/>
                <a:cs typeface="Arial"/>
              </a:rPr>
              <a:t>i</a:t>
            </a:r>
            <a:r>
              <a:rPr lang="en-US" sz="700" spc="-10" dirty="0">
                <a:solidFill>
                  <a:srgbClr val="FFFFFF"/>
                </a:solidFill>
                <a:latin typeface="+mj-lt"/>
                <a:ea typeface="+mn-ea"/>
                <a:cs typeface="Arial"/>
              </a:rPr>
              <a:t>t</a:t>
            </a:r>
            <a:r>
              <a:rPr lang="en-US" sz="700" spc="-15" dirty="0">
                <a:solidFill>
                  <a:srgbClr val="FFFFFF"/>
                </a:solidFill>
                <a:latin typeface="+mj-lt"/>
                <a:ea typeface="+mn-ea"/>
                <a:cs typeface="Arial"/>
              </a:rPr>
              <a:t>i</a:t>
            </a:r>
            <a:r>
              <a:rPr lang="en-US" sz="700" spc="-40" dirty="0">
                <a:solidFill>
                  <a:srgbClr val="FFFFFF"/>
                </a:solidFill>
                <a:latin typeface="+mj-lt"/>
                <a:ea typeface="+mn-ea"/>
                <a:cs typeface="Arial"/>
              </a:rPr>
              <a:t>o</a:t>
            </a:r>
            <a:r>
              <a:rPr lang="en-US" sz="700" spc="-5" dirty="0">
                <a:solidFill>
                  <a:srgbClr val="FFFFFF"/>
                </a:solidFill>
                <a:latin typeface="+mj-lt"/>
                <a:ea typeface="+mn-ea"/>
                <a:cs typeface="Arial"/>
              </a:rPr>
              <a:t>n</a:t>
            </a:r>
          </a:p>
          <a:p>
            <a:pPr marL="54610" marR="45720" indent="137160" eaLnBrk="1" fontAlgn="auto" hangingPunct="1">
              <a:spcBef>
                <a:spcPts val="0"/>
              </a:spcBef>
              <a:spcAft>
                <a:spcPts val="0"/>
              </a:spcAft>
            </a:pPr>
            <a:endParaRPr lang="en-US" sz="700" spc="-5" dirty="0">
              <a:solidFill>
                <a:srgbClr val="FFFFFF"/>
              </a:solidFill>
              <a:latin typeface="+mj-lt"/>
              <a:ea typeface="+mn-ea"/>
              <a:cs typeface="Arial"/>
            </a:endParaRPr>
          </a:p>
          <a:p>
            <a:pPr marL="54610" marR="45720" indent="137160" eaLnBrk="1" fontAlgn="auto" hangingPunct="1">
              <a:spcBef>
                <a:spcPts val="0"/>
              </a:spcBef>
              <a:spcAft>
                <a:spcPts val="0"/>
              </a:spcAft>
            </a:pPr>
            <a:endParaRPr lang="en-US" sz="700" dirty="0">
              <a:solidFill>
                <a:prstClr val="black"/>
              </a:solidFill>
              <a:latin typeface="+mj-lt"/>
              <a:ea typeface="+mn-ea"/>
              <a:cs typeface="Arial"/>
            </a:endParaRPr>
          </a:p>
          <a:p>
            <a:pPr marL="54610" marR="45720" indent="137160" eaLnBrk="1" fontAlgn="auto" hangingPunct="1">
              <a:spcBef>
                <a:spcPts val="0"/>
              </a:spcBef>
              <a:spcAft>
                <a:spcPts val="0"/>
              </a:spcAft>
            </a:pPr>
            <a:endParaRPr lang="en-US" sz="700" dirty="0">
              <a:solidFill>
                <a:prstClr val="black"/>
              </a:solidFill>
              <a:latin typeface="+mj-lt"/>
              <a:ea typeface="+mn-ea"/>
              <a:cs typeface="Arial"/>
            </a:endParaRPr>
          </a:p>
        </p:txBody>
      </p:sp>
      <p:sp>
        <p:nvSpPr>
          <p:cNvPr id="58" name="object 64">
            <a:extLst>
              <a:ext uri="{FF2B5EF4-FFF2-40B4-BE49-F238E27FC236}">
                <a16:creationId xmlns:a16="http://schemas.microsoft.com/office/drawing/2014/main" id="{217F7F06-A948-47E1-8B2D-1B8BD9EDBE2A}"/>
              </a:ext>
            </a:extLst>
          </p:cNvPr>
          <p:cNvSpPr txBox="1"/>
          <p:nvPr/>
        </p:nvSpPr>
        <p:spPr>
          <a:xfrm>
            <a:off x="2698495" y="3278631"/>
            <a:ext cx="588645" cy="923330"/>
          </a:xfrm>
          <a:prstGeom prst="rect">
            <a:avLst/>
          </a:prstGeom>
          <a:solidFill>
            <a:srgbClr val="B3B3B3"/>
          </a:solidFill>
          <a:ln w="18287">
            <a:solidFill>
              <a:srgbClr val="808080"/>
            </a:solidFill>
          </a:ln>
        </p:spPr>
        <p:txBody>
          <a:bodyPr vert="horz" wrap="square" lIns="0" tIns="0" rIns="0" bIns="0" rtlCol="0">
            <a:spAutoFit/>
          </a:bodyPr>
          <a:lstStyle/>
          <a:p>
            <a:pPr eaLnBrk="1" fontAlgn="auto" hangingPunct="1">
              <a:spcBef>
                <a:spcPts val="0"/>
              </a:spcBef>
              <a:spcAft>
                <a:spcPts val="0"/>
              </a:spcAft>
            </a:pPr>
            <a:endParaRPr lang="en-US" sz="1000" dirty="0">
              <a:solidFill>
                <a:prstClr val="black"/>
              </a:solidFill>
              <a:latin typeface="+mj-lt"/>
              <a:ea typeface="+mn-ea"/>
              <a:cs typeface="Times New Roman"/>
            </a:endParaRPr>
          </a:p>
          <a:p>
            <a:pPr eaLnBrk="1" fontAlgn="auto" hangingPunct="1">
              <a:spcBef>
                <a:spcPts val="0"/>
              </a:spcBef>
              <a:spcAft>
                <a:spcPts val="0"/>
              </a:spcAft>
            </a:pPr>
            <a:endParaRPr lang="en-US" sz="1000" dirty="0">
              <a:solidFill>
                <a:prstClr val="black"/>
              </a:solidFill>
              <a:latin typeface="+mj-lt"/>
              <a:ea typeface="+mn-ea"/>
              <a:cs typeface="Times New Roman"/>
            </a:endParaRPr>
          </a:p>
          <a:p>
            <a:pPr eaLnBrk="1" fontAlgn="auto" hangingPunct="1">
              <a:spcBef>
                <a:spcPts val="20"/>
              </a:spcBef>
              <a:spcAft>
                <a:spcPts val="0"/>
              </a:spcAft>
            </a:pPr>
            <a:endParaRPr lang="en-US" sz="800" dirty="0">
              <a:solidFill>
                <a:prstClr val="black"/>
              </a:solidFill>
              <a:latin typeface="+mj-lt"/>
              <a:ea typeface="+mn-ea"/>
              <a:cs typeface="Times New Roman"/>
            </a:endParaRPr>
          </a:p>
          <a:p>
            <a:pPr marL="57150" marR="53340" indent="112395" eaLnBrk="1" fontAlgn="auto" hangingPunct="1">
              <a:spcBef>
                <a:spcPts val="0"/>
              </a:spcBef>
              <a:spcAft>
                <a:spcPts val="0"/>
              </a:spcAft>
            </a:pPr>
            <a:r>
              <a:rPr lang="en-US" sz="800" dirty="0">
                <a:solidFill>
                  <a:srgbClr val="FFFFFF"/>
                </a:solidFill>
                <a:latin typeface="+mj-lt"/>
                <a:ea typeface="+mn-ea"/>
                <a:cs typeface="Arial"/>
              </a:rPr>
              <a:t>Data  </a:t>
            </a:r>
            <a:r>
              <a:rPr lang="en-US" sz="800" spc="5" dirty="0">
                <a:solidFill>
                  <a:srgbClr val="FFFFFF"/>
                </a:solidFill>
                <a:latin typeface="+mj-lt"/>
                <a:ea typeface="+mn-ea"/>
                <a:cs typeface="Arial"/>
              </a:rPr>
              <a:t>I</a:t>
            </a:r>
            <a:r>
              <a:rPr lang="en-US" sz="800" dirty="0">
                <a:solidFill>
                  <a:srgbClr val="FFFFFF"/>
                </a:solidFill>
                <a:latin typeface="+mj-lt"/>
                <a:ea typeface="+mn-ea"/>
                <a:cs typeface="Arial"/>
              </a:rPr>
              <a:t>ng</a:t>
            </a:r>
            <a:r>
              <a:rPr lang="en-US" sz="800" spc="-25" dirty="0">
                <a:solidFill>
                  <a:srgbClr val="FFFFFF"/>
                </a:solidFill>
                <a:latin typeface="+mj-lt"/>
                <a:ea typeface="+mn-ea"/>
                <a:cs typeface="Arial"/>
              </a:rPr>
              <a:t>e</a:t>
            </a:r>
            <a:r>
              <a:rPr lang="en-US" sz="800" spc="5" dirty="0">
                <a:solidFill>
                  <a:srgbClr val="FFFFFF"/>
                </a:solidFill>
                <a:latin typeface="+mj-lt"/>
                <a:ea typeface="+mn-ea"/>
                <a:cs typeface="Arial"/>
              </a:rPr>
              <a:t>st</a:t>
            </a:r>
            <a:r>
              <a:rPr lang="en-US" sz="800" spc="10" dirty="0">
                <a:solidFill>
                  <a:srgbClr val="FFFFFF"/>
                </a:solidFill>
                <a:latin typeface="+mj-lt"/>
                <a:ea typeface="+mn-ea"/>
                <a:cs typeface="Arial"/>
              </a:rPr>
              <a:t>i</a:t>
            </a:r>
            <a:r>
              <a:rPr lang="en-US" sz="800" dirty="0">
                <a:solidFill>
                  <a:srgbClr val="FFFFFF"/>
                </a:solidFill>
                <a:latin typeface="+mj-lt"/>
                <a:ea typeface="+mn-ea"/>
                <a:cs typeface="Arial"/>
              </a:rPr>
              <a:t>o</a:t>
            </a:r>
            <a:r>
              <a:rPr lang="en-US" sz="800" spc="5" dirty="0">
                <a:solidFill>
                  <a:srgbClr val="FFFFFF"/>
                </a:solidFill>
                <a:latin typeface="+mj-lt"/>
                <a:ea typeface="+mn-ea"/>
                <a:cs typeface="Arial"/>
              </a:rPr>
              <a:t>n</a:t>
            </a:r>
          </a:p>
          <a:p>
            <a:pPr marL="57150" marR="53340" indent="112395" eaLnBrk="1" fontAlgn="auto" hangingPunct="1">
              <a:spcBef>
                <a:spcPts val="0"/>
              </a:spcBef>
              <a:spcAft>
                <a:spcPts val="0"/>
              </a:spcAft>
            </a:pPr>
            <a:endParaRPr lang="en-US" sz="800" spc="5" dirty="0">
              <a:solidFill>
                <a:srgbClr val="FFFFFF"/>
              </a:solidFill>
              <a:latin typeface="+mj-lt"/>
              <a:ea typeface="+mn-ea"/>
              <a:cs typeface="Arial"/>
            </a:endParaRPr>
          </a:p>
          <a:p>
            <a:pPr marL="57150" marR="53340" indent="112395" eaLnBrk="1" fontAlgn="auto" hangingPunct="1">
              <a:spcBef>
                <a:spcPts val="0"/>
              </a:spcBef>
              <a:spcAft>
                <a:spcPts val="0"/>
              </a:spcAft>
            </a:pPr>
            <a:endParaRPr lang="en-US" sz="800" dirty="0">
              <a:solidFill>
                <a:prstClr val="black"/>
              </a:solidFill>
              <a:latin typeface="+mj-lt"/>
              <a:ea typeface="+mn-ea"/>
              <a:cs typeface="Arial"/>
            </a:endParaRPr>
          </a:p>
        </p:txBody>
      </p:sp>
      <p:sp>
        <p:nvSpPr>
          <p:cNvPr id="59" name="object 65">
            <a:extLst>
              <a:ext uri="{FF2B5EF4-FFF2-40B4-BE49-F238E27FC236}">
                <a16:creationId xmlns:a16="http://schemas.microsoft.com/office/drawing/2014/main" id="{48B046B6-9928-4596-9634-BEE6C68FB0B0}"/>
              </a:ext>
            </a:extLst>
          </p:cNvPr>
          <p:cNvSpPr/>
          <p:nvPr/>
        </p:nvSpPr>
        <p:spPr>
          <a:xfrm>
            <a:off x="2055367" y="5217159"/>
            <a:ext cx="1280160" cy="274320"/>
          </a:xfrm>
          <a:custGeom>
            <a:avLst/>
            <a:gdLst/>
            <a:ahLst/>
            <a:cxnLst/>
            <a:rect l="l" t="t" r="r" b="b"/>
            <a:pathLst>
              <a:path w="1280160" h="274320">
                <a:moveTo>
                  <a:pt x="0" y="274320"/>
                </a:moveTo>
                <a:lnTo>
                  <a:pt x="1280159" y="274320"/>
                </a:lnTo>
                <a:lnTo>
                  <a:pt x="1280159" y="0"/>
                </a:lnTo>
                <a:lnTo>
                  <a:pt x="0" y="0"/>
                </a:lnTo>
                <a:lnTo>
                  <a:pt x="0" y="274320"/>
                </a:lnTo>
                <a:close/>
              </a:path>
            </a:pathLst>
          </a:custGeom>
          <a:solidFill>
            <a:srgbClr val="FFF599"/>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60" name="object 66">
            <a:extLst>
              <a:ext uri="{FF2B5EF4-FFF2-40B4-BE49-F238E27FC236}">
                <a16:creationId xmlns:a16="http://schemas.microsoft.com/office/drawing/2014/main" id="{C0F53D10-680B-460E-BE59-EFEA078EC8CC}"/>
              </a:ext>
            </a:extLst>
          </p:cNvPr>
          <p:cNvSpPr txBox="1"/>
          <p:nvPr/>
        </p:nvSpPr>
        <p:spPr>
          <a:xfrm>
            <a:off x="2055367" y="5217159"/>
            <a:ext cx="1280160" cy="205184"/>
          </a:xfrm>
          <a:prstGeom prst="rect">
            <a:avLst/>
          </a:prstGeom>
          <a:ln w="18287">
            <a:solidFill>
              <a:srgbClr val="FFFFFF"/>
            </a:solidFill>
          </a:ln>
        </p:spPr>
        <p:txBody>
          <a:bodyPr vert="horz" wrap="square" lIns="0" tIns="66040" rIns="0" bIns="0" rtlCol="0">
            <a:spAutoFit/>
          </a:bodyPr>
          <a:lstStyle/>
          <a:p>
            <a:pPr marL="326390" eaLnBrk="1" fontAlgn="auto" hangingPunct="1">
              <a:spcBef>
                <a:spcPts val="520"/>
              </a:spcBef>
              <a:spcAft>
                <a:spcPts val="0"/>
              </a:spcAft>
            </a:pPr>
            <a:r>
              <a:rPr lang="en-US" sz="900" spc="-5" dirty="0">
                <a:solidFill>
                  <a:srgbClr val="636363"/>
                </a:solidFill>
                <a:latin typeface="+mj-lt"/>
                <a:ea typeface="+mn-ea"/>
                <a:cs typeface="Arial"/>
              </a:rPr>
              <a:t>Master</a:t>
            </a:r>
            <a:r>
              <a:rPr lang="en-US" sz="900" spc="-15" dirty="0">
                <a:solidFill>
                  <a:srgbClr val="636363"/>
                </a:solidFill>
                <a:latin typeface="+mj-lt"/>
                <a:ea typeface="+mn-ea"/>
                <a:cs typeface="Arial"/>
              </a:rPr>
              <a:t> </a:t>
            </a:r>
            <a:r>
              <a:rPr lang="en-US" sz="900" dirty="0">
                <a:solidFill>
                  <a:srgbClr val="636363"/>
                </a:solidFill>
                <a:latin typeface="+mj-lt"/>
                <a:ea typeface="+mn-ea"/>
                <a:cs typeface="Arial"/>
              </a:rPr>
              <a:t>Data</a:t>
            </a:r>
            <a:endParaRPr lang="en-US" sz="900" dirty="0">
              <a:solidFill>
                <a:prstClr val="black"/>
              </a:solidFill>
              <a:latin typeface="+mj-lt"/>
              <a:ea typeface="+mn-ea"/>
              <a:cs typeface="Arial"/>
            </a:endParaRPr>
          </a:p>
        </p:txBody>
      </p:sp>
      <p:sp>
        <p:nvSpPr>
          <p:cNvPr id="61" name="object 67">
            <a:extLst>
              <a:ext uri="{FF2B5EF4-FFF2-40B4-BE49-F238E27FC236}">
                <a16:creationId xmlns:a16="http://schemas.microsoft.com/office/drawing/2014/main" id="{71A4315E-7597-416A-B711-0F75327C214A}"/>
              </a:ext>
            </a:extLst>
          </p:cNvPr>
          <p:cNvSpPr/>
          <p:nvPr/>
        </p:nvSpPr>
        <p:spPr>
          <a:xfrm>
            <a:off x="3548887" y="5217159"/>
            <a:ext cx="1280160" cy="274320"/>
          </a:xfrm>
          <a:custGeom>
            <a:avLst/>
            <a:gdLst/>
            <a:ahLst/>
            <a:cxnLst/>
            <a:rect l="l" t="t" r="r" b="b"/>
            <a:pathLst>
              <a:path w="1280160" h="274320">
                <a:moveTo>
                  <a:pt x="0" y="274320"/>
                </a:moveTo>
                <a:lnTo>
                  <a:pt x="1280160" y="274320"/>
                </a:lnTo>
                <a:lnTo>
                  <a:pt x="1280160" y="0"/>
                </a:lnTo>
                <a:lnTo>
                  <a:pt x="0" y="0"/>
                </a:lnTo>
                <a:lnTo>
                  <a:pt x="0" y="274320"/>
                </a:lnTo>
                <a:close/>
              </a:path>
            </a:pathLst>
          </a:custGeom>
          <a:solidFill>
            <a:srgbClr val="FFF599"/>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62" name="object 68">
            <a:extLst>
              <a:ext uri="{FF2B5EF4-FFF2-40B4-BE49-F238E27FC236}">
                <a16:creationId xmlns:a16="http://schemas.microsoft.com/office/drawing/2014/main" id="{5C5086A4-D200-4875-B2A6-853A7E3757F9}"/>
              </a:ext>
            </a:extLst>
          </p:cNvPr>
          <p:cNvSpPr txBox="1"/>
          <p:nvPr/>
        </p:nvSpPr>
        <p:spPr>
          <a:xfrm>
            <a:off x="3548887" y="5217159"/>
            <a:ext cx="1280160" cy="205184"/>
          </a:xfrm>
          <a:prstGeom prst="rect">
            <a:avLst/>
          </a:prstGeom>
          <a:ln w="18288">
            <a:solidFill>
              <a:srgbClr val="FFFFFF"/>
            </a:solidFill>
          </a:ln>
        </p:spPr>
        <p:txBody>
          <a:bodyPr vert="horz" wrap="square" lIns="0" tIns="66040" rIns="0" bIns="0" rtlCol="0">
            <a:spAutoFit/>
          </a:bodyPr>
          <a:lstStyle/>
          <a:p>
            <a:pPr marL="239395" eaLnBrk="1" fontAlgn="auto" hangingPunct="1">
              <a:spcBef>
                <a:spcPts val="520"/>
              </a:spcBef>
              <a:spcAft>
                <a:spcPts val="0"/>
              </a:spcAft>
            </a:pPr>
            <a:r>
              <a:rPr lang="en-US" sz="900" spc="-5" dirty="0">
                <a:solidFill>
                  <a:srgbClr val="636363"/>
                </a:solidFill>
                <a:latin typeface="+mj-lt"/>
                <a:ea typeface="+mn-ea"/>
                <a:cs typeface="Arial"/>
              </a:rPr>
              <a:t>Reference </a:t>
            </a:r>
            <a:r>
              <a:rPr lang="en-US" sz="900" dirty="0">
                <a:solidFill>
                  <a:srgbClr val="636363"/>
                </a:solidFill>
                <a:latin typeface="+mj-lt"/>
                <a:ea typeface="+mn-ea"/>
                <a:cs typeface="Arial"/>
              </a:rPr>
              <a:t>Data</a:t>
            </a:r>
            <a:endParaRPr lang="en-US" sz="900" dirty="0">
              <a:solidFill>
                <a:prstClr val="black"/>
              </a:solidFill>
              <a:latin typeface="+mj-lt"/>
              <a:ea typeface="+mn-ea"/>
              <a:cs typeface="Arial"/>
            </a:endParaRPr>
          </a:p>
        </p:txBody>
      </p:sp>
      <p:sp>
        <p:nvSpPr>
          <p:cNvPr id="63" name="object 69">
            <a:extLst>
              <a:ext uri="{FF2B5EF4-FFF2-40B4-BE49-F238E27FC236}">
                <a16:creationId xmlns:a16="http://schemas.microsoft.com/office/drawing/2014/main" id="{8E91D571-F188-4B9F-83B3-50BFC7E382CD}"/>
              </a:ext>
            </a:extLst>
          </p:cNvPr>
          <p:cNvSpPr/>
          <p:nvPr/>
        </p:nvSpPr>
        <p:spPr>
          <a:xfrm>
            <a:off x="6538975" y="5217159"/>
            <a:ext cx="1280160" cy="274320"/>
          </a:xfrm>
          <a:custGeom>
            <a:avLst/>
            <a:gdLst/>
            <a:ahLst/>
            <a:cxnLst/>
            <a:rect l="l" t="t" r="r" b="b"/>
            <a:pathLst>
              <a:path w="1280159" h="274320">
                <a:moveTo>
                  <a:pt x="0" y="274320"/>
                </a:moveTo>
                <a:lnTo>
                  <a:pt x="1280160" y="274320"/>
                </a:lnTo>
                <a:lnTo>
                  <a:pt x="1280160" y="0"/>
                </a:lnTo>
                <a:lnTo>
                  <a:pt x="0" y="0"/>
                </a:lnTo>
                <a:lnTo>
                  <a:pt x="0" y="274320"/>
                </a:lnTo>
                <a:close/>
              </a:path>
            </a:pathLst>
          </a:custGeom>
          <a:solidFill>
            <a:srgbClr val="FFF599"/>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64" name="object 70">
            <a:extLst>
              <a:ext uri="{FF2B5EF4-FFF2-40B4-BE49-F238E27FC236}">
                <a16:creationId xmlns:a16="http://schemas.microsoft.com/office/drawing/2014/main" id="{EF1B116A-FA46-4C0B-A3AF-6FF0B24EEBDF}"/>
              </a:ext>
            </a:extLst>
          </p:cNvPr>
          <p:cNvSpPr txBox="1"/>
          <p:nvPr/>
        </p:nvSpPr>
        <p:spPr>
          <a:xfrm>
            <a:off x="6538975" y="5217159"/>
            <a:ext cx="1280160" cy="205184"/>
          </a:xfrm>
          <a:prstGeom prst="rect">
            <a:avLst/>
          </a:prstGeom>
          <a:ln w="18288">
            <a:solidFill>
              <a:srgbClr val="FFFFFF"/>
            </a:solidFill>
          </a:ln>
        </p:spPr>
        <p:txBody>
          <a:bodyPr vert="horz" wrap="square" lIns="0" tIns="66040" rIns="0" bIns="0" rtlCol="0">
            <a:spAutoFit/>
          </a:bodyPr>
          <a:lstStyle/>
          <a:p>
            <a:pPr marL="220979" eaLnBrk="1" fontAlgn="auto" hangingPunct="1">
              <a:spcBef>
                <a:spcPts val="520"/>
              </a:spcBef>
              <a:spcAft>
                <a:spcPts val="0"/>
              </a:spcAft>
            </a:pPr>
            <a:r>
              <a:rPr lang="en-US" sz="900" spc="-5" dirty="0">
                <a:solidFill>
                  <a:srgbClr val="636363"/>
                </a:solidFill>
                <a:latin typeface="+mj-lt"/>
                <a:ea typeface="+mn-ea"/>
                <a:cs typeface="Arial"/>
              </a:rPr>
              <a:t>Integrated</a:t>
            </a:r>
            <a:r>
              <a:rPr lang="en-US" sz="900" spc="-45" dirty="0">
                <a:solidFill>
                  <a:srgbClr val="636363"/>
                </a:solidFill>
                <a:latin typeface="+mj-lt"/>
                <a:ea typeface="+mn-ea"/>
                <a:cs typeface="Arial"/>
              </a:rPr>
              <a:t> </a:t>
            </a:r>
            <a:r>
              <a:rPr lang="en-US" sz="900" spc="-5" dirty="0">
                <a:solidFill>
                  <a:srgbClr val="636363"/>
                </a:solidFill>
                <a:latin typeface="+mj-lt"/>
                <a:ea typeface="+mn-ea"/>
                <a:cs typeface="Arial"/>
              </a:rPr>
              <a:t>Rules</a:t>
            </a:r>
            <a:endParaRPr lang="en-US" sz="900" dirty="0">
              <a:solidFill>
                <a:prstClr val="black"/>
              </a:solidFill>
              <a:latin typeface="+mj-lt"/>
              <a:ea typeface="+mn-ea"/>
              <a:cs typeface="Arial"/>
            </a:endParaRPr>
          </a:p>
        </p:txBody>
      </p:sp>
      <p:sp>
        <p:nvSpPr>
          <p:cNvPr id="65" name="object 71">
            <a:extLst>
              <a:ext uri="{FF2B5EF4-FFF2-40B4-BE49-F238E27FC236}">
                <a16:creationId xmlns:a16="http://schemas.microsoft.com/office/drawing/2014/main" id="{CE74195F-6015-40C7-881F-2EE548A9D9F8}"/>
              </a:ext>
            </a:extLst>
          </p:cNvPr>
          <p:cNvSpPr/>
          <p:nvPr/>
        </p:nvSpPr>
        <p:spPr>
          <a:xfrm>
            <a:off x="8032495" y="5217159"/>
            <a:ext cx="1280160" cy="274320"/>
          </a:xfrm>
          <a:custGeom>
            <a:avLst/>
            <a:gdLst/>
            <a:ahLst/>
            <a:cxnLst/>
            <a:rect l="l" t="t" r="r" b="b"/>
            <a:pathLst>
              <a:path w="1280159" h="274320">
                <a:moveTo>
                  <a:pt x="0" y="274320"/>
                </a:moveTo>
                <a:lnTo>
                  <a:pt x="1280159" y="274320"/>
                </a:lnTo>
                <a:lnTo>
                  <a:pt x="1280159" y="0"/>
                </a:lnTo>
                <a:lnTo>
                  <a:pt x="0" y="0"/>
                </a:lnTo>
                <a:lnTo>
                  <a:pt x="0" y="274320"/>
                </a:lnTo>
                <a:close/>
              </a:path>
            </a:pathLst>
          </a:custGeom>
          <a:solidFill>
            <a:srgbClr val="FFF599"/>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66" name="object 72">
            <a:extLst>
              <a:ext uri="{FF2B5EF4-FFF2-40B4-BE49-F238E27FC236}">
                <a16:creationId xmlns:a16="http://schemas.microsoft.com/office/drawing/2014/main" id="{1CBEE71B-74A4-413F-9DEA-5BAC90DBB66A}"/>
              </a:ext>
            </a:extLst>
          </p:cNvPr>
          <p:cNvSpPr txBox="1"/>
          <p:nvPr/>
        </p:nvSpPr>
        <p:spPr>
          <a:xfrm>
            <a:off x="8032495" y="5217159"/>
            <a:ext cx="1280160" cy="205184"/>
          </a:xfrm>
          <a:prstGeom prst="rect">
            <a:avLst/>
          </a:prstGeom>
          <a:ln w="18288">
            <a:solidFill>
              <a:srgbClr val="FFFFFF"/>
            </a:solidFill>
          </a:ln>
        </p:spPr>
        <p:txBody>
          <a:bodyPr vert="horz" wrap="square" lIns="0" tIns="66040" rIns="0" bIns="0" rtlCol="0">
            <a:spAutoFit/>
          </a:bodyPr>
          <a:lstStyle/>
          <a:p>
            <a:pPr marL="402590" eaLnBrk="1" fontAlgn="auto" hangingPunct="1">
              <a:spcBef>
                <a:spcPts val="520"/>
              </a:spcBef>
              <a:spcAft>
                <a:spcPts val="0"/>
              </a:spcAft>
            </a:pPr>
            <a:r>
              <a:rPr lang="en-US" sz="900" spc="-5" dirty="0">
                <a:solidFill>
                  <a:srgbClr val="636363"/>
                </a:solidFill>
                <a:latin typeface="+mj-lt"/>
                <a:ea typeface="+mn-ea"/>
                <a:cs typeface="Arial"/>
              </a:rPr>
              <a:t>Metadata</a:t>
            </a:r>
            <a:endParaRPr lang="en-US" sz="900" dirty="0">
              <a:solidFill>
                <a:prstClr val="black"/>
              </a:solidFill>
              <a:latin typeface="+mj-lt"/>
              <a:ea typeface="+mn-ea"/>
              <a:cs typeface="Arial"/>
            </a:endParaRPr>
          </a:p>
        </p:txBody>
      </p:sp>
      <p:sp>
        <p:nvSpPr>
          <p:cNvPr id="67" name="object 73">
            <a:extLst>
              <a:ext uri="{FF2B5EF4-FFF2-40B4-BE49-F238E27FC236}">
                <a16:creationId xmlns:a16="http://schemas.microsoft.com/office/drawing/2014/main" id="{4398DFFB-E6D9-4856-81E8-EB38E1C1CDB8}"/>
              </a:ext>
            </a:extLst>
          </p:cNvPr>
          <p:cNvSpPr/>
          <p:nvPr/>
        </p:nvSpPr>
        <p:spPr>
          <a:xfrm>
            <a:off x="9529064" y="5217159"/>
            <a:ext cx="1280160" cy="274320"/>
          </a:xfrm>
          <a:custGeom>
            <a:avLst/>
            <a:gdLst/>
            <a:ahLst/>
            <a:cxnLst/>
            <a:rect l="l" t="t" r="r" b="b"/>
            <a:pathLst>
              <a:path w="1280159" h="274320">
                <a:moveTo>
                  <a:pt x="0" y="274320"/>
                </a:moveTo>
                <a:lnTo>
                  <a:pt x="1280159" y="274320"/>
                </a:lnTo>
                <a:lnTo>
                  <a:pt x="1280159" y="0"/>
                </a:lnTo>
                <a:lnTo>
                  <a:pt x="0" y="0"/>
                </a:lnTo>
                <a:lnTo>
                  <a:pt x="0" y="274320"/>
                </a:lnTo>
                <a:close/>
              </a:path>
            </a:pathLst>
          </a:custGeom>
          <a:solidFill>
            <a:srgbClr val="FFF599"/>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68" name="object 74">
            <a:extLst>
              <a:ext uri="{FF2B5EF4-FFF2-40B4-BE49-F238E27FC236}">
                <a16:creationId xmlns:a16="http://schemas.microsoft.com/office/drawing/2014/main" id="{6E8E5363-29DA-4F74-B28A-E6005674A8A1}"/>
              </a:ext>
            </a:extLst>
          </p:cNvPr>
          <p:cNvSpPr txBox="1"/>
          <p:nvPr/>
        </p:nvSpPr>
        <p:spPr>
          <a:xfrm>
            <a:off x="9529064" y="5217159"/>
            <a:ext cx="1280160" cy="205184"/>
          </a:xfrm>
          <a:prstGeom prst="rect">
            <a:avLst/>
          </a:prstGeom>
          <a:ln w="18288">
            <a:solidFill>
              <a:srgbClr val="FFFFFF"/>
            </a:solidFill>
          </a:ln>
        </p:spPr>
        <p:txBody>
          <a:bodyPr vert="horz" wrap="square" lIns="0" tIns="66040" rIns="0" bIns="0" rtlCol="0">
            <a:spAutoFit/>
          </a:bodyPr>
          <a:lstStyle/>
          <a:p>
            <a:pPr marL="187960" eaLnBrk="1" fontAlgn="auto" hangingPunct="1">
              <a:spcBef>
                <a:spcPts val="520"/>
              </a:spcBef>
              <a:spcAft>
                <a:spcPts val="0"/>
              </a:spcAft>
            </a:pPr>
            <a:r>
              <a:rPr lang="en-US" sz="900" dirty="0">
                <a:solidFill>
                  <a:srgbClr val="636363"/>
                </a:solidFill>
                <a:latin typeface="+mj-lt"/>
                <a:ea typeface="+mn-ea"/>
                <a:cs typeface="Arial"/>
              </a:rPr>
              <a:t>Learning</a:t>
            </a:r>
            <a:r>
              <a:rPr lang="en-US" sz="900" spc="-50" dirty="0">
                <a:solidFill>
                  <a:srgbClr val="636363"/>
                </a:solidFill>
                <a:latin typeface="+mj-lt"/>
                <a:ea typeface="+mn-ea"/>
                <a:cs typeface="Arial"/>
              </a:rPr>
              <a:t> </a:t>
            </a:r>
            <a:r>
              <a:rPr lang="en-US" sz="900" dirty="0">
                <a:solidFill>
                  <a:srgbClr val="636363"/>
                </a:solidFill>
                <a:latin typeface="+mj-lt"/>
                <a:ea typeface="+mn-ea"/>
                <a:cs typeface="Arial"/>
              </a:rPr>
              <a:t>Patterns</a:t>
            </a:r>
            <a:endParaRPr lang="en-US" sz="900" dirty="0">
              <a:solidFill>
                <a:prstClr val="black"/>
              </a:solidFill>
              <a:latin typeface="+mj-lt"/>
              <a:ea typeface="+mn-ea"/>
              <a:cs typeface="Arial"/>
            </a:endParaRPr>
          </a:p>
        </p:txBody>
      </p:sp>
      <p:sp>
        <p:nvSpPr>
          <p:cNvPr id="69" name="object 75">
            <a:extLst>
              <a:ext uri="{FF2B5EF4-FFF2-40B4-BE49-F238E27FC236}">
                <a16:creationId xmlns:a16="http://schemas.microsoft.com/office/drawing/2014/main" id="{EA7FD5E9-3597-47D3-9C68-4EE00DFB14DF}"/>
              </a:ext>
            </a:extLst>
          </p:cNvPr>
          <p:cNvSpPr/>
          <p:nvPr/>
        </p:nvSpPr>
        <p:spPr>
          <a:xfrm>
            <a:off x="5045456" y="5217159"/>
            <a:ext cx="1280160" cy="274320"/>
          </a:xfrm>
          <a:custGeom>
            <a:avLst/>
            <a:gdLst/>
            <a:ahLst/>
            <a:cxnLst/>
            <a:rect l="l" t="t" r="r" b="b"/>
            <a:pathLst>
              <a:path w="1280160" h="274320">
                <a:moveTo>
                  <a:pt x="0" y="274320"/>
                </a:moveTo>
                <a:lnTo>
                  <a:pt x="1280160" y="274320"/>
                </a:lnTo>
                <a:lnTo>
                  <a:pt x="1280160" y="0"/>
                </a:lnTo>
                <a:lnTo>
                  <a:pt x="0" y="0"/>
                </a:lnTo>
                <a:lnTo>
                  <a:pt x="0" y="274320"/>
                </a:lnTo>
                <a:close/>
              </a:path>
            </a:pathLst>
          </a:custGeom>
          <a:solidFill>
            <a:srgbClr val="FFF599"/>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70" name="object 76">
            <a:extLst>
              <a:ext uri="{FF2B5EF4-FFF2-40B4-BE49-F238E27FC236}">
                <a16:creationId xmlns:a16="http://schemas.microsoft.com/office/drawing/2014/main" id="{55CAA287-5892-48D1-928E-B9722EEB1185}"/>
              </a:ext>
            </a:extLst>
          </p:cNvPr>
          <p:cNvSpPr txBox="1"/>
          <p:nvPr/>
        </p:nvSpPr>
        <p:spPr>
          <a:xfrm>
            <a:off x="5045456" y="5217159"/>
            <a:ext cx="1280160" cy="418191"/>
          </a:xfrm>
          <a:prstGeom prst="rect">
            <a:avLst/>
          </a:prstGeom>
          <a:ln w="18288">
            <a:solidFill>
              <a:srgbClr val="FFFFFF"/>
            </a:solidFill>
          </a:ln>
        </p:spPr>
        <p:txBody>
          <a:bodyPr vert="horz" wrap="square" lIns="0" tIns="2540" rIns="0" bIns="0" rtlCol="0">
            <a:spAutoFit/>
          </a:bodyPr>
          <a:lstStyle/>
          <a:p>
            <a:pPr marL="454659" marR="137160" indent="-314325" eaLnBrk="1" fontAlgn="auto" hangingPunct="1">
              <a:lnSpc>
                <a:spcPts val="1080"/>
              </a:lnSpc>
              <a:spcBef>
                <a:spcPts val="20"/>
              </a:spcBef>
              <a:spcAft>
                <a:spcPts val="0"/>
              </a:spcAft>
            </a:pPr>
            <a:r>
              <a:rPr lang="en-US" sz="900" dirty="0">
                <a:solidFill>
                  <a:srgbClr val="636363"/>
                </a:solidFill>
                <a:latin typeface="+mj-lt"/>
                <a:ea typeface="+mn-ea"/>
                <a:cs typeface="Arial"/>
              </a:rPr>
              <a:t>Operational</a:t>
            </a:r>
            <a:r>
              <a:rPr lang="en-US" sz="900" spc="-105" dirty="0">
                <a:solidFill>
                  <a:srgbClr val="636363"/>
                </a:solidFill>
                <a:latin typeface="+mj-lt"/>
                <a:ea typeface="+mn-ea"/>
                <a:cs typeface="Arial"/>
              </a:rPr>
              <a:t> </a:t>
            </a:r>
            <a:r>
              <a:rPr lang="en-US" sz="900" dirty="0">
                <a:solidFill>
                  <a:srgbClr val="636363"/>
                </a:solidFill>
                <a:latin typeface="+mj-lt"/>
                <a:ea typeface="+mn-ea"/>
                <a:cs typeface="Arial"/>
              </a:rPr>
              <a:t>Control  Metrics</a:t>
            </a:r>
            <a:endParaRPr lang="en-US" sz="900" dirty="0">
              <a:solidFill>
                <a:prstClr val="black"/>
              </a:solidFill>
              <a:latin typeface="+mj-lt"/>
              <a:ea typeface="+mn-ea"/>
              <a:cs typeface="Arial"/>
            </a:endParaRPr>
          </a:p>
        </p:txBody>
      </p:sp>
      <p:sp>
        <p:nvSpPr>
          <p:cNvPr id="71" name="object 77">
            <a:extLst>
              <a:ext uri="{FF2B5EF4-FFF2-40B4-BE49-F238E27FC236}">
                <a16:creationId xmlns:a16="http://schemas.microsoft.com/office/drawing/2014/main" id="{E2661827-F0FF-46DE-8E8D-96DC63D7D54F}"/>
              </a:ext>
            </a:extLst>
          </p:cNvPr>
          <p:cNvSpPr/>
          <p:nvPr/>
        </p:nvSpPr>
        <p:spPr>
          <a:xfrm>
            <a:off x="6418580" y="5218683"/>
            <a:ext cx="1270" cy="266065"/>
          </a:xfrm>
          <a:custGeom>
            <a:avLst/>
            <a:gdLst/>
            <a:ahLst/>
            <a:cxnLst/>
            <a:rect l="l" t="t" r="r" b="b"/>
            <a:pathLst>
              <a:path w="1270" h="266064">
                <a:moveTo>
                  <a:pt x="1015" y="0"/>
                </a:moveTo>
                <a:lnTo>
                  <a:pt x="0" y="265938"/>
                </a:lnTo>
              </a:path>
            </a:pathLst>
          </a:custGeom>
          <a:ln w="9144">
            <a:solidFill>
              <a:srgbClr val="FFFFFF"/>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72" name="object 78">
            <a:extLst>
              <a:ext uri="{FF2B5EF4-FFF2-40B4-BE49-F238E27FC236}">
                <a16:creationId xmlns:a16="http://schemas.microsoft.com/office/drawing/2014/main" id="{A92F7919-497A-4DF0-93C9-91243580431F}"/>
              </a:ext>
            </a:extLst>
          </p:cNvPr>
          <p:cNvSpPr txBox="1"/>
          <p:nvPr/>
        </p:nvSpPr>
        <p:spPr>
          <a:xfrm>
            <a:off x="2055367" y="5863335"/>
            <a:ext cx="1280160" cy="205184"/>
          </a:xfrm>
          <a:prstGeom prst="rect">
            <a:avLst/>
          </a:prstGeom>
          <a:solidFill>
            <a:srgbClr val="B3B3B3"/>
          </a:solidFill>
          <a:ln w="18287">
            <a:solidFill>
              <a:srgbClr val="FFFFFF"/>
            </a:solidFill>
          </a:ln>
        </p:spPr>
        <p:txBody>
          <a:bodyPr vert="horz" wrap="square" lIns="0" tIns="66040" rIns="0" bIns="0" rtlCol="0">
            <a:spAutoFit/>
          </a:bodyPr>
          <a:lstStyle/>
          <a:p>
            <a:pPr marL="292735" eaLnBrk="1" fontAlgn="auto" hangingPunct="1">
              <a:spcBef>
                <a:spcPts val="520"/>
              </a:spcBef>
              <a:spcAft>
                <a:spcPts val="0"/>
              </a:spcAft>
            </a:pPr>
            <a:r>
              <a:rPr lang="en-US" sz="900" b="1" dirty="0">
                <a:solidFill>
                  <a:srgbClr val="FFFFFF"/>
                </a:solidFill>
                <a:latin typeface="+mj-lt"/>
                <a:ea typeface="+mn-ea"/>
                <a:cs typeface="Arial"/>
              </a:rPr>
              <a:t>API</a:t>
            </a:r>
            <a:r>
              <a:rPr lang="en-US" sz="900" b="1" spc="-15" dirty="0">
                <a:solidFill>
                  <a:srgbClr val="FFFFFF"/>
                </a:solidFill>
                <a:latin typeface="+mj-lt"/>
                <a:ea typeface="+mn-ea"/>
                <a:cs typeface="Arial"/>
              </a:rPr>
              <a:t> </a:t>
            </a:r>
            <a:r>
              <a:rPr lang="en-US" sz="900" b="1" dirty="0">
                <a:solidFill>
                  <a:srgbClr val="FFFFFF"/>
                </a:solidFill>
                <a:latin typeface="+mj-lt"/>
                <a:ea typeface="+mn-ea"/>
                <a:cs typeface="Arial"/>
              </a:rPr>
              <a:t>Gateway</a:t>
            </a:r>
            <a:endParaRPr lang="en-US" sz="900" dirty="0">
              <a:solidFill>
                <a:prstClr val="black"/>
              </a:solidFill>
              <a:latin typeface="+mj-lt"/>
              <a:ea typeface="+mn-ea"/>
              <a:cs typeface="Arial"/>
            </a:endParaRPr>
          </a:p>
        </p:txBody>
      </p:sp>
      <p:sp>
        <p:nvSpPr>
          <p:cNvPr id="73" name="object 79">
            <a:extLst>
              <a:ext uri="{FF2B5EF4-FFF2-40B4-BE49-F238E27FC236}">
                <a16:creationId xmlns:a16="http://schemas.microsoft.com/office/drawing/2014/main" id="{29F66653-F40F-456A-828B-E291FB022E77}"/>
              </a:ext>
            </a:extLst>
          </p:cNvPr>
          <p:cNvSpPr txBox="1"/>
          <p:nvPr/>
        </p:nvSpPr>
        <p:spPr>
          <a:xfrm>
            <a:off x="3548887" y="5863335"/>
            <a:ext cx="1280160" cy="205184"/>
          </a:xfrm>
          <a:prstGeom prst="rect">
            <a:avLst/>
          </a:prstGeom>
          <a:solidFill>
            <a:srgbClr val="B3B3B3"/>
          </a:solidFill>
          <a:ln w="18288">
            <a:solidFill>
              <a:srgbClr val="FFFFFF"/>
            </a:solidFill>
          </a:ln>
        </p:spPr>
        <p:txBody>
          <a:bodyPr vert="horz" wrap="square" lIns="0" tIns="66040" rIns="0" bIns="0" rtlCol="0">
            <a:spAutoFit/>
          </a:bodyPr>
          <a:lstStyle/>
          <a:p>
            <a:pPr marL="22860" eaLnBrk="1" fontAlgn="auto" hangingPunct="1">
              <a:spcBef>
                <a:spcPts val="520"/>
              </a:spcBef>
              <a:spcAft>
                <a:spcPts val="0"/>
              </a:spcAft>
            </a:pPr>
            <a:r>
              <a:rPr lang="en-US" sz="900" b="1" spc="-5" dirty="0">
                <a:solidFill>
                  <a:srgbClr val="FFFFFF"/>
                </a:solidFill>
                <a:latin typeface="+mj-lt"/>
                <a:ea typeface="+mn-ea"/>
                <a:cs typeface="Arial"/>
              </a:rPr>
              <a:t>Synchronous</a:t>
            </a:r>
            <a:r>
              <a:rPr lang="en-US" sz="900" b="1" spc="-45" dirty="0">
                <a:solidFill>
                  <a:srgbClr val="FFFFFF"/>
                </a:solidFill>
                <a:latin typeface="+mj-lt"/>
                <a:ea typeface="+mn-ea"/>
                <a:cs typeface="Arial"/>
              </a:rPr>
              <a:t> </a:t>
            </a:r>
            <a:r>
              <a:rPr lang="en-US" sz="900" b="1" dirty="0">
                <a:solidFill>
                  <a:srgbClr val="FFFFFF"/>
                </a:solidFill>
                <a:latin typeface="+mj-lt"/>
                <a:ea typeface="+mn-ea"/>
                <a:cs typeface="Arial"/>
              </a:rPr>
              <a:t>Services</a:t>
            </a:r>
            <a:endParaRPr lang="en-US" sz="900" dirty="0">
              <a:solidFill>
                <a:prstClr val="black"/>
              </a:solidFill>
              <a:latin typeface="+mj-lt"/>
              <a:ea typeface="+mn-ea"/>
              <a:cs typeface="Arial"/>
            </a:endParaRPr>
          </a:p>
        </p:txBody>
      </p:sp>
      <p:sp>
        <p:nvSpPr>
          <p:cNvPr id="74" name="object 80">
            <a:extLst>
              <a:ext uri="{FF2B5EF4-FFF2-40B4-BE49-F238E27FC236}">
                <a16:creationId xmlns:a16="http://schemas.microsoft.com/office/drawing/2014/main" id="{19CFBCAB-60A5-4B2A-8C81-643EB5DB3F4A}"/>
              </a:ext>
            </a:extLst>
          </p:cNvPr>
          <p:cNvSpPr/>
          <p:nvPr/>
        </p:nvSpPr>
        <p:spPr>
          <a:xfrm>
            <a:off x="6538975" y="5863335"/>
            <a:ext cx="1280160" cy="274320"/>
          </a:xfrm>
          <a:custGeom>
            <a:avLst/>
            <a:gdLst/>
            <a:ahLst/>
            <a:cxnLst/>
            <a:rect l="l" t="t" r="r" b="b"/>
            <a:pathLst>
              <a:path w="1280159" h="274320">
                <a:moveTo>
                  <a:pt x="0" y="274320"/>
                </a:moveTo>
                <a:lnTo>
                  <a:pt x="1280160" y="274320"/>
                </a:lnTo>
                <a:lnTo>
                  <a:pt x="1280160" y="0"/>
                </a:lnTo>
                <a:lnTo>
                  <a:pt x="0" y="0"/>
                </a:lnTo>
                <a:lnTo>
                  <a:pt x="0" y="274320"/>
                </a:lnTo>
                <a:close/>
              </a:path>
            </a:pathLst>
          </a:custGeom>
          <a:solidFill>
            <a:srgbClr val="B3B3B3"/>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75" name="object 81">
            <a:extLst>
              <a:ext uri="{FF2B5EF4-FFF2-40B4-BE49-F238E27FC236}">
                <a16:creationId xmlns:a16="http://schemas.microsoft.com/office/drawing/2014/main" id="{03BB4D90-E269-40E2-896D-DE687BCBCBF8}"/>
              </a:ext>
            </a:extLst>
          </p:cNvPr>
          <p:cNvSpPr/>
          <p:nvPr/>
        </p:nvSpPr>
        <p:spPr>
          <a:xfrm>
            <a:off x="6538975" y="5863335"/>
            <a:ext cx="1280160" cy="274320"/>
          </a:xfrm>
          <a:custGeom>
            <a:avLst/>
            <a:gdLst/>
            <a:ahLst/>
            <a:cxnLst/>
            <a:rect l="l" t="t" r="r" b="b"/>
            <a:pathLst>
              <a:path w="1280159" h="274320">
                <a:moveTo>
                  <a:pt x="0" y="274320"/>
                </a:moveTo>
                <a:lnTo>
                  <a:pt x="1280160" y="274320"/>
                </a:lnTo>
                <a:lnTo>
                  <a:pt x="1280160" y="0"/>
                </a:lnTo>
                <a:lnTo>
                  <a:pt x="0" y="0"/>
                </a:lnTo>
                <a:lnTo>
                  <a:pt x="0" y="274320"/>
                </a:lnTo>
                <a:close/>
              </a:path>
            </a:pathLst>
          </a:custGeom>
          <a:ln w="18288">
            <a:solidFill>
              <a:srgbClr val="FFFFFF"/>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76" name="object 82">
            <a:extLst>
              <a:ext uri="{FF2B5EF4-FFF2-40B4-BE49-F238E27FC236}">
                <a16:creationId xmlns:a16="http://schemas.microsoft.com/office/drawing/2014/main" id="{B0A9BB90-FFD4-45EE-AEA6-C7A731E5FF21}"/>
              </a:ext>
            </a:extLst>
          </p:cNvPr>
          <p:cNvSpPr txBox="1"/>
          <p:nvPr/>
        </p:nvSpPr>
        <p:spPr>
          <a:xfrm>
            <a:off x="6641211" y="5915253"/>
            <a:ext cx="1075690" cy="152606"/>
          </a:xfrm>
          <a:prstGeom prst="rect">
            <a:avLst/>
          </a:prstGeom>
        </p:spPr>
        <p:txBody>
          <a:bodyPr vert="horz" wrap="square" lIns="0" tIns="13970" rIns="0" bIns="0" rtlCol="0">
            <a:spAutoFit/>
          </a:bodyPr>
          <a:lstStyle/>
          <a:p>
            <a:pPr marL="12700" eaLnBrk="1" fontAlgn="auto" hangingPunct="1">
              <a:spcBef>
                <a:spcPts val="110"/>
              </a:spcBef>
              <a:spcAft>
                <a:spcPts val="0"/>
              </a:spcAft>
            </a:pPr>
            <a:r>
              <a:rPr lang="en-US" sz="900" b="1" dirty="0">
                <a:solidFill>
                  <a:srgbClr val="FFFFFF"/>
                </a:solidFill>
                <a:latin typeface="+mj-lt"/>
                <a:ea typeface="+mn-ea"/>
                <a:cs typeface="Arial"/>
              </a:rPr>
              <a:t>Event</a:t>
            </a:r>
            <a:r>
              <a:rPr lang="en-US" sz="900" b="1" spc="-50" dirty="0">
                <a:solidFill>
                  <a:srgbClr val="FFFFFF"/>
                </a:solidFill>
                <a:latin typeface="+mj-lt"/>
                <a:ea typeface="+mn-ea"/>
                <a:cs typeface="Arial"/>
              </a:rPr>
              <a:t> </a:t>
            </a:r>
            <a:r>
              <a:rPr lang="en-US" sz="900" b="1" dirty="0">
                <a:solidFill>
                  <a:srgbClr val="FFFFFF"/>
                </a:solidFill>
                <a:latin typeface="+mj-lt"/>
                <a:ea typeface="+mn-ea"/>
                <a:cs typeface="Arial"/>
              </a:rPr>
              <a:t>Streaming</a:t>
            </a:r>
            <a:endParaRPr lang="en-US" sz="900" dirty="0">
              <a:solidFill>
                <a:prstClr val="black"/>
              </a:solidFill>
              <a:latin typeface="+mj-lt"/>
              <a:ea typeface="+mn-ea"/>
              <a:cs typeface="Arial"/>
            </a:endParaRPr>
          </a:p>
        </p:txBody>
      </p:sp>
      <p:sp>
        <p:nvSpPr>
          <p:cNvPr id="77" name="object 83">
            <a:extLst>
              <a:ext uri="{FF2B5EF4-FFF2-40B4-BE49-F238E27FC236}">
                <a16:creationId xmlns:a16="http://schemas.microsoft.com/office/drawing/2014/main" id="{4D4C0617-CCD6-4E2E-ABCB-46D97AB91FAC}"/>
              </a:ext>
            </a:extLst>
          </p:cNvPr>
          <p:cNvSpPr txBox="1"/>
          <p:nvPr/>
        </p:nvSpPr>
        <p:spPr>
          <a:xfrm>
            <a:off x="8032495" y="5863335"/>
            <a:ext cx="1280160" cy="274320"/>
          </a:xfrm>
          <a:prstGeom prst="rect">
            <a:avLst/>
          </a:prstGeom>
          <a:solidFill>
            <a:srgbClr val="B3B3B3"/>
          </a:solidFill>
          <a:ln w="18288">
            <a:solidFill>
              <a:srgbClr val="FFFFFF"/>
            </a:solidFill>
          </a:ln>
        </p:spPr>
        <p:txBody>
          <a:bodyPr vert="horz" wrap="square" lIns="0" tIns="1905" rIns="0" bIns="0" rtlCol="0">
            <a:spAutoFit/>
          </a:bodyPr>
          <a:lstStyle/>
          <a:p>
            <a:pPr marL="290195" marR="248920" indent="-27940" eaLnBrk="1" fontAlgn="auto" hangingPunct="1">
              <a:lnSpc>
                <a:spcPts val="1080"/>
              </a:lnSpc>
              <a:spcBef>
                <a:spcPts val="15"/>
              </a:spcBef>
              <a:spcAft>
                <a:spcPts val="0"/>
              </a:spcAft>
            </a:pPr>
            <a:r>
              <a:rPr lang="en-US" sz="900" b="1" dirty="0">
                <a:solidFill>
                  <a:srgbClr val="FFFFFF"/>
                </a:solidFill>
                <a:latin typeface="+mj-lt"/>
                <a:ea typeface="+mn-ea"/>
                <a:cs typeface="Arial"/>
              </a:rPr>
              <a:t>Batch</a:t>
            </a:r>
            <a:r>
              <a:rPr lang="en-US" sz="900" b="1" spc="-85" dirty="0">
                <a:solidFill>
                  <a:srgbClr val="FFFFFF"/>
                </a:solidFill>
                <a:latin typeface="+mj-lt"/>
                <a:ea typeface="+mn-ea"/>
                <a:cs typeface="Arial"/>
              </a:rPr>
              <a:t> </a:t>
            </a:r>
            <a:r>
              <a:rPr lang="en-US" sz="900" b="1" dirty="0">
                <a:solidFill>
                  <a:srgbClr val="FFFFFF"/>
                </a:solidFill>
                <a:latin typeface="+mj-lt"/>
                <a:ea typeface="+mn-ea"/>
                <a:cs typeface="Arial"/>
              </a:rPr>
              <a:t>Control  </a:t>
            </a:r>
            <a:r>
              <a:rPr lang="en-US" sz="900" b="1" spc="5" dirty="0">
                <a:solidFill>
                  <a:srgbClr val="FFFFFF"/>
                </a:solidFill>
                <a:latin typeface="+mj-lt"/>
                <a:ea typeface="+mn-ea"/>
                <a:cs typeface="Arial"/>
              </a:rPr>
              <a:t>Management</a:t>
            </a:r>
            <a:endParaRPr lang="en-US" sz="900" dirty="0">
              <a:solidFill>
                <a:prstClr val="black"/>
              </a:solidFill>
              <a:latin typeface="+mj-lt"/>
              <a:ea typeface="+mn-ea"/>
              <a:cs typeface="Arial"/>
            </a:endParaRPr>
          </a:p>
        </p:txBody>
      </p:sp>
      <p:sp>
        <p:nvSpPr>
          <p:cNvPr id="78" name="object 84">
            <a:extLst>
              <a:ext uri="{FF2B5EF4-FFF2-40B4-BE49-F238E27FC236}">
                <a16:creationId xmlns:a16="http://schemas.microsoft.com/office/drawing/2014/main" id="{9C5E1222-3C07-4222-AA5D-56EA1A52CC42}"/>
              </a:ext>
            </a:extLst>
          </p:cNvPr>
          <p:cNvSpPr txBox="1"/>
          <p:nvPr/>
        </p:nvSpPr>
        <p:spPr>
          <a:xfrm>
            <a:off x="9529064" y="5863335"/>
            <a:ext cx="1280160" cy="274320"/>
          </a:xfrm>
          <a:prstGeom prst="rect">
            <a:avLst/>
          </a:prstGeom>
          <a:solidFill>
            <a:srgbClr val="B3B3B3"/>
          </a:solidFill>
          <a:ln w="18288">
            <a:solidFill>
              <a:srgbClr val="FFFFFF"/>
            </a:solidFill>
          </a:ln>
        </p:spPr>
        <p:txBody>
          <a:bodyPr vert="horz" wrap="square" lIns="0" tIns="1905" rIns="0" bIns="0" rtlCol="0">
            <a:spAutoFit/>
          </a:bodyPr>
          <a:lstStyle/>
          <a:p>
            <a:pPr marL="394970" marR="90170" indent="-292735" eaLnBrk="1" fontAlgn="auto" hangingPunct="1">
              <a:lnSpc>
                <a:spcPts val="1080"/>
              </a:lnSpc>
              <a:spcBef>
                <a:spcPts val="15"/>
              </a:spcBef>
              <a:spcAft>
                <a:spcPts val="0"/>
              </a:spcAft>
            </a:pPr>
            <a:r>
              <a:rPr lang="en-US" sz="900" b="1" spc="10" dirty="0">
                <a:solidFill>
                  <a:srgbClr val="FFFFFF"/>
                </a:solidFill>
                <a:latin typeface="+mj-lt"/>
                <a:ea typeface="+mn-ea"/>
                <a:cs typeface="Arial"/>
              </a:rPr>
              <a:t>Common</a:t>
            </a:r>
            <a:r>
              <a:rPr lang="en-US" sz="900" b="1" spc="-140" dirty="0">
                <a:solidFill>
                  <a:srgbClr val="FFFFFF"/>
                </a:solidFill>
                <a:latin typeface="+mj-lt"/>
                <a:ea typeface="+mn-ea"/>
                <a:cs typeface="Arial"/>
              </a:rPr>
              <a:t> </a:t>
            </a:r>
            <a:r>
              <a:rPr lang="en-US" sz="900" b="1" dirty="0">
                <a:solidFill>
                  <a:srgbClr val="FFFFFF"/>
                </a:solidFill>
                <a:latin typeface="+mj-lt"/>
                <a:ea typeface="+mn-ea"/>
                <a:cs typeface="Arial"/>
              </a:rPr>
              <a:t>Exception  Handling</a:t>
            </a:r>
            <a:endParaRPr lang="en-US" sz="900" dirty="0">
              <a:solidFill>
                <a:prstClr val="black"/>
              </a:solidFill>
              <a:latin typeface="+mj-lt"/>
              <a:ea typeface="+mn-ea"/>
              <a:cs typeface="Arial"/>
            </a:endParaRPr>
          </a:p>
        </p:txBody>
      </p:sp>
      <p:sp>
        <p:nvSpPr>
          <p:cNvPr id="79" name="object 85">
            <a:extLst>
              <a:ext uri="{FF2B5EF4-FFF2-40B4-BE49-F238E27FC236}">
                <a16:creationId xmlns:a16="http://schemas.microsoft.com/office/drawing/2014/main" id="{C4BAECC1-C45C-4A6E-9771-E2411857CACF}"/>
              </a:ext>
            </a:extLst>
          </p:cNvPr>
          <p:cNvSpPr/>
          <p:nvPr/>
        </p:nvSpPr>
        <p:spPr>
          <a:xfrm>
            <a:off x="5045456" y="5863335"/>
            <a:ext cx="1280160" cy="274320"/>
          </a:xfrm>
          <a:custGeom>
            <a:avLst/>
            <a:gdLst/>
            <a:ahLst/>
            <a:cxnLst/>
            <a:rect l="l" t="t" r="r" b="b"/>
            <a:pathLst>
              <a:path w="1280160" h="274320">
                <a:moveTo>
                  <a:pt x="0" y="274320"/>
                </a:moveTo>
                <a:lnTo>
                  <a:pt x="1280160" y="274320"/>
                </a:lnTo>
                <a:lnTo>
                  <a:pt x="1280160" y="0"/>
                </a:lnTo>
                <a:lnTo>
                  <a:pt x="0" y="0"/>
                </a:lnTo>
                <a:lnTo>
                  <a:pt x="0" y="274320"/>
                </a:lnTo>
                <a:close/>
              </a:path>
            </a:pathLst>
          </a:custGeom>
          <a:solidFill>
            <a:srgbClr val="B3B3B3"/>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80" name="object 86">
            <a:extLst>
              <a:ext uri="{FF2B5EF4-FFF2-40B4-BE49-F238E27FC236}">
                <a16:creationId xmlns:a16="http://schemas.microsoft.com/office/drawing/2014/main" id="{0857D1B0-BB86-4154-A899-BB3D35C15BE2}"/>
              </a:ext>
            </a:extLst>
          </p:cNvPr>
          <p:cNvSpPr/>
          <p:nvPr/>
        </p:nvSpPr>
        <p:spPr>
          <a:xfrm>
            <a:off x="5045456" y="5863335"/>
            <a:ext cx="1280160" cy="274320"/>
          </a:xfrm>
          <a:custGeom>
            <a:avLst/>
            <a:gdLst/>
            <a:ahLst/>
            <a:cxnLst/>
            <a:rect l="l" t="t" r="r" b="b"/>
            <a:pathLst>
              <a:path w="1280160" h="274320">
                <a:moveTo>
                  <a:pt x="0" y="274320"/>
                </a:moveTo>
                <a:lnTo>
                  <a:pt x="1280160" y="274320"/>
                </a:lnTo>
                <a:lnTo>
                  <a:pt x="1280160" y="0"/>
                </a:lnTo>
                <a:lnTo>
                  <a:pt x="0" y="0"/>
                </a:lnTo>
                <a:lnTo>
                  <a:pt x="0" y="274320"/>
                </a:lnTo>
                <a:close/>
              </a:path>
            </a:pathLst>
          </a:custGeom>
          <a:ln w="18288">
            <a:solidFill>
              <a:srgbClr val="FFFFFF"/>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81" name="object 87">
            <a:extLst>
              <a:ext uri="{FF2B5EF4-FFF2-40B4-BE49-F238E27FC236}">
                <a16:creationId xmlns:a16="http://schemas.microsoft.com/office/drawing/2014/main" id="{D94046F0-F717-47C2-825A-AD49D288D1ED}"/>
              </a:ext>
            </a:extLst>
          </p:cNvPr>
          <p:cNvSpPr txBox="1"/>
          <p:nvPr/>
        </p:nvSpPr>
        <p:spPr>
          <a:xfrm>
            <a:off x="5185790" y="5846673"/>
            <a:ext cx="998219" cy="301625"/>
          </a:xfrm>
          <a:prstGeom prst="rect">
            <a:avLst/>
          </a:prstGeom>
        </p:spPr>
        <p:txBody>
          <a:bodyPr vert="horz" wrap="square" lIns="0" tIns="13970" rIns="0" bIns="0" rtlCol="0">
            <a:spAutoFit/>
          </a:bodyPr>
          <a:lstStyle/>
          <a:p>
            <a:pPr marL="12700" marR="5080" indent="85090" eaLnBrk="1" fontAlgn="auto" hangingPunct="1">
              <a:spcBef>
                <a:spcPts val="110"/>
              </a:spcBef>
              <a:spcAft>
                <a:spcPts val="0"/>
              </a:spcAft>
            </a:pPr>
            <a:r>
              <a:rPr lang="en-US" sz="900" b="1" spc="-5" dirty="0">
                <a:solidFill>
                  <a:srgbClr val="FFFFFF"/>
                </a:solidFill>
                <a:latin typeface="+mj-lt"/>
                <a:ea typeface="+mn-ea"/>
                <a:cs typeface="Arial"/>
              </a:rPr>
              <a:t>Asynchronous  </a:t>
            </a:r>
            <a:r>
              <a:rPr lang="en-US" sz="900" b="1" dirty="0">
                <a:solidFill>
                  <a:srgbClr val="FFFFFF"/>
                </a:solidFill>
                <a:latin typeface="+mj-lt"/>
                <a:ea typeface="+mn-ea"/>
                <a:cs typeface="Arial"/>
              </a:rPr>
              <a:t>Pub/Sub</a:t>
            </a:r>
            <a:r>
              <a:rPr lang="en-US" sz="900" b="1" spc="-80" dirty="0">
                <a:solidFill>
                  <a:srgbClr val="FFFFFF"/>
                </a:solidFill>
                <a:latin typeface="+mj-lt"/>
                <a:ea typeface="+mn-ea"/>
                <a:cs typeface="Arial"/>
              </a:rPr>
              <a:t> </a:t>
            </a:r>
            <a:r>
              <a:rPr lang="en-US" sz="900" b="1" dirty="0">
                <a:solidFill>
                  <a:srgbClr val="FFFFFF"/>
                </a:solidFill>
                <a:latin typeface="+mj-lt"/>
                <a:ea typeface="+mn-ea"/>
                <a:cs typeface="Arial"/>
              </a:rPr>
              <a:t>Services</a:t>
            </a:r>
            <a:endParaRPr lang="en-US" sz="900" dirty="0">
              <a:solidFill>
                <a:prstClr val="black"/>
              </a:solidFill>
              <a:latin typeface="+mj-lt"/>
              <a:ea typeface="+mn-ea"/>
              <a:cs typeface="Arial"/>
            </a:endParaRPr>
          </a:p>
        </p:txBody>
      </p:sp>
      <p:sp>
        <p:nvSpPr>
          <p:cNvPr id="82" name="object 88">
            <a:extLst>
              <a:ext uri="{FF2B5EF4-FFF2-40B4-BE49-F238E27FC236}">
                <a16:creationId xmlns:a16="http://schemas.microsoft.com/office/drawing/2014/main" id="{D525AAB6-24A7-422E-A32D-7F9D9E3711C4}"/>
              </a:ext>
            </a:extLst>
          </p:cNvPr>
          <p:cNvSpPr/>
          <p:nvPr/>
        </p:nvSpPr>
        <p:spPr>
          <a:xfrm>
            <a:off x="2046224" y="4449064"/>
            <a:ext cx="1237615" cy="344805"/>
          </a:xfrm>
          <a:custGeom>
            <a:avLst/>
            <a:gdLst/>
            <a:ahLst/>
            <a:cxnLst/>
            <a:rect l="l" t="t" r="r" b="b"/>
            <a:pathLst>
              <a:path w="1237614" h="344804">
                <a:moveTo>
                  <a:pt x="0" y="344424"/>
                </a:moveTo>
                <a:lnTo>
                  <a:pt x="1237488" y="344424"/>
                </a:lnTo>
                <a:lnTo>
                  <a:pt x="1237488" y="0"/>
                </a:lnTo>
                <a:lnTo>
                  <a:pt x="0" y="0"/>
                </a:lnTo>
                <a:lnTo>
                  <a:pt x="0" y="344424"/>
                </a:lnTo>
                <a:close/>
              </a:path>
            </a:pathLst>
          </a:custGeom>
          <a:solidFill>
            <a:srgbClr val="C1C1C1"/>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83" name="object 89">
            <a:extLst>
              <a:ext uri="{FF2B5EF4-FFF2-40B4-BE49-F238E27FC236}">
                <a16:creationId xmlns:a16="http://schemas.microsoft.com/office/drawing/2014/main" id="{E99C1A7F-9F4B-4D4B-98AE-2189EF1001AB}"/>
              </a:ext>
            </a:extLst>
          </p:cNvPr>
          <p:cNvSpPr txBox="1"/>
          <p:nvPr/>
        </p:nvSpPr>
        <p:spPr>
          <a:xfrm>
            <a:off x="2046224" y="4449064"/>
            <a:ext cx="1237615" cy="310341"/>
          </a:xfrm>
          <a:prstGeom prst="rect">
            <a:avLst/>
          </a:prstGeom>
          <a:ln w="18287">
            <a:solidFill>
              <a:srgbClr val="808080"/>
            </a:solidFill>
          </a:ln>
        </p:spPr>
        <p:txBody>
          <a:bodyPr vert="horz" wrap="square" lIns="0" tIns="33020" rIns="0" bIns="0" rtlCol="0">
            <a:spAutoFit/>
          </a:bodyPr>
          <a:lstStyle/>
          <a:p>
            <a:pPr marL="401955" marR="236220" indent="-155575" eaLnBrk="1" fontAlgn="auto" hangingPunct="1">
              <a:spcBef>
                <a:spcPts val="260"/>
              </a:spcBef>
              <a:spcAft>
                <a:spcPts val="0"/>
              </a:spcAft>
            </a:pPr>
            <a:r>
              <a:rPr lang="en-US" sz="900" dirty="0">
                <a:solidFill>
                  <a:srgbClr val="FFFFFF"/>
                </a:solidFill>
                <a:latin typeface="+mj-lt"/>
                <a:ea typeface="+mn-ea"/>
                <a:cs typeface="Arial"/>
              </a:rPr>
              <a:t>Data Tagging</a:t>
            </a:r>
            <a:r>
              <a:rPr lang="en-US" sz="900" spc="-130" dirty="0">
                <a:solidFill>
                  <a:srgbClr val="FFFFFF"/>
                </a:solidFill>
                <a:latin typeface="+mj-lt"/>
                <a:ea typeface="+mn-ea"/>
                <a:cs typeface="Arial"/>
              </a:rPr>
              <a:t> </a:t>
            </a:r>
            <a:r>
              <a:rPr lang="en-US" sz="900" dirty="0">
                <a:solidFill>
                  <a:srgbClr val="FFFFFF"/>
                </a:solidFill>
                <a:latin typeface="+mj-lt"/>
                <a:ea typeface="+mn-ea"/>
                <a:cs typeface="Arial"/>
              </a:rPr>
              <a:t>|  </a:t>
            </a:r>
            <a:r>
              <a:rPr lang="en-US" sz="900" spc="-5" dirty="0">
                <a:solidFill>
                  <a:srgbClr val="FFFFFF"/>
                </a:solidFill>
                <a:latin typeface="+mj-lt"/>
                <a:ea typeface="+mn-ea"/>
                <a:cs typeface="Arial"/>
              </a:rPr>
              <a:t>Indexing</a:t>
            </a:r>
            <a:endParaRPr lang="en-US" sz="900" dirty="0">
              <a:solidFill>
                <a:prstClr val="black"/>
              </a:solidFill>
              <a:latin typeface="+mj-lt"/>
              <a:ea typeface="+mn-ea"/>
              <a:cs typeface="Arial"/>
            </a:endParaRPr>
          </a:p>
        </p:txBody>
      </p:sp>
      <p:sp>
        <p:nvSpPr>
          <p:cNvPr id="84" name="object 91">
            <a:extLst>
              <a:ext uri="{FF2B5EF4-FFF2-40B4-BE49-F238E27FC236}">
                <a16:creationId xmlns:a16="http://schemas.microsoft.com/office/drawing/2014/main" id="{1CA08CD3-A3AB-4A7B-B3AD-1DDE5982068D}"/>
              </a:ext>
            </a:extLst>
          </p:cNvPr>
          <p:cNvSpPr/>
          <p:nvPr/>
        </p:nvSpPr>
        <p:spPr>
          <a:xfrm>
            <a:off x="1933448" y="1644904"/>
            <a:ext cx="9037320" cy="695325"/>
          </a:xfrm>
          <a:custGeom>
            <a:avLst/>
            <a:gdLst/>
            <a:ahLst/>
            <a:cxnLst/>
            <a:rect l="l" t="t" r="r" b="b"/>
            <a:pathLst>
              <a:path w="9037320" h="695325">
                <a:moveTo>
                  <a:pt x="0" y="694943"/>
                </a:moveTo>
                <a:lnTo>
                  <a:pt x="9037319" y="694943"/>
                </a:lnTo>
                <a:lnTo>
                  <a:pt x="9037319" y="0"/>
                </a:lnTo>
                <a:lnTo>
                  <a:pt x="0" y="0"/>
                </a:lnTo>
                <a:lnTo>
                  <a:pt x="0" y="694943"/>
                </a:lnTo>
                <a:close/>
              </a:path>
            </a:pathLst>
          </a:custGeom>
          <a:solidFill>
            <a:srgbClr val="585858"/>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85" name="object 92">
            <a:extLst>
              <a:ext uri="{FF2B5EF4-FFF2-40B4-BE49-F238E27FC236}">
                <a16:creationId xmlns:a16="http://schemas.microsoft.com/office/drawing/2014/main" id="{F8DA65BC-8A68-4D1D-AAAF-8EF98FC66416}"/>
              </a:ext>
            </a:extLst>
          </p:cNvPr>
          <p:cNvSpPr txBox="1"/>
          <p:nvPr/>
        </p:nvSpPr>
        <p:spPr>
          <a:xfrm>
            <a:off x="5951981" y="1673605"/>
            <a:ext cx="1012190" cy="152606"/>
          </a:xfrm>
          <a:prstGeom prst="rect">
            <a:avLst/>
          </a:prstGeom>
        </p:spPr>
        <p:txBody>
          <a:bodyPr vert="horz" wrap="square" lIns="0" tIns="13970" rIns="0" bIns="0" rtlCol="0">
            <a:spAutoFit/>
          </a:bodyPr>
          <a:lstStyle/>
          <a:p>
            <a:pPr marL="12700" eaLnBrk="1" fontAlgn="auto" hangingPunct="1">
              <a:spcBef>
                <a:spcPts val="110"/>
              </a:spcBef>
              <a:spcAft>
                <a:spcPts val="0"/>
              </a:spcAft>
            </a:pPr>
            <a:r>
              <a:rPr lang="en-US" sz="900" b="1" dirty="0">
                <a:solidFill>
                  <a:srgbClr val="FFFFFF"/>
                </a:solidFill>
                <a:latin typeface="+mj-lt"/>
                <a:ea typeface="+mn-ea"/>
                <a:cs typeface="Arial"/>
              </a:rPr>
              <a:t>Data</a:t>
            </a:r>
            <a:r>
              <a:rPr lang="en-US" sz="900" b="1" spc="-55" dirty="0">
                <a:solidFill>
                  <a:srgbClr val="FFFFFF"/>
                </a:solidFill>
                <a:latin typeface="+mj-lt"/>
                <a:ea typeface="+mn-ea"/>
                <a:cs typeface="Arial"/>
              </a:rPr>
              <a:t> </a:t>
            </a:r>
            <a:r>
              <a:rPr lang="en-US" sz="900" b="1" dirty="0">
                <a:solidFill>
                  <a:srgbClr val="FFFFFF"/>
                </a:solidFill>
                <a:latin typeface="+mj-lt"/>
                <a:ea typeface="+mn-ea"/>
                <a:cs typeface="Arial"/>
              </a:rPr>
              <a:t>Management</a:t>
            </a:r>
            <a:endParaRPr lang="en-US" sz="900" dirty="0">
              <a:solidFill>
                <a:prstClr val="black"/>
              </a:solidFill>
              <a:latin typeface="+mj-lt"/>
              <a:ea typeface="+mn-ea"/>
              <a:cs typeface="Arial"/>
            </a:endParaRPr>
          </a:p>
        </p:txBody>
      </p:sp>
      <p:sp>
        <p:nvSpPr>
          <p:cNvPr id="86" name="object 93">
            <a:extLst>
              <a:ext uri="{FF2B5EF4-FFF2-40B4-BE49-F238E27FC236}">
                <a16:creationId xmlns:a16="http://schemas.microsoft.com/office/drawing/2014/main" id="{19672CB7-699A-4AC6-B6A9-A26C20EFA497}"/>
              </a:ext>
            </a:extLst>
          </p:cNvPr>
          <p:cNvSpPr txBox="1"/>
          <p:nvPr/>
        </p:nvSpPr>
        <p:spPr>
          <a:xfrm>
            <a:off x="4259071" y="1961896"/>
            <a:ext cx="1042669" cy="265430"/>
          </a:xfrm>
          <a:prstGeom prst="rect">
            <a:avLst/>
          </a:prstGeom>
          <a:solidFill>
            <a:srgbClr val="FFFFFF"/>
          </a:solidFill>
          <a:ln w="18288">
            <a:solidFill>
              <a:srgbClr val="C1C1C1"/>
            </a:solidFill>
          </a:ln>
        </p:spPr>
        <p:txBody>
          <a:bodyPr vert="horz" wrap="square" lIns="0" tIns="0" rIns="0" bIns="0" rtlCol="0">
            <a:spAutoFit/>
          </a:bodyPr>
          <a:lstStyle/>
          <a:p>
            <a:pPr algn="ctr" eaLnBrk="1" fontAlgn="auto" hangingPunct="1">
              <a:lnSpc>
                <a:spcPts val="1025"/>
              </a:lnSpc>
              <a:spcBef>
                <a:spcPts val="0"/>
              </a:spcBef>
              <a:spcAft>
                <a:spcPts val="0"/>
              </a:spcAft>
            </a:pPr>
            <a:r>
              <a:rPr lang="en-US" sz="900" spc="-5" dirty="0">
                <a:solidFill>
                  <a:srgbClr val="636363"/>
                </a:solidFill>
                <a:latin typeface="+mj-lt"/>
                <a:ea typeface="+mn-ea"/>
                <a:cs typeface="Arial"/>
              </a:rPr>
              <a:t>Metadata</a:t>
            </a:r>
            <a:endParaRPr lang="en-US" sz="900" dirty="0">
              <a:solidFill>
                <a:prstClr val="black"/>
              </a:solidFill>
              <a:latin typeface="+mj-lt"/>
              <a:ea typeface="+mn-ea"/>
              <a:cs typeface="Arial"/>
            </a:endParaRPr>
          </a:p>
          <a:p>
            <a:pPr algn="ctr" eaLnBrk="1" fontAlgn="auto" hangingPunct="1">
              <a:lnSpc>
                <a:spcPts val="1065"/>
              </a:lnSpc>
              <a:spcBef>
                <a:spcPts val="0"/>
              </a:spcBef>
              <a:spcAft>
                <a:spcPts val="0"/>
              </a:spcAft>
            </a:pPr>
            <a:r>
              <a:rPr lang="en-US" sz="900" spc="-5" dirty="0">
                <a:solidFill>
                  <a:srgbClr val="636363"/>
                </a:solidFill>
                <a:latin typeface="+mj-lt"/>
                <a:ea typeface="+mn-ea"/>
                <a:cs typeface="Arial"/>
              </a:rPr>
              <a:t>Management</a:t>
            </a:r>
            <a:endParaRPr lang="en-US" sz="900" dirty="0">
              <a:solidFill>
                <a:prstClr val="black"/>
              </a:solidFill>
              <a:latin typeface="+mj-lt"/>
              <a:ea typeface="+mn-ea"/>
              <a:cs typeface="Arial"/>
            </a:endParaRPr>
          </a:p>
        </p:txBody>
      </p:sp>
      <p:sp>
        <p:nvSpPr>
          <p:cNvPr id="87" name="object 94">
            <a:extLst>
              <a:ext uri="{FF2B5EF4-FFF2-40B4-BE49-F238E27FC236}">
                <a16:creationId xmlns:a16="http://schemas.microsoft.com/office/drawing/2014/main" id="{03729BC3-23B2-4646-8700-012A94BE8B4E}"/>
              </a:ext>
            </a:extLst>
          </p:cNvPr>
          <p:cNvSpPr txBox="1"/>
          <p:nvPr/>
        </p:nvSpPr>
        <p:spPr>
          <a:xfrm>
            <a:off x="5359400" y="1961896"/>
            <a:ext cx="1042669" cy="279793"/>
          </a:xfrm>
          <a:prstGeom prst="rect">
            <a:avLst/>
          </a:prstGeom>
          <a:solidFill>
            <a:srgbClr val="FFFFFF"/>
          </a:solidFill>
          <a:ln w="18288">
            <a:solidFill>
              <a:srgbClr val="C1C1C1"/>
            </a:solidFill>
          </a:ln>
        </p:spPr>
        <p:txBody>
          <a:bodyPr vert="horz" wrap="square" lIns="0" tIns="61594" rIns="0" bIns="0" rtlCol="0">
            <a:noAutofit/>
          </a:bodyPr>
          <a:lstStyle/>
          <a:p>
            <a:pPr marL="203200" eaLnBrk="1" fontAlgn="auto" hangingPunct="1">
              <a:spcBef>
                <a:spcPts val="484"/>
              </a:spcBef>
              <a:spcAft>
                <a:spcPts val="0"/>
              </a:spcAft>
            </a:pPr>
            <a:r>
              <a:rPr lang="en-US" sz="900" dirty="0">
                <a:solidFill>
                  <a:srgbClr val="636363"/>
                </a:solidFill>
                <a:latin typeface="+mj-lt"/>
                <a:ea typeface="+mn-ea"/>
                <a:cs typeface="Arial"/>
              </a:rPr>
              <a:t>Data</a:t>
            </a:r>
            <a:r>
              <a:rPr lang="en-US" sz="900" spc="-25" dirty="0">
                <a:solidFill>
                  <a:srgbClr val="636363"/>
                </a:solidFill>
                <a:latin typeface="+mj-lt"/>
                <a:ea typeface="+mn-ea"/>
                <a:cs typeface="Arial"/>
              </a:rPr>
              <a:t> </a:t>
            </a:r>
            <a:r>
              <a:rPr lang="en-US" sz="900" spc="5" dirty="0">
                <a:solidFill>
                  <a:srgbClr val="636363"/>
                </a:solidFill>
                <a:latin typeface="+mj-lt"/>
                <a:ea typeface="+mn-ea"/>
                <a:cs typeface="Arial"/>
              </a:rPr>
              <a:t>Quality</a:t>
            </a:r>
          </a:p>
        </p:txBody>
      </p:sp>
      <p:sp>
        <p:nvSpPr>
          <p:cNvPr id="88" name="object 95">
            <a:extLst>
              <a:ext uri="{FF2B5EF4-FFF2-40B4-BE49-F238E27FC236}">
                <a16:creationId xmlns:a16="http://schemas.microsoft.com/office/drawing/2014/main" id="{A9137446-C6A1-4E71-9D5F-235E790D31EF}"/>
              </a:ext>
            </a:extLst>
          </p:cNvPr>
          <p:cNvSpPr txBox="1"/>
          <p:nvPr/>
        </p:nvSpPr>
        <p:spPr>
          <a:xfrm>
            <a:off x="7563103" y="1961896"/>
            <a:ext cx="1042669" cy="339194"/>
          </a:xfrm>
          <a:prstGeom prst="rect">
            <a:avLst/>
          </a:prstGeom>
          <a:solidFill>
            <a:srgbClr val="FFFFFF"/>
          </a:solidFill>
          <a:ln w="18288">
            <a:solidFill>
              <a:srgbClr val="C1C1C1"/>
            </a:solidFill>
          </a:ln>
        </p:spPr>
        <p:txBody>
          <a:bodyPr vert="horz" wrap="square" lIns="0" tIns="61594" rIns="0" bIns="0" rtlCol="0">
            <a:spAutoFit/>
          </a:bodyPr>
          <a:lstStyle/>
          <a:p>
            <a:pPr marL="32384" algn="ctr" eaLnBrk="1" fontAlgn="auto" hangingPunct="1">
              <a:spcBef>
                <a:spcPts val="484"/>
              </a:spcBef>
              <a:spcAft>
                <a:spcPts val="0"/>
              </a:spcAft>
            </a:pPr>
            <a:r>
              <a:rPr lang="en-US" sz="900" dirty="0">
                <a:solidFill>
                  <a:srgbClr val="636363"/>
                </a:solidFill>
                <a:latin typeface="+mj-lt"/>
                <a:ea typeface="+mn-ea"/>
                <a:cs typeface="Arial"/>
              </a:rPr>
              <a:t>Control</a:t>
            </a:r>
            <a:r>
              <a:rPr lang="en-US" sz="900" spc="-65" dirty="0">
                <a:solidFill>
                  <a:srgbClr val="636363"/>
                </a:solidFill>
                <a:latin typeface="+mj-lt"/>
                <a:ea typeface="+mn-ea"/>
                <a:cs typeface="Arial"/>
              </a:rPr>
              <a:t> </a:t>
            </a:r>
            <a:r>
              <a:rPr lang="en-US" sz="900" dirty="0">
                <a:solidFill>
                  <a:srgbClr val="636363"/>
                </a:solidFill>
                <a:latin typeface="+mj-lt"/>
                <a:ea typeface="+mn-ea"/>
                <a:cs typeface="Arial"/>
              </a:rPr>
              <a:t>Framework</a:t>
            </a:r>
            <a:endParaRPr lang="en-US" sz="900" dirty="0">
              <a:solidFill>
                <a:prstClr val="black"/>
              </a:solidFill>
              <a:latin typeface="+mj-lt"/>
              <a:ea typeface="+mn-ea"/>
              <a:cs typeface="Arial"/>
            </a:endParaRPr>
          </a:p>
        </p:txBody>
      </p:sp>
      <p:sp>
        <p:nvSpPr>
          <p:cNvPr id="89" name="object 96">
            <a:extLst>
              <a:ext uri="{FF2B5EF4-FFF2-40B4-BE49-F238E27FC236}">
                <a16:creationId xmlns:a16="http://schemas.microsoft.com/office/drawing/2014/main" id="{C3067E76-44A4-476C-9DD7-5AAB717B304D}"/>
              </a:ext>
            </a:extLst>
          </p:cNvPr>
          <p:cNvSpPr txBox="1"/>
          <p:nvPr/>
        </p:nvSpPr>
        <p:spPr>
          <a:xfrm>
            <a:off x="8663431" y="1961896"/>
            <a:ext cx="1042669" cy="265430"/>
          </a:xfrm>
          <a:prstGeom prst="rect">
            <a:avLst/>
          </a:prstGeom>
          <a:solidFill>
            <a:srgbClr val="FFFFFF"/>
          </a:solidFill>
          <a:ln w="18288">
            <a:solidFill>
              <a:srgbClr val="C1C1C1"/>
            </a:solidFill>
          </a:ln>
        </p:spPr>
        <p:txBody>
          <a:bodyPr vert="horz" wrap="square" lIns="0" tIns="0" rIns="0" bIns="0" rtlCol="0">
            <a:spAutoFit/>
          </a:bodyPr>
          <a:lstStyle/>
          <a:p>
            <a:pPr marL="7620" algn="ctr" eaLnBrk="1" fontAlgn="auto" hangingPunct="1">
              <a:lnSpc>
                <a:spcPts val="1025"/>
              </a:lnSpc>
              <a:spcBef>
                <a:spcPts val="0"/>
              </a:spcBef>
              <a:spcAft>
                <a:spcPts val="0"/>
              </a:spcAft>
            </a:pPr>
            <a:r>
              <a:rPr lang="en-US" sz="900" spc="10" dirty="0">
                <a:solidFill>
                  <a:srgbClr val="636363"/>
                </a:solidFill>
                <a:latin typeface="+mj-lt"/>
                <a:ea typeface="+mn-ea"/>
                <a:cs typeface="Arial"/>
              </a:rPr>
              <a:t>Common</a:t>
            </a:r>
            <a:r>
              <a:rPr lang="en-US" sz="900" spc="-100" dirty="0">
                <a:solidFill>
                  <a:srgbClr val="636363"/>
                </a:solidFill>
                <a:latin typeface="+mj-lt"/>
                <a:ea typeface="+mn-ea"/>
                <a:cs typeface="Arial"/>
              </a:rPr>
              <a:t> </a:t>
            </a:r>
            <a:r>
              <a:rPr lang="en-US" sz="900" spc="-5" dirty="0">
                <a:solidFill>
                  <a:srgbClr val="636363"/>
                </a:solidFill>
                <a:latin typeface="+mj-lt"/>
                <a:ea typeface="+mn-ea"/>
                <a:cs typeface="Arial"/>
              </a:rPr>
              <a:t>Exception</a:t>
            </a:r>
            <a:endParaRPr lang="en-US" sz="900" dirty="0">
              <a:solidFill>
                <a:prstClr val="black"/>
              </a:solidFill>
              <a:latin typeface="+mj-lt"/>
              <a:ea typeface="+mn-ea"/>
              <a:cs typeface="Arial"/>
            </a:endParaRPr>
          </a:p>
          <a:p>
            <a:pPr marL="8255" algn="ctr" eaLnBrk="1" fontAlgn="auto" hangingPunct="1">
              <a:lnSpc>
                <a:spcPts val="1065"/>
              </a:lnSpc>
              <a:spcBef>
                <a:spcPts val="0"/>
              </a:spcBef>
              <a:spcAft>
                <a:spcPts val="0"/>
              </a:spcAft>
            </a:pPr>
            <a:r>
              <a:rPr lang="en-US" sz="900" dirty="0">
                <a:solidFill>
                  <a:srgbClr val="636363"/>
                </a:solidFill>
                <a:latin typeface="+mj-lt"/>
                <a:ea typeface="+mn-ea"/>
                <a:cs typeface="Arial"/>
              </a:rPr>
              <a:t>Handling</a:t>
            </a:r>
            <a:endParaRPr lang="en-US" sz="900" dirty="0">
              <a:solidFill>
                <a:prstClr val="black"/>
              </a:solidFill>
              <a:latin typeface="+mj-lt"/>
              <a:ea typeface="+mn-ea"/>
              <a:cs typeface="Arial"/>
            </a:endParaRPr>
          </a:p>
        </p:txBody>
      </p:sp>
      <p:sp>
        <p:nvSpPr>
          <p:cNvPr id="90" name="object 97">
            <a:extLst>
              <a:ext uri="{FF2B5EF4-FFF2-40B4-BE49-F238E27FC236}">
                <a16:creationId xmlns:a16="http://schemas.microsoft.com/office/drawing/2014/main" id="{573DFC59-7DC0-4595-A5AE-81409AD596C0}"/>
              </a:ext>
            </a:extLst>
          </p:cNvPr>
          <p:cNvSpPr txBox="1"/>
          <p:nvPr/>
        </p:nvSpPr>
        <p:spPr>
          <a:xfrm>
            <a:off x="6462775" y="1961896"/>
            <a:ext cx="1042669" cy="314070"/>
          </a:xfrm>
          <a:prstGeom prst="rect">
            <a:avLst/>
          </a:prstGeom>
          <a:solidFill>
            <a:srgbClr val="FFFFFF"/>
          </a:solidFill>
          <a:ln w="18288">
            <a:solidFill>
              <a:srgbClr val="C1C1C1"/>
            </a:solidFill>
          </a:ln>
        </p:spPr>
        <p:txBody>
          <a:bodyPr vert="horz" wrap="square" lIns="0" tIns="61594" rIns="0" bIns="0" rtlCol="0">
            <a:noAutofit/>
          </a:bodyPr>
          <a:lstStyle/>
          <a:p>
            <a:pPr marL="55244" eaLnBrk="1" fontAlgn="auto" hangingPunct="1">
              <a:spcBef>
                <a:spcPts val="484"/>
              </a:spcBef>
              <a:spcAft>
                <a:spcPts val="0"/>
              </a:spcAft>
            </a:pPr>
            <a:r>
              <a:rPr lang="en-US" sz="900" dirty="0">
                <a:solidFill>
                  <a:srgbClr val="636363"/>
                </a:solidFill>
                <a:latin typeface="+mj-lt"/>
                <a:ea typeface="+mn-ea"/>
                <a:cs typeface="Arial"/>
              </a:rPr>
              <a:t>Audit and</a:t>
            </a:r>
            <a:r>
              <a:rPr lang="en-US" sz="900" spc="-65" dirty="0">
                <a:solidFill>
                  <a:srgbClr val="636363"/>
                </a:solidFill>
                <a:latin typeface="+mj-lt"/>
                <a:ea typeface="+mn-ea"/>
                <a:cs typeface="Arial"/>
              </a:rPr>
              <a:t> </a:t>
            </a:r>
            <a:r>
              <a:rPr lang="en-US" sz="900" dirty="0">
                <a:solidFill>
                  <a:srgbClr val="636363"/>
                </a:solidFill>
                <a:latin typeface="+mj-lt"/>
                <a:ea typeface="+mn-ea"/>
                <a:cs typeface="Arial"/>
              </a:rPr>
              <a:t>Balance</a:t>
            </a:r>
            <a:endParaRPr lang="en-US" sz="900" dirty="0">
              <a:solidFill>
                <a:prstClr val="black"/>
              </a:solidFill>
              <a:latin typeface="+mj-lt"/>
              <a:ea typeface="+mn-ea"/>
              <a:cs typeface="Arial"/>
            </a:endParaRPr>
          </a:p>
        </p:txBody>
      </p:sp>
      <p:sp>
        <p:nvSpPr>
          <p:cNvPr id="91" name="object 98">
            <a:extLst>
              <a:ext uri="{FF2B5EF4-FFF2-40B4-BE49-F238E27FC236}">
                <a16:creationId xmlns:a16="http://schemas.microsoft.com/office/drawing/2014/main" id="{D2499AA7-1B8A-4A8B-B05B-499076F561B2}"/>
              </a:ext>
            </a:extLst>
          </p:cNvPr>
          <p:cNvSpPr txBox="1"/>
          <p:nvPr/>
        </p:nvSpPr>
        <p:spPr>
          <a:xfrm>
            <a:off x="3155695" y="1961896"/>
            <a:ext cx="1042669" cy="256480"/>
          </a:xfrm>
          <a:prstGeom prst="rect">
            <a:avLst/>
          </a:prstGeom>
          <a:solidFill>
            <a:srgbClr val="FFFFFF"/>
          </a:solidFill>
          <a:ln w="18288">
            <a:solidFill>
              <a:srgbClr val="C1C1C1"/>
            </a:solidFill>
          </a:ln>
        </p:spPr>
        <p:txBody>
          <a:bodyPr vert="horz" wrap="square" lIns="0" tIns="0" rIns="0" bIns="0" rtlCol="0">
            <a:spAutoFit/>
          </a:bodyPr>
          <a:lstStyle/>
          <a:p>
            <a:pPr marL="135890" algn="ctr" eaLnBrk="1" fontAlgn="auto" hangingPunct="1">
              <a:lnSpc>
                <a:spcPts val="1025"/>
              </a:lnSpc>
              <a:spcBef>
                <a:spcPts val="0"/>
              </a:spcBef>
              <a:spcAft>
                <a:spcPts val="0"/>
              </a:spcAft>
            </a:pPr>
            <a:r>
              <a:rPr lang="en-GB" sz="900" spc="-5" dirty="0">
                <a:solidFill>
                  <a:srgbClr val="636363"/>
                </a:solidFill>
                <a:latin typeface="+mj-lt"/>
                <a:ea typeface="+mn-ea"/>
                <a:cs typeface="Arial"/>
              </a:rPr>
              <a:t>Data </a:t>
            </a:r>
          </a:p>
          <a:p>
            <a:pPr marL="135890" algn="ctr" eaLnBrk="1" fontAlgn="auto" hangingPunct="1">
              <a:lnSpc>
                <a:spcPts val="1025"/>
              </a:lnSpc>
              <a:spcBef>
                <a:spcPts val="0"/>
              </a:spcBef>
              <a:spcAft>
                <a:spcPts val="0"/>
              </a:spcAft>
            </a:pPr>
            <a:r>
              <a:rPr lang="en-GB" sz="900" spc="-5" dirty="0">
                <a:solidFill>
                  <a:srgbClr val="636363"/>
                </a:solidFill>
                <a:latin typeface="+mj-lt"/>
                <a:ea typeface="+mn-ea"/>
                <a:cs typeface="Arial"/>
              </a:rPr>
              <a:t>Security</a:t>
            </a:r>
            <a:endParaRPr lang="en-GB" sz="900" dirty="0">
              <a:solidFill>
                <a:prstClr val="black"/>
              </a:solidFill>
              <a:latin typeface="+mj-lt"/>
              <a:ea typeface="+mn-ea"/>
              <a:cs typeface="Arial"/>
            </a:endParaRPr>
          </a:p>
        </p:txBody>
      </p:sp>
      <p:sp>
        <p:nvSpPr>
          <p:cNvPr id="92" name="object 99">
            <a:extLst>
              <a:ext uri="{FF2B5EF4-FFF2-40B4-BE49-F238E27FC236}">
                <a16:creationId xmlns:a16="http://schemas.microsoft.com/office/drawing/2014/main" id="{087FB162-4C9F-4504-9FE0-812666D8D831}"/>
              </a:ext>
            </a:extLst>
          </p:cNvPr>
          <p:cNvSpPr txBox="1"/>
          <p:nvPr/>
        </p:nvSpPr>
        <p:spPr>
          <a:xfrm>
            <a:off x="9766807" y="1961895"/>
            <a:ext cx="1055370" cy="279792"/>
          </a:xfrm>
          <a:prstGeom prst="rect">
            <a:avLst/>
          </a:prstGeom>
          <a:solidFill>
            <a:srgbClr val="FFFFFF"/>
          </a:solidFill>
          <a:ln w="18288">
            <a:solidFill>
              <a:srgbClr val="C1C1C1"/>
            </a:solidFill>
          </a:ln>
        </p:spPr>
        <p:txBody>
          <a:bodyPr vert="horz" wrap="square" lIns="0" tIns="61594" rIns="0" bIns="0" rtlCol="0">
            <a:noAutofit/>
          </a:bodyPr>
          <a:lstStyle/>
          <a:p>
            <a:pPr marL="1905" algn="ctr" eaLnBrk="1" fontAlgn="auto" hangingPunct="1">
              <a:spcBef>
                <a:spcPts val="484"/>
              </a:spcBef>
              <a:spcAft>
                <a:spcPts val="0"/>
              </a:spcAft>
            </a:pPr>
            <a:r>
              <a:rPr lang="en-GB" sz="900" dirty="0">
                <a:solidFill>
                  <a:srgbClr val="636363"/>
                </a:solidFill>
                <a:latin typeface="+mj-lt"/>
                <a:ea typeface="+mn-ea"/>
                <a:cs typeface="Arial"/>
              </a:rPr>
              <a:t>GDPR &amp; </a:t>
            </a:r>
            <a:r>
              <a:rPr lang="en-GB" sz="900" spc="-100" dirty="0">
                <a:solidFill>
                  <a:srgbClr val="636363"/>
                </a:solidFill>
                <a:latin typeface="+mj-lt"/>
                <a:ea typeface="+mn-ea"/>
                <a:cs typeface="Arial"/>
              </a:rPr>
              <a:t> </a:t>
            </a:r>
            <a:r>
              <a:rPr lang="en-GB" sz="900" dirty="0">
                <a:solidFill>
                  <a:srgbClr val="636363"/>
                </a:solidFill>
                <a:latin typeface="+mj-lt"/>
                <a:ea typeface="+mn-ea"/>
                <a:cs typeface="Arial"/>
              </a:rPr>
              <a:t>Privacy</a:t>
            </a:r>
            <a:endParaRPr lang="en-GB" sz="900" dirty="0">
              <a:solidFill>
                <a:prstClr val="black"/>
              </a:solidFill>
              <a:latin typeface="+mj-lt"/>
              <a:ea typeface="+mn-ea"/>
              <a:cs typeface="Arial"/>
            </a:endParaRPr>
          </a:p>
        </p:txBody>
      </p:sp>
      <p:sp>
        <p:nvSpPr>
          <p:cNvPr id="93" name="object 100">
            <a:extLst>
              <a:ext uri="{FF2B5EF4-FFF2-40B4-BE49-F238E27FC236}">
                <a16:creationId xmlns:a16="http://schemas.microsoft.com/office/drawing/2014/main" id="{44F6C7D5-2A58-4293-99A9-56E2371BD2F6}"/>
              </a:ext>
            </a:extLst>
          </p:cNvPr>
          <p:cNvSpPr txBox="1"/>
          <p:nvPr/>
        </p:nvSpPr>
        <p:spPr>
          <a:xfrm>
            <a:off x="2055367" y="1961896"/>
            <a:ext cx="1042669" cy="256480"/>
          </a:xfrm>
          <a:prstGeom prst="rect">
            <a:avLst/>
          </a:prstGeom>
          <a:solidFill>
            <a:srgbClr val="FFFFFF"/>
          </a:solidFill>
          <a:ln w="18287">
            <a:solidFill>
              <a:srgbClr val="C1C1C1"/>
            </a:solidFill>
          </a:ln>
        </p:spPr>
        <p:txBody>
          <a:bodyPr vert="horz" wrap="square" lIns="0" tIns="0" rIns="0" bIns="0" rtlCol="0">
            <a:spAutoFit/>
          </a:bodyPr>
          <a:lstStyle/>
          <a:p>
            <a:pPr algn="ctr" eaLnBrk="1" fontAlgn="auto" hangingPunct="1">
              <a:lnSpc>
                <a:spcPts val="1025"/>
              </a:lnSpc>
              <a:spcBef>
                <a:spcPts val="0"/>
              </a:spcBef>
              <a:spcAft>
                <a:spcPts val="0"/>
              </a:spcAft>
            </a:pPr>
            <a:r>
              <a:rPr lang="en-GB" sz="900" dirty="0">
                <a:solidFill>
                  <a:srgbClr val="636363"/>
                </a:solidFill>
                <a:latin typeface="+mj-lt"/>
                <a:ea typeface="+mn-ea"/>
                <a:cs typeface="Arial"/>
              </a:rPr>
              <a:t>Governance </a:t>
            </a:r>
          </a:p>
          <a:p>
            <a:pPr algn="ctr" eaLnBrk="1" fontAlgn="auto" hangingPunct="1">
              <a:lnSpc>
                <a:spcPts val="1025"/>
              </a:lnSpc>
              <a:spcBef>
                <a:spcPts val="0"/>
              </a:spcBef>
              <a:spcAft>
                <a:spcPts val="0"/>
              </a:spcAft>
            </a:pPr>
            <a:r>
              <a:rPr lang="en-GB" sz="900" dirty="0">
                <a:solidFill>
                  <a:srgbClr val="636363"/>
                </a:solidFill>
                <a:latin typeface="+mj-lt"/>
                <a:ea typeface="+mn-ea"/>
                <a:cs typeface="Arial"/>
              </a:rPr>
              <a:t>Standards</a:t>
            </a:r>
            <a:endParaRPr lang="en-GB" sz="900" dirty="0">
              <a:solidFill>
                <a:prstClr val="black"/>
              </a:solidFill>
              <a:latin typeface="+mj-lt"/>
              <a:ea typeface="+mn-ea"/>
              <a:cs typeface="Arial"/>
            </a:endParaRPr>
          </a:p>
        </p:txBody>
      </p:sp>
      <p:sp>
        <p:nvSpPr>
          <p:cNvPr id="94" name="object 102">
            <a:extLst>
              <a:ext uri="{FF2B5EF4-FFF2-40B4-BE49-F238E27FC236}">
                <a16:creationId xmlns:a16="http://schemas.microsoft.com/office/drawing/2014/main" id="{722484FF-7D4D-43EF-8FB1-B794AB4228EA}"/>
              </a:ext>
            </a:extLst>
          </p:cNvPr>
          <p:cNvSpPr txBox="1"/>
          <p:nvPr/>
        </p:nvSpPr>
        <p:spPr>
          <a:xfrm>
            <a:off x="8401303" y="3243580"/>
            <a:ext cx="993775" cy="219932"/>
          </a:xfrm>
          <a:prstGeom prst="rect">
            <a:avLst/>
          </a:prstGeom>
          <a:solidFill>
            <a:srgbClr val="B3B3B3"/>
          </a:solidFill>
          <a:ln w="18288">
            <a:solidFill>
              <a:srgbClr val="808080"/>
            </a:solidFill>
          </a:ln>
        </p:spPr>
        <p:txBody>
          <a:bodyPr vert="horz" wrap="square" lIns="0" tIns="95885" rIns="0" bIns="0" rtlCol="0">
            <a:spAutoFit/>
          </a:bodyPr>
          <a:lstStyle/>
          <a:p>
            <a:pPr marL="233045" eaLnBrk="1" fontAlgn="auto" hangingPunct="1">
              <a:spcBef>
                <a:spcPts val="755"/>
              </a:spcBef>
              <a:spcAft>
                <a:spcPts val="0"/>
              </a:spcAft>
            </a:pPr>
            <a:r>
              <a:rPr lang="en-US" sz="800" spc="-15" dirty="0">
                <a:solidFill>
                  <a:srgbClr val="FFFFFF"/>
                </a:solidFill>
                <a:latin typeface="+mj-lt"/>
                <a:ea typeface="+mn-ea"/>
                <a:cs typeface="Arial"/>
              </a:rPr>
              <a:t>Self</a:t>
            </a:r>
            <a:r>
              <a:rPr lang="en-US" sz="800" spc="40" dirty="0">
                <a:solidFill>
                  <a:srgbClr val="FFFFFF"/>
                </a:solidFill>
                <a:latin typeface="+mj-lt"/>
                <a:ea typeface="+mn-ea"/>
                <a:cs typeface="Arial"/>
              </a:rPr>
              <a:t> </a:t>
            </a:r>
            <a:r>
              <a:rPr lang="en-US" sz="800" spc="-15" dirty="0">
                <a:solidFill>
                  <a:srgbClr val="FFFFFF"/>
                </a:solidFill>
                <a:latin typeface="+mj-lt"/>
                <a:ea typeface="+mn-ea"/>
                <a:cs typeface="Arial"/>
              </a:rPr>
              <a:t>Service</a:t>
            </a:r>
            <a:endParaRPr lang="en-US" sz="800" dirty="0">
              <a:solidFill>
                <a:prstClr val="black"/>
              </a:solidFill>
              <a:latin typeface="+mj-lt"/>
              <a:ea typeface="+mn-ea"/>
              <a:cs typeface="Arial"/>
            </a:endParaRPr>
          </a:p>
        </p:txBody>
      </p:sp>
      <p:sp>
        <p:nvSpPr>
          <p:cNvPr id="95" name="object 105">
            <a:extLst>
              <a:ext uri="{FF2B5EF4-FFF2-40B4-BE49-F238E27FC236}">
                <a16:creationId xmlns:a16="http://schemas.microsoft.com/office/drawing/2014/main" id="{01EAEE5E-214C-49D5-BCFF-7A9835997958}"/>
              </a:ext>
            </a:extLst>
          </p:cNvPr>
          <p:cNvSpPr/>
          <p:nvPr/>
        </p:nvSpPr>
        <p:spPr>
          <a:xfrm>
            <a:off x="3548887" y="3254247"/>
            <a:ext cx="3462654" cy="1579245"/>
          </a:xfrm>
          <a:custGeom>
            <a:avLst/>
            <a:gdLst/>
            <a:ahLst/>
            <a:cxnLst/>
            <a:rect l="l" t="t" r="r" b="b"/>
            <a:pathLst>
              <a:path w="3462654" h="1579245">
                <a:moveTo>
                  <a:pt x="0" y="1578863"/>
                </a:moveTo>
                <a:lnTo>
                  <a:pt x="3462528" y="1578863"/>
                </a:lnTo>
                <a:lnTo>
                  <a:pt x="3462528" y="0"/>
                </a:lnTo>
                <a:lnTo>
                  <a:pt x="0" y="0"/>
                </a:lnTo>
                <a:lnTo>
                  <a:pt x="0" y="1578863"/>
                </a:lnTo>
                <a:close/>
              </a:path>
            </a:pathLst>
          </a:custGeom>
          <a:solidFill>
            <a:srgbClr val="808080"/>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96" name="object 106">
            <a:extLst>
              <a:ext uri="{FF2B5EF4-FFF2-40B4-BE49-F238E27FC236}">
                <a16:creationId xmlns:a16="http://schemas.microsoft.com/office/drawing/2014/main" id="{BB30275D-EB3D-45FD-A7E2-56D99FF3256B}"/>
              </a:ext>
            </a:extLst>
          </p:cNvPr>
          <p:cNvSpPr/>
          <p:nvPr/>
        </p:nvSpPr>
        <p:spPr>
          <a:xfrm>
            <a:off x="3582415" y="3440176"/>
            <a:ext cx="3337560" cy="1310640"/>
          </a:xfrm>
          <a:custGeom>
            <a:avLst/>
            <a:gdLst/>
            <a:ahLst/>
            <a:cxnLst/>
            <a:rect l="l" t="t" r="r" b="b"/>
            <a:pathLst>
              <a:path w="3337559" h="1310639">
                <a:moveTo>
                  <a:pt x="0" y="1310639"/>
                </a:moveTo>
                <a:lnTo>
                  <a:pt x="3337559" y="1310639"/>
                </a:lnTo>
                <a:lnTo>
                  <a:pt x="3337559" y="0"/>
                </a:lnTo>
                <a:lnTo>
                  <a:pt x="0" y="0"/>
                </a:lnTo>
                <a:lnTo>
                  <a:pt x="0" y="1310639"/>
                </a:lnTo>
                <a:close/>
              </a:path>
            </a:pathLst>
          </a:custGeom>
          <a:solidFill>
            <a:srgbClr val="FFFFFF"/>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97" name="object 107">
            <a:extLst>
              <a:ext uri="{FF2B5EF4-FFF2-40B4-BE49-F238E27FC236}">
                <a16:creationId xmlns:a16="http://schemas.microsoft.com/office/drawing/2014/main" id="{2D4104DE-2556-4E97-AB03-A04D20445156}"/>
              </a:ext>
            </a:extLst>
          </p:cNvPr>
          <p:cNvSpPr/>
          <p:nvPr/>
        </p:nvSpPr>
        <p:spPr>
          <a:xfrm>
            <a:off x="3582415" y="3440176"/>
            <a:ext cx="3337560" cy="1310640"/>
          </a:xfrm>
          <a:custGeom>
            <a:avLst/>
            <a:gdLst/>
            <a:ahLst/>
            <a:cxnLst/>
            <a:rect l="l" t="t" r="r" b="b"/>
            <a:pathLst>
              <a:path w="3337559" h="1310639">
                <a:moveTo>
                  <a:pt x="0" y="1310639"/>
                </a:moveTo>
                <a:lnTo>
                  <a:pt x="3337559" y="1310639"/>
                </a:lnTo>
                <a:lnTo>
                  <a:pt x="3337559" y="0"/>
                </a:lnTo>
                <a:lnTo>
                  <a:pt x="0" y="0"/>
                </a:lnTo>
                <a:lnTo>
                  <a:pt x="0" y="1310639"/>
                </a:lnTo>
                <a:close/>
              </a:path>
            </a:pathLst>
          </a:custGeom>
          <a:ln w="18287">
            <a:solidFill>
              <a:srgbClr val="E6E6E6"/>
            </a:solidFill>
          </a:ln>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98" name="object 108">
            <a:extLst>
              <a:ext uri="{FF2B5EF4-FFF2-40B4-BE49-F238E27FC236}">
                <a16:creationId xmlns:a16="http://schemas.microsoft.com/office/drawing/2014/main" id="{CCA21064-C0FA-4652-BC62-EE57D0CE2086}"/>
              </a:ext>
            </a:extLst>
          </p:cNvPr>
          <p:cNvSpPr/>
          <p:nvPr/>
        </p:nvSpPr>
        <p:spPr>
          <a:xfrm>
            <a:off x="3551936" y="2982975"/>
            <a:ext cx="4569460" cy="210820"/>
          </a:xfrm>
          <a:custGeom>
            <a:avLst/>
            <a:gdLst/>
            <a:ahLst/>
            <a:cxnLst/>
            <a:rect l="l" t="t" r="r" b="b"/>
            <a:pathLst>
              <a:path w="4569459" h="210819">
                <a:moveTo>
                  <a:pt x="0" y="210312"/>
                </a:moveTo>
                <a:lnTo>
                  <a:pt x="4568952" y="210312"/>
                </a:lnTo>
                <a:lnTo>
                  <a:pt x="4568952" y="0"/>
                </a:lnTo>
                <a:lnTo>
                  <a:pt x="0" y="0"/>
                </a:lnTo>
                <a:lnTo>
                  <a:pt x="0" y="210312"/>
                </a:lnTo>
                <a:close/>
              </a:path>
            </a:pathLst>
          </a:custGeom>
          <a:solidFill>
            <a:srgbClr val="808080"/>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99" name="object 109">
            <a:extLst>
              <a:ext uri="{FF2B5EF4-FFF2-40B4-BE49-F238E27FC236}">
                <a16:creationId xmlns:a16="http://schemas.microsoft.com/office/drawing/2014/main" id="{F7681FCA-8A63-4B52-9BBC-345699106CA9}"/>
              </a:ext>
            </a:extLst>
          </p:cNvPr>
          <p:cNvSpPr txBox="1"/>
          <p:nvPr/>
        </p:nvSpPr>
        <p:spPr>
          <a:xfrm>
            <a:off x="4932680" y="3002026"/>
            <a:ext cx="1826260" cy="429259"/>
          </a:xfrm>
          <a:prstGeom prst="rect">
            <a:avLst/>
          </a:prstGeom>
        </p:spPr>
        <p:txBody>
          <a:bodyPr vert="horz" wrap="square" lIns="0" tIns="13970" rIns="0" bIns="0" rtlCol="0">
            <a:spAutoFit/>
          </a:bodyPr>
          <a:lstStyle/>
          <a:p>
            <a:pPr marR="5080" algn="ctr" eaLnBrk="1" fontAlgn="auto" hangingPunct="1">
              <a:spcBef>
                <a:spcPts val="110"/>
              </a:spcBef>
              <a:spcAft>
                <a:spcPts val="0"/>
              </a:spcAft>
            </a:pPr>
            <a:r>
              <a:rPr lang="en-US" sz="900" b="1" dirty="0">
                <a:solidFill>
                  <a:srgbClr val="FFFFFF"/>
                </a:solidFill>
                <a:latin typeface="+mj-lt"/>
                <a:ea typeface="+mn-ea"/>
                <a:cs typeface="Arial"/>
              </a:rPr>
              <a:t>Data Transformation and</a:t>
            </a:r>
            <a:r>
              <a:rPr lang="en-US" sz="900" b="1" spc="-165" dirty="0">
                <a:solidFill>
                  <a:srgbClr val="FFFFFF"/>
                </a:solidFill>
                <a:latin typeface="+mj-lt"/>
                <a:ea typeface="+mn-ea"/>
                <a:cs typeface="Arial"/>
              </a:rPr>
              <a:t> </a:t>
            </a:r>
            <a:r>
              <a:rPr lang="en-US" sz="900" b="1" dirty="0">
                <a:solidFill>
                  <a:srgbClr val="FFFFFF"/>
                </a:solidFill>
                <a:latin typeface="+mj-lt"/>
                <a:ea typeface="+mn-ea"/>
                <a:cs typeface="Arial"/>
              </a:rPr>
              <a:t>Storage</a:t>
            </a:r>
            <a:endParaRPr lang="en-US" sz="900" dirty="0">
              <a:solidFill>
                <a:prstClr val="black"/>
              </a:solidFill>
              <a:latin typeface="+mj-lt"/>
              <a:ea typeface="+mn-ea"/>
              <a:cs typeface="Arial"/>
            </a:endParaRPr>
          </a:p>
          <a:p>
            <a:pPr eaLnBrk="1" fontAlgn="auto" hangingPunct="1">
              <a:spcBef>
                <a:spcPts val="25"/>
              </a:spcBef>
              <a:spcAft>
                <a:spcPts val="0"/>
              </a:spcAft>
            </a:pPr>
            <a:endParaRPr lang="en-US" sz="850" dirty="0">
              <a:solidFill>
                <a:prstClr val="black"/>
              </a:solidFill>
              <a:latin typeface="+mj-lt"/>
              <a:ea typeface="+mn-ea"/>
              <a:cs typeface="Times New Roman"/>
            </a:endParaRPr>
          </a:p>
          <a:p>
            <a:pPr marR="34925" algn="ctr" eaLnBrk="1" fontAlgn="auto" hangingPunct="1">
              <a:spcBef>
                <a:spcPts val="5"/>
              </a:spcBef>
              <a:spcAft>
                <a:spcPts val="0"/>
              </a:spcAft>
            </a:pPr>
            <a:r>
              <a:rPr lang="en-US" sz="900" b="1" dirty="0">
                <a:solidFill>
                  <a:srgbClr val="FFFFFF"/>
                </a:solidFill>
                <a:latin typeface="+mj-lt"/>
                <a:ea typeface="+mn-ea"/>
                <a:cs typeface="Arial"/>
              </a:rPr>
              <a:t>Data</a:t>
            </a:r>
            <a:r>
              <a:rPr lang="en-US" sz="900" b="1" spc="-45" dirty="0">
                <a:solidFill>
                  <a:srgbClr val="FFFFFF"/>
                </a:solidFill>
                <a:latin typeface="+mj-lt"/>
                <a:ea typeface="+mn-ea"/>
                <a:cs typeface="Arial"/>
              </a:rPr>
              <a:t> </a:t>
            </a:r>
            <a:r>
              <a:rPr lang="en-US" sz="900" b="1" dirty="0">
                <a:solidFill>
                  <a:srgbClr val="FFFFFF"/>
                </a:solidFill>
                <a:latin typeface="+mj-lt"/>
                <a:ea typeface="+mn-ea"/>
                <a:cs typeface="Arial"/>
              </a:rPr>
              <a:t>Lake</a:t>
            </a:r>
            <a:endParaRPr lang="en-US" sz="900" dirty="0">
              <a:solidFill>
                <a:prstClr val="black"/>
              </a:solidFill>
              <a:latin typeface="+mj-lt"/>
              <a:ea typeface="+mn-ea"/>
              <a:cs typeface="Arial"/>
            </a:endParaRPr>
          </a:p>
        </p:txBody>
      </p:sp>
      <p:sp>
        <p:nvSpPr>
          <p:cNvPr id="100" name="object 110">
            <a:extLst>
              <a:ext uri="{FF2B5EF4-FFF2-40B4-BE49-F238E27FC236}">
                <a16:creationId xmlns:a16="http://schemas.microsoft.com/office/drawing/2014/main" id="{83F40BB9-3368-4D06-8300-EA3DD6481C74}"/>
              </a:ext>
            </a:extLst>
          </p:cNvPr>
          <p:cNvSpPr/>
          <p:nvPr/>
        </p:nvSpPr>
        <p:spPr>
          <a:xfrm>
            <a:off x="7066279" y="3479800"/>
            <a:ext cx="1054735" cy="1353820"/>
          </a:xfrm>
          <a:custGeom>
            <a:avLst/>
            <a:gdLst/>
            <a:ahLst/>
            <a:cxnLst/>
            <a:rect l="l" t="t" r="r" b="b"/>
            <a:pathLst>
              <a:path w="1054734" h="1353820">
                <a:moveTo>
                  <a:pt x="0" y="1353311"/>
                </a:moveTo>
                <a:lnTo>
                  <a:pt x="1054607" y="1353311"/>
                </a:lnTo>
                <a:lnTo>
                  <a:pt x="1054607" y="0"/>
                </a:lnTo>
                <a:lnTo>
                  <a:pt x="0" y="0"/>
                </a:lnTo>
                <a:lnTo>
                  <a:pt x="0" y="1353311"/>
                </a:lnTo>
                <a:close/>
              </a:path>
            </a:pathLst>
          </a:custGeom>
          <a:solidFill>
            <a:srgbClr val="808080"/>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101" name="object 111">
            <a:extLst>
              <a:ext uri="{FF2B5EF4-FFF2-40B4-BE49-F238E27FC236}">
                <a16:creationId xmlns:a16="http://schemas.microsoft.com/office/drawing/2014/main" id="{FAA16BA7-AA1E-4A91-97E1-9CB8BC61A6B9}"/>
              </a:ext>
            </a:extLst>
          </p:cNvPr>
          <p:cNvSpPr txBox="1"/>
          <p:nvPr/>
        </p:nvSpPr>
        <p:spPr>
          <a:xfrm>
            <a:off x="7155941" y="3461588"/>
            <a:ext cx="897255" cy="153247"/>
          </a:xfrm>
          <a:prstGeom prst="rect">
            <a:avLst/>
          </a:prstGeom>
        </p:spPr>
        <p:txBody>
          <a:bodyPr vert="horz" wrap="square" lIns="0" tIns="14605" rIns="0" bIns="0" rtlCol="0">
            <a:spAutoFit/>
          </a:bodyPr>
          <a:lstStyle/>
          <a:p>
            <a:pPr eaLnBrk="1" fontAlgn="auto" hangingPunct="1">
              <a:spcBef>
                <a:spcPts val="115"/>
              </a:spcBef>
              <a:spcAft>
                <a:spcPts val="0"/>
              </a:spcAft>
            </a:pPr>
            <a:r>
              <a:rPr lang="en-US" sz="900" b="1" dirty="0">
                <a:solidFill>
                  <a:srgbClr val="FFFFFF"/>
                </a:solidFill>
                <a:latin typeface="+mj-lt"/>
                <a:ea typeface="+mn-ea"/>
                <a:cs typeface="Arial"/>
              </a:rPr>
              <a:t>Data</a:t>
            </a:r>
            <a:r>
              <a:rPr lang="en-US" sz="900" b="1" spc="-50" dirty="0">
                <a:solidFill>
                  <a:srgbClr val="FFFFFF"/>
                </a:solidFill>
                <a:latin typeface="+mj-lt"/>
                <a:ea typeface="+mn-ea"/>
                <a:cs typeface="Arial"/>
              </a:rPr>
              <a:t> </a:t>
            </a:r>
            <a:r>
              <a:rPr lang="en-US" sz="900" b="1" dirty="0">
                <a:solidFill>
                  <a:srgbClr val="FFFFFF"/>
                </a:solidFill>
                <a:latin typeface="+mj-lt"/>
                <a:ea typeface="+mn-ea"/>
                <a:cs typeface="Arial"/>
              </a:rPr>
              <a:t>Repository</a:t>
            </a:r>
            <a:endParaRPr lang="en-US" sz="900" dirty="0">
              <a:solidFill>
                <a:prstClr val="black"/>
              </a:solidFill>
              <a:latin typeface="+mj-lt"/>
              <a:ea typeface="+mn-ea"/>
              <a:cs typeface="Arial"/>
            </a:endParaRPr>
          </a:p>
        </p:txBody>
      </p:sp>
      <p:sp>
        <p:nvSpPr>
          <p:cNvPr id="102" name="object 112">
            <a:extLst>
              <a:ext uri="{FF2B5EF4-FFF2-40B4-BE49-F238E27FC236}">
                <a16:creationId xmlns:a16="http://schemas.microsoft.com/office/drawing/2014/main" id="{BAEC58A7-91D1-4ADB-A488-171701701047}"/>
              </a:ext>
            </a:extLst>
          </p:cNvPr>
          <p:cNvSpPr txBox="1"/>
          <p:nvPr/>
        </p:nvSpPr>
        <p:spPr>
          <a:xfrm>
            <a:off x="3637280" y="3586480"/>
            <a:ext cx="720000" cy="379591"/>
          </a:xfrm>
          <a:prstGeom prst="rect">
            <a:avLst/>
          </a:prstGeom>
          <a:solidFill>
            <a:srgbClr val="FFE600"/>
          </a:solidFill>
          <a:ln w="18288">
            <a:solidFill>
              <a:srgbClr val="808080"/>
            </a:solidFill>
          </a:ln>
        </p:spPr>
        <p:txBody>
          <a:bodyPr vert="horz" wrap="square" lIns="0" tIns="0" rIns="0" bIns="0" rtlCol="0">
            <a:spAutoFit/>
          </a:bodyPr>
          <a:lstStyle/>
          <a:p>
            <a:pPr marL="104775" eaLnBrk="1" fontAlgn="auto" hangingPunct="1">
              <a:spcBef>
                <a:spcPts val="800"/>
              </a:spcBef>
              <a:spcAft>
                <a:spcPts val="0"/>
              </a:spcAft>
            </a:pPr>
            <a:r>
              <a:rPr lang="en-GB" sz="900" dirty="0">
                <a:solidFill>
                  <a:srgbClr val="808080"/>
                </a:solidFill>
                <a:latin typeface="+mj-lt"/>
                <a:ea typeface="+mn-ea"/>
                <a:cs typeface="Arial"/>
              </a:rPr>
              <a:t>Raw</a:t>
            </a:r>
            <a:r>
              <a:rPr lang="en-GB" sz="900" spc="-45" dirty="0">
                <a:solidFill>
                  <a:srgbClr val="808080"/>
                </a:solidFill>
                <a:latin typeface="+mj-lt"/>
                <a:ea typeface="+mn-ea"/>
                <a:cs typeface="Arial"/>
              </a:rPr>
              <a:t> </a:t>
            </a:r>
            <a:r>
              <a:rPr lang="en-GB" sz="900" spc="-5" dirty="0">
                <a:solidFill>
                  <a:srgbClr val="808080"/>
                </a:solidFill>
                <a:latin typeface="+mj-lt"/>
                <a:ea typeface="+mn-ea"/>
                <a:cs typeface="Arial"/>
              </a:rPr>
              <a:t>Layer</a:t>
            </a:r>
          </a:p>
          <a:p>
            <a:pPr marL="104775" eaLnBrk="1" fontAlgn="auto" hangingPunct="1">
              <a:spcBef>
                <a:spcPts val="800"/>
              </a:spcBef>
              <a:spcAft>
                <a:spcPts val="0"/>
              </a:spcAft>
            </a:pPr>
            <a:endParaRPr lang="en-GB" sz="900" dirty="0">
              <a:solidFill>
                <a:prstClr val="black"/>
              </a:solidFill>
              <a:latin typeface="+mj-lt"/>
              <a:ea typeface="+mn-ea"/>
              <a:cs typeface="Arial"/>
            </a:endParaRPr>
          </a:p>
        </p:txBody>
      </p:sp>
      <p:sp>
        <p:nvSpPr>
          <p:cNvPr id="103" name="object 113">
            <a:extLst>
              <a:ext uri="{FF2B5EF4-FFF2-40B4-BE49-F238E27FC236}">
                <a16:creationId xmlns:a16="http://schemas.microsoft.com/office/drawing/2014/main" id="{262689BF-702D-4DA6-81AB-4C77CBAC658F}"/>
              </a:ext>
            </a:extLst>
          </p:cNvPr>
          <p:cNvSpPr txBox="1"/>
          <p:nvPr/>
        </p:nvSpPr>
        <p:spPr>
          <a:xfrm>
            <a:off x="4457192" y="3586480"/>
            <a:ext cx="720000" cy="3462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US" sz="900" dirty="0">
                <a:solidFill>
                  <a:srgbClr val="808080"/>
                </a:solidFill>
                <a:latin typeface="+mj-lt"/>
                <a:ea typeface="+mn-ea"/>
                <a:cs typeface="Arial"/>
              </a:rPr>
              <a:t>Harmonized</a:t>
            </a:r>
            <a:endParaRPr lang="en-US" sz="900" dirty="0">
              <a:solidFill>
                <a:prstClr val="black"/>
              </a:solidFill>
              <a:latin typeface="+mj-lt"/>
              <a:ea typeface="+mn-ea"/>
              <a:cs typeface="Arial"/>
            </a:endParaRPr>
          </a:p>
          <a:p>
            <a:pPr marL="1270" algn="ctr" eaLnBrk="1" fontAlgn="auto" hangingPunct="1">
              <a:spcBef>
                <a:spcPts val="0"/>
              </a:spcBef>
              <a:spcAft>
                <a:spcPts val="0"/>
              </a:spcAft>
            </a:pPr>
            <a:r>
              <a:rPr lang="en-US" sz="900" spc="-5" dirty="0">
                <a:solidFill>
                  <a:srgbClr val="808080"/>
                </a:solidFill>
                <a:latin typeface="+mj-lt"/>
                <a:ea typeface="+mn-ea"/>
                <a:cs typeface="Arial"/>
              </a:rPr>
              <a:t>Layer</a:t>
            </a:r>
            <a:endParaRPr lang="en-US" sz="900" dirty="0">
              <a:solidFill>
                <a:prstClr val="black"/>
              </a:solidFill>
              <a:latin typeface="+mj-lt"/>
              <a:ea typeface="+mn-ea"/>
              <a:cs typeface="Arial"/>
            </a:endParaRPr>
          </a:p>
        </p:txBody>
      </p:sp>
      <p:sp>
        <p:nvSpPr>
          <p:cNvPr id="104" name="object 114">
            <a:extLst>
              <a:ext uri="{FF2B5EF4-FFF2-40B4-BE49-F238E27FC236}">
                <a16:creationId xmlns:a16="http://schemas.microsoft.com/office/drawing/2014/main" id="{20A6230C-5777-4D5B-AA1B-43767C102C48}"/>
              </a:ext>
            </a:extLst>
          </p:cNvPr>
          <p:cNvSpPr txBox="1"/>
          <p:nvPr/>
        </p:nvSpPr>
        <p:spPr>
          <a:xfrm>
            <a:off x="5280151" y="3586480"/>
            <a:ext cx="720000" cy="346249"/>
          </a:xfrm>
          <a:prstGeom prst="rect">
            <a:avLst/>
          </a:prstGeom>
          <a:solidFill>
            <a:srgbClr val="FFE600"/>
          </a:solidFill>
          <a:ln w="18288">
            <a:solidFill>
              <a:srgbClr val="808080"/>
            </a:solidFill>
          </a:ln>
        </p:spPr>
        <p:txBody>
          <a:bodyPr vert="horz" wrap="square" lIns="0" tIns="68580" rIns="0" bIns="0" rtlCol="0">
            <a:spAutoFit/>
          </a:bodyPr>
          <a:lstStyle/>
          <a:p>
            <a:pPr marL="1905" algn="ctr" eaLnBrk="1" fontAlgn="auto" hangingPunct="1">
              <a:spcBef>
                <a:spcPts val="540"/>
              </a:spcBef>
              <a:spcAft>
                <a:spcPts val="0"/>
              </a:spcAft>
            </a:pPr>
            <a:r>
              <a:rPr lang="en-US" sz="900" spc="5" dirty="0">
                <a:solidFill>
                  <a:srgbClr val="808080"/>
                </a:solidFill>
                <a:latin typeface="+mj-lt"/>
                <a:ea typeface="+mn-ea"/>
                <a:cs typeface="Arial"/>
              </a:rPr>
              <a:t>Conformed</a:t>
            </a:r>
            <a:endParaRPr lang="en-US" sz="900" dirty="0">
              <a:solidFill>
                <a:prstClr val="black"/>
              </a:solidFill>
              <a:latin typeface="+mj-lt"/>
              <a:ea typeface="+mn-ea"/>
              <a:cs typeface="Arial"/>
            </a:endParaRPr>
          </a:p>
          <a:p>
            <a:pPr marL="635" algn="ctr" eaLnBrk="1" fontAlgn="auto" hangingPunct="1">
              <a:spcBef>
                <a:spcPts val="0"/>
              </a:spcBef>
              <a:spcAft>
                <a:spcPts val="0"/>
              </a:spcAft>
            </a:pPr>
            <a:r>
              <a:rPr lang="en-US" sz="900" spc="-5" dirty="0">
                <a:solidFill>
                  <a:srgbClr val="808080"/>
                </a:solidFill>
                <a:latin typeface="+mj-lt"/>
                <a:ea typeface="+mn-ea"/>
                <a:cs typeface="Arial"/>
              </a:rPr>
              <a:t>Layer</a:t>
            </a:r>
            <a:endParaRPr lang="en-US" sz="900" dirty="0">
              <a:solidFill>
                <a:prstClr val="black"/>
              </a:solidFill>
              <a:latin typeface="+mj-lt"/>
              <a:ea typeface="+mn-ea"/>
              <a:cs typeface="Arial"/>
            </a:endParaRPr>
          </a:p>
        </p:txBody>
      </p:sp>
      <p:sp>
        <p:nvSpPr>
          <p:cNvPr id="105" name="object 115">
            <a:extLst>
              <a:ext uri="{FF2B5EF4-FFF2-40B4-BE49-F238E27FC236}">
                <a16:creationId xmlns:a16="http://schemas.microsoft.com/office/drawing/2014/main" id="{1B53CF61-B0EA-426C-97B7-5DDF8082FA3E}"/>
              </a:ext>
            </a:extLst>
          </p:cNvPr>
          <p:cNvSpPr txBox="1"/>
          <p:nvPr/>
        </p:nvSpPr>
        <p:spPr>
          <a:xfrm>
            <a:off x="6100063" y="3586478"/>
            <a:ext cx="720000" cy="346249"/>
          </a:xfrm>
          <a:prstGeom prst="rect">
            <a:avLst/>
          </a:prstGeom>
          <a:solidFill>
            <a:srgbClr val="FFE600"/>
          </a:solidFill>
          <a:ln w="18288">
            <a:solidFill>
              <a:srgbClr val="808080"/>
            </a:solidFill>
          </a:ln>
        </p:spPr>
        <p:txBody>
          <a:bodyPr vert="horz" wrap="square" lIns="0" tIns="68580" rIns="0" bIns="0" rtlCol="0">
            <a:spAutoFit/>
          </a:bodyPr>
          <a:lstStyle/>
          <a:p>
            <a:pPr algn="ctr" eaLnBrk="1" fontAlgn="auto" hangingPunct="1">
              <a:spcBef>
                <a:spcPts val="540"/>
              </a:spcBef>
              <a:spcAft>
                <a:spcPts val="0"/>
              </a:spcAft>
            </a:pPr>
            <a:r>
              <a:rPr lang="en-GB" sz="900" spc="5" dirty="0">
                <a:solidFill>
                  <a:srgbClr val="808080"/>
                </a:solidFill>
                <a:latin typeface="+mj-lt"/>
                <a:ea typeface="+mn-ea"/>
                <a:cs typeface="Arial"/>
              </a:rPr>
              <a:t>Provisioning</a:t>
            </a:r>
            <a:endParaRPr lang="en-GB" sz="900" dirty="0">
              <a:solidFill>
                <a:prstClr val="black"/>
              </a:solidFill>
              <a:latin typeface="+mj-lt"/>
              <a:ea typeface="+mn-ea"/>
              <a:cs typeface="Arial"/>
            </a:endParaRPr>
          </a:p>
          <a:p>
            <a:pPr algn="ctr" eaLnBrk="1" fontAlgn="auto" hangingPunct="1">
              <a:spcBef>
                <a:spcPts val="0"/>
              </a:spcBef>
              <a:spcAft>
                <a:spcPts val="0"/>
              </a:spcAft>
            </a:pPr>
            <a:r>
              <a:rPr lang="en-GB" sz="900" spc="-5" dirty="0">
                <a:solidFill>
                  <a:srgbClr val="808080"/>
                </a:solidFill>
                <a:latin typeface="+mj-lt"/>
                <a:ea typeface="+mn-ea"/>
                <a:cs typeface="Arial"/>
              </a:rPr>
              <a:t>Layer</a:t>
            </a:r>
            <a:endParaRPr lang="en-GB" sz="900" dirty="0">
              <a:solidFill>
                <a:prstClr val="black"/>
              </a:solidFill>
              <a:latin typeface="+mj-lt"/>
              <a:ea typeface="+mn-ea"/>
              <a:cs typeface="Arial"/>
            </a:endParaRPr>
          </a:p>
        </p:txBody>
      </p:sp>
      <p:sp>
        <p:nvSpPr>
          <p:cNvPr id="106" name="object 116">
            <a:extLst>
              <a:ext uri="{FF2B5EF4-FFF2-40B4-BE49-F238E27FC236}">
                <a16:creationId xmlns:a16="http://schemas.microsoft.com/office/drawing/2014/main" id="{29F23867-CACB-4C68-B31D-72ACFB18B128}"/>
              </a:ext>
            </a:extLst>
          </p:cNvPr>
          <p:cNvSpPr/>
          <p:nvPr/>
        </p:nvSpPr>
        <p:spPr>
          <a:xfrm>
            <a:off x="7133336" y="3732783"/>
            <a:ext cx="911860" cy="1018540"/>
          </a:xfrm>
          <a:custGeom>
            <a:avLst/>
            <a:gdLst/>
            <a:ahLst/>
            <a:cxnLst/>
            <a:rect l="l" t="t" r="r" b="b"/>
            <a:pathLst>
              <a:path w="911859" h="1018539">
                <a:moveTo>
                  <a:pt x="0" y="1018032"/>
                </a:moveTo>
                <a:lnTo>
                  <a:pt x="911351" y="1018032"/>
                </a:lnTo>
                <a:lnTo>
                  <a:pt x="911351" y="0"/>
                </a:lnTo>
                <a:lnTo>
                  <a:pt x="0" y="0"/>
                </a:lnTo>
                <a:lnTo>
                  <a:pt x="0" y="1018032"/>
                </a:lnTo>
                <a:close/>
              </a:path>
            </a:pathLst>
          </a:custGeom>
          <a:solidFill>
            <a:srgbClr val="FFFFFF"/>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107" name="object 117">
            <a:extLst>
              <a:ext uri="{FF2B5EF4-FFF2-40B4-BE49-F238E27FC236}">
                <a16:creationId xmlns:a16="http://schemas.microsoft.com/office/drawing/2014/main" id="{72362F3F-6E3A-4992-8AF2-B4C4D53EC28F}"/>
              </a:ext>
            </a:extLst>
          </p:cNvPr>
          <p:cNvSpPr/>
          <p:nvPr/>
        </p:nvSpPr>
        <p:spPr>
          <a:xfrm>
            <a:off x="3646424" y="4400295"/>
            <a:ext cx="3213100" cy="314325"/>
          </a:xfrm>
          <a:custGeom>
            <a:avLst/>
            <a:gdLst/>
            <a:ahLst/>
            <a:cxnLst/>
            <a:rect l="l" t="t" r="r" b="b"/>
            <a:pathLst>
              <a:path w="3213100" h="314325">
                <a:moveTo>
                  <a:pt x="0" y="313943"/>
                </a:moveTo>
                <a:lnTo>
                  <a:pt x="3212591" y="313943"/>
                </a:lnTo>
                <a:lnTo>
                  <a:pt x="3212591" y="0"/>
                </a:lnTo>
                <a:lnTo>
                  <a:pt x="0" y="0"/>
                </a:lnTo>
                <a:lnTo>
                  <a:pt x="0" y="313943"/>
                </a:lnTo>
                <a:close/>
              </a:path>
            </a:pathLst>
          </a:custGeom>
          <a:solidFill>
            <a:srgbClr val="C1C1C1"/>
          </a:solidFill>
        </p:spPr>
        <p:txBody>
          <a:bodyPr wrap="square" lIns="0" tIns="0" rIns="0" bIns="0" rtlCol="0"/>
          <a:lstStyle/>
          <a:p>
            <a:pPr eaLnBrk="1" fontAlgn="auto" hangingPunct="1">
              <a:spcBef>
                <a:spcPts val="0"/>
              </a:spcBef>
              <a:spcAft>
                <a:spcPts val="0"/>
              </a:spcAft>
            </a:pPr>
            <a:endParaRPr lang="en-US" dirty="0">
              <a:solidFill>
                <a:prstClr val="black"/>
              </a:solidFill>
              <a:latin typeface="+mj-lt"/>
              <a:ea typeface="+mn-ea"/>
              <a:cs typeface="+mn-cs"/>
            </a:endParaRPr>
          </a:p>
        </p:txBody>
      </p:sp>
      <p:sp>
        <p:nvSpPr>
          <p:cNvPr id="108" name="object 118">
            <a:extLst>
              <a:ext uri="{FF2B5EF4-FFF2-40B4-BE49-F238E27FC236}">
                <a16:creationId xmlns:a16="http://schemas.microsoft.com/office/drawing/2014/main" id="{DDD0D2A3-0086-4F9D-A77F-3C5B4ED2DFFF}"/>
              </a:ext>
            </a:extLst>
          </p:cNvPr>
          <p:cNvSpPr txBox="1"/>
          <p:nvPr/>
        </p:nvSpPr>
        <p:spPr>
          <a:xfrm>
            <a:off x="3646424" y="4400295"/>
            <a:ext cx="3213100" cy="293670"/>
          </a:xfrm>
          <a:prstGeom prst="rect">
            <a:avLst/>
          </a:prstGeom>
          <a:ln w="18288">
            <a:solidFill>
              <a:srgbClr val="808080"/>
            </a:solidFill>
          </a:ln>
        </p:spPr>
        <p:txBody>
          <a:bodyPr vert="horz" wrap="square" lIns="0" tIns="16510" rIns="0" bIns="0" rtlCol="0">
            <a:spAutoFit/>
          </a:bodyPr>
          <a:lstStyle/>
          <a:p>
            <a:pPr marL="1308735" marR="282575" indent="-1015365" eaLnBrk="1" fontAlgn="auto" hangingPunct="1">
              <a:spcBef>
                <a:spcPts val="130"/>
              </a:spcBef>
              <a:spcAft>
                <a:spcPts val="0"/>
              </a:spcAft>
            </a:pPr>
            <a:r>
              <a:rPr lang="fr-FR" sz="900" dirty="0" err="1">
                <a:solidFill>
                  <a:srgbClr val="FFFFFF"/>
                </a:solidFill>
                <a:latin typeface="+mj-lt"/>
                <a:ea typeface="+mn-ea"/>
                <a:cs typeface="Arial"/>
              </a:rPr>
              <a:t>Cataloging</a:t>
            </a:r>
            <a:r>
              <a:rPr lang="fr-FR" sz="900" spc="-65">
                <a:solidFill>
                  <a:srgbClr val="FFFFFF"/>
                </a:solidFill>
                <a:latin typeface="+mj-lt"/>
                <a:ea typeface="+mn-ea"/>
                <a:cs typeface="Arial"/>
              </a:rPr>
              <a:t> </a:t>
            </a:r>
            <a:r>
              <a:rPr lang="fr-FR" sz="900">
                <a:solidFill>
                  <a:srgbClr val="FFFFFF"/>
                </a:solidFill>
                <a:latin typeface="+mj-lt"/>
                <a:ea typeface="+mn-ea"/>
                <a:cs typeface="Arial"/>
              </a:rPr>
              <a:t>|</a:t>
            </a:r>
            <a:r>
              <a:rPr lang="fr-FR" sz="900" spc="-5">
                <a:solidFill>
                  <a:srgbClr val="FFFFFF"/>
                </a:solidFill>
                <a:latin typeface="+mj-lt"/>
                <a:ea typeface="+mn-ea"/>
                <a:cs typeface="Arial"/>
              </a:rPr>
              <a:t> </a:t>
            </a:r>
            <a:r>
              <a:rPr lang="fr-FR" sz="900" err="1">
                <a:solidFill>
                  <a:srgbClr val="FFFFFF"/>
                </a:solidFill>
                <a:latin typeface="+mj-lt"/>
                <a:ea typeface="+mn-ea"/>
                <a:cs typeface="Arial"/>
              </a:rPr>
              <a:t>Integration</a:t>
            </a:r>
            <a:r>
              <a:rPr lang="fr-FR" sz="900" spc="-80">
                <a:solidFill>
                  <a:srgbClr val="FFFFFF"/>
                </a:solidFill>
                <a:latin typeface="+mj-lt"/>
                <a:ea typeface="+mn-ea"/>
                <a:cs typeface="Arial"/>
              </a:rPr>
              <a:t> </a:t>
            </a:r>
            <a:r>
              <a:rPr lang="fr-FR" sz="900">
                <a:solidFill>
                  <a:srgbClr val="FFFFFF"/>
                </a:solidFill>
                <a:latin typeface="+mj-lt"/>
                <a:ea typeface="+mn-ea"/>
                <a:cs typeface="Arial"/>
              </a:rPr>
              <a:t>|</a:t>
            </a:r>
            <a:r>
              <a:rPr lang="fr-FR" sz="900" spc="20">
                <a:solidFill>
                  <a:srgbClr val="FFFFFF"/>
                </a:solidFill>
                <a:latin typeface="+mj-lt"/>
                <a:ea typeface="+mn-ea"/>
                <a:cs typeface="Arial"/>
              </a:rPr>
              <a:t> </a:t>
            </a:r>
            <a:r>
              <a:rPr lang="fr-FR" sz="900">
                <a:solidFill>
                  <a:srgbClr val="FFFFFF"/>
                </a:solidFill>
                <a:latin typeface="+mj-lt"/>
                <a:ea typeface="+mn-ea"/>
                <a:cs typeface="Arial"/>
              </a:rPr>
              <a:t>Transformation</a:t>
            </a:r>
            <a:r>
              <a:rPr lang="fr-FR" sz="900" spc="-85">
                <a:solidFill>
                  <a:srgbClr val="FFFFFF"/>
                </a:solidFill>
                <a:latin typeface="+mj-lt"/>
                <a:ea typeface="+mn-ea"/>
                <a:cs typeface="Arial"/>
              </a:rPr>
              <a:t> </a:t>
            </a:r>
            <a:r>
              <a:rPr lang="fr-FR" sz="900">
                <a:solidFill>
                  <a:srgbClr val="FFFFFF"/>
                </a:solidFill>
                <a:latin typeface="+mj-lt"/>
                <a:ea typeface="+mn-ea"/>
                <a:cs typeface="Arial"/>
              </a:rPr>
              <a:t>|</a:t>
            </a:r>
            <a:r>
              <a:rPr lang="fr-FR" sz="900" spc="20">
                <a:solidFill>
                  <a:srgbClr val="FFFFFF"/>
                </a:solidFill>
                <a:latin typeface="+mj-lt"/>
                <a:ea typeface="+mn-ea"/>
                <a:cs typeface="Arial"/>
              </a:rPr>
              <a:t> </a:t>
            </a:r>
            <a:r>
              <a:rPr lang="fr-FR" sz="900" spc="5">
                <a:solidFill>
                  <a:srgbClr val="FFFFFF"/>
                </a:solidFill>
                <a:latin typeface="+mj-lt"/>
                <a:ea typeface="+mn-ea"/>
                <a:cs typeface="Arial"/>
              </a:rPr>
              <a:t>Curation</a:t>
            </a:r>
            <a:r>
              <a:rPr lang="fr-FR" sz="900" spc="-60">
                <a:solidFill>
                  <a:srgbClr val="FFFFFF"/>
                </a:solidFill>
                <a:latin typeface="+mj-lt"/>
                <a:ea typeface="+mn-ea"/>
                <a:cs typeface="Arial"/>
              </a:rPr>
              <a:t> </a:t>
            </a:r>
            <a:r>
              <a:rPr lang="fr-FR" sz="900">
                <a:solidFill>
                  <a:srgbClr val="FFFFFF"/>
                </a:solidFill>
                <a:latin typeface="+mj-lt"/>
                <a:ea typeface="+mn-ea"/>
                <a:cs typeface="Arial"/>
              </a:rPr>
              <a:t>|  Preparation</a:t>
            </a:r>
            <a:endParaRPr lang="fr-FR" sz="900">
              <a:solidFill>
                <a:prstClr val="black"/>
              </a:solidFill>
              <a:latin typeface="+mj-lt"/>
              <a:ea typeface="+mn-ea"/>
              <a:cs typeface="Arial"/>
            </a:endParaRPr>
          </a:p>
        </p:txBody>
      </p:sp>
      <p:sp>
        <p:nvSpPr>
          <p:cNvPr id="109" name="object 119">
            <a:extLst>
              <a:ext uri="{FF2B5EF4-FFF2-40B4-BE49-F238E27FC236}">
                <a16:creationId xmlns:a16="http://schemas.microsoft.com/office/drawing/2014/main" id="{E0D4B9B6-5FB0-485C-B372-704AB6432E26}"/>
              </a:ext>
            </a:extLst>
          </p:cNvPr>
          <p:cNvSpPr/>
          <p:nvPr/>
        </p:nvSpPr>
        <p:spPr>
          <a:xfrm>
            <a:off x="7229348" y="3850132"/>
            <a:ext cx="725805" cy="277495"/>
          </a:xfrm>
          <a:custGeom>
            <a:avLst/>
            <a:gdLst/>
            <a:ahLst/>
            <a:cxnLst/>
            <a:rect l="l" t="t" r="r" b="b"/>
            <a:pathLst>
              <a:path w="725804" h="277495">
                <a:moveTo>
                  <a:pt x="0" y="0"/>
                </a:moveTo>
                <a:lnTo>
                  <a:pt x="0" y="237744"/>
                </a:lnTo>
                <a:lnTo>
                  <a:pt x="7370" y="245718"/>
                </a:lnTo>
                <a:lnTo>
                  <a:pt x="61956" y="259880"/>
                </a:lnTo>
                <a:lnTo>
                  <a:pt x="106251" y="265747"/>
                </a:lnTo>
                <a:lnTo>
                  <a:pt x="159934" y="270590"/>
                </a:lnTo>
                <a:lnTo>
                  <a:pt x="221545" y="274248"/>
                </a:lnTo>
                <a:lnTo>
                  <a:pt x="289624" y="276561"/>
                </a:lnTo>
                <a:lnTo>
                  <a:pt x="362711" y="277368"/>
                </a:lnTo>
                <a:lnTo>
                  <a:pt x="435799" y="276561"/>
                </a:lnTo>
                <a:lnTo>
                  <a:pt x="503878" y="274248"/>
                </a:lnTo>
                <a:lnTo>
                  <a:pt x="565489" y="270590"/>
                </a:lnTo>
                <a:lnTo>
                  <a:pt x="619172" y="265747"/>
                </a:lnTo>
                <a:lnTo>
                  <a:pt x="663467" y="259880"/>
                </a:lnTo>
                <a:lnTo>
                  <a:pt x="718053" y="245718"/>
                </a:lnTo>
                <a:lnTo>
                  <a:pt x="725423" y="237744"/>
                </a:lnTo>
                <a:lnTo>
                  <a:pt x="725423" y="39624"/>
                </a:lnTo>
                <a:lnTo>
                  <a:pt x="362711" y="39624"/>
                </a:lnTo>
                <a:lnTo>
                  <a:pt x="289624" y="38817"/>
                </a:lnTo>
                <a:lnTo>
                  <a:pt x="221545" y="36504"/>
                </a:lnTo>
                <a:lnTo>
                  <a:pt x="159934" y="32846"/>
                </a:lnTo>
                <a:lnTo>
                  <a:pt x="106251" y="28003"/>
                </a:lnTo>
                <a:lnTo>
                  <a:pt x="61956" y="22136"/>
                </a:lnTo>
                <a:lnTo>
                  <a:pt x="7370" y="7974"/>
                </a:lnTo>
                <a:lnTo>
                  <a:pt x="0" y="0"/>
                </a:lnTo>
                <a:close/>
              </a:path>
              <a:path w="725804" h="277495">
                <a:moveTo>
                  <a:pt x="725423" y="0"/>
                </a:moveTo>
                <a:lnTo>
                  <a:pt x="663467" y="22136"/>
                </a:lnTo>
                <a:lnTo>
                  <a:pt x="619172" y="28003"/>
                </a:lnTo>
                <a:lnTo>
                  <a:pt x="565489" y="32846"/>
                </a:lnTo>
                <a:lnTo>
                  <a:pt x="503878" y="36504"/>
                </a:lnTo>
                <a:lnTo>
                  <a:pt x="435799" y="38817"/>
                </a:lnTo>
                <a:lnTo>
                  <a:pt x="362711" y="39624"/>
                </a:lnTo>
                <a:lnTo>
                  <a:pt x="725423" y="39624"/>
                </a:lnTo>
                <a:lnTo>
                  <a:pt x="725423" y="0"/>
                </a:lnTo>
                <a:close/>
              </a:path>
            </a:pathLst>
          </a:custGeom>
          <a:solidFill>
            <a:srgbClr val="FFE600"/>
          </a:solid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0" name="object 120">
            <a:extLst>
              <a:ext uri="{FF2B5EF4-FFF2-40B4-BE49-F238E27FC236}">
                <a16:creationId xmlns:a16="http://schemas.microsoft.com/office/drawing/2014/main" id="{9CE81918-CDBB-4AEE-A1BD-9820AC844E55}"/>
              </a:ext>
            </a:extLst>
          </p:cNvPr>
          <p:cNvSpPr/>
          <p:nvPr/>
        </p:nvSpPr>
        <p:spPr>
          <a:xfrm>
            <a:off x="7229348" y="3810508"/>
            <a:ext cx="725805" cy="79375"/>
          </a:xfrm>
          <a:custGeom>
            <a:avLst/>
            <a:gdLst/>
            <a:ahLst/>
            <a:cxnLst/>
            <a:rect l="l" t="t" r="r" b="b"/>
            <a:pathLst>
              <a:path w="725804" h="79375">
                <a:moveTo>
                  <a:pt x="362711" y="0"/>
                </a:moveTo>
                <a:lnTo>
                  <a:pt x="289624" y="806"/>
                </a:lnTo>
                <a:lnTo>
                  <a:pt x="221545" y="3119"/>
                </a:lnTo>
                <a:lnTo>
                  <a:pt x="159934" y="6777"/>
                </a:lnTo>
                <a:lnTo>
                  <a:pt x="106251" y="11620"/>
                </a:lnTo>
                <a:lnTo>
                  <a:pt x="61956" y="17487"/>
                </a:lnTo>
                <a:lnTo>
                  <a:pt x="7370" y="31649"/>
                </a:lnTo>
                <a:lnTo>
                  <a:pt x="0" y="39624"/>
                </a:lnTo>
                <a:lnTo>
                  <a:pt x="7370" y="47598"/>
                </a:lnTo>
                <a:lnTo>
                  <a:pt x="61956" y="61760"/>
                </a:lnTo>
                <a:lnTo>
                  <a:pt x="106251" y="67627"/>
                </a:lnTo>
                <a:lnTo>
                  <a:pt x="159934" y="72470"/>
                </a:lnTo>
                <a:lnTo>
                  <a:pt x="221545" y="76128"/>
                </a:lnTo>
                <a:lnTo>
                  <a:pt x="289624" y="78441"/>
                </a:lnTo>
                <a:lnTo>
                  <a:pt x="362711" y="79248"/>
                </a:lnTo>
                <a:lnTo>
                  <a:pt x="435799" y="78441"/>
                </a:lnTo>
                <a:lnTo>
                  <a:pt x="503878" y="76128"/>
                </a:lnTo>
                <a:lnTo>
                  <a:pt x="565489" y="72470"/>
                </a:lnTo>
                <a:lnTo>
                  <a:pt x="619172" y="67627"/>
                </a:lnTo>
                <a:lnTo>
                  <a:pt x="663467" y="61760"/>
                </a:lnTo>
                <a:lnTo>
                  <a:pt x="718053" y="47598"/>
                </a:lnTo>
                <a:lnTo>
                  <a:pt x="725423" y="39624"/>
                </a:lnTo>
                <a:lnTo>
                  <a:pt x="718053" y="31649"/>
                </a:lnTo>
                <a:lnTo>
                  <a:pt x="663467" y="17487"/>
                </a:lnTo>
                <a:lnTo>
                  <a:pt x="619172" y="11620"/>
                </a:lnTo>
                <a:lnTo>
                  <a:pt x="565489" y="6777"/>
                </a:lnTo>
                <a:lnTo>
                  <a:pt x="503878" y="3119"/>
                </a:lnTo>
                <a:lnTo>
                  <a:pt x="435799" y="806"/>
                </a:lnTo>
                <a:lnTo>
                  <a:pt x="362711" y="0"/>
                </a:lnTo>
                <a:close/>
              </a:path>
            </a:pathLst>
          </a:custGeom>
          <a:solidFill>
            <a:srgbClr val="FFEF66"/>
          </a:solid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1" name="object 121">
            <a:extLst>
              <a:ext uri="{FF2B5EF4-FFF2-40B4-BE49-F238E27FC236}">
                <a16:creationId xmlns:a16="http://schemas.microsoft.com/office/drawing/2014/main" id="{BA50B5F8-5A5A-422D-B334-B2973DE8C007}"/>
              </a:ext>
            </a:extLst>
          </p:cNvPr>
          <p:cNvSpPr/>
          <p:nvPr/>
        </p:nvSpPr>
        <p:spPr>
          <a:xfrm>
            <a:off x="7229348" y="3810508"/>
            <a:ext cx="725805" cy="79375"/>
          </a:xfrm>
          <a:custGeom>
            <a:avLst/>
            <a:gdLst/>
            <a:ahLst/>
            <a:cxnLst/>
            <a:rect l="l" t="t" r="r" b="b"/>
            <a:pathLst>
              <a:path w="725804" h="79375">
                <a:moveTo>
                  <a:pt x="725423" y="39624"/>
                </a:moveTo>
                <a:lnTo>
                  <a:pt x="663467" y="61760"/>
                </a:lnTo>
                <a:lnTo>
                  <a:pt x="619172" y="67627"/>
                </a:lnTo>
                <a:lnTo>
                  <a:pt x="565489" y="72470"/>
                </a:lnTo>
                <a:lnTo>
                  <a:pt x="503878" y="76128"/>
                </a:lnTo>
                <a:lnTo>
                  <a:pt x="435799" y="78441"/>
                </a:lnTo>
                <a:lnTo>
                  <a:pt x="362711" y="79248"/>
                </a:lnTo>
                <a:lnTo>
                  <a:pt x="289624" y="78441"/>
                </a:lnTo>
                <a:lnTo>
                  <a:pt x="221545" y="76128"/>
                </a:lnTo>
                <a:lnTo>
                  <a:pt x="159934" y="72470"/>
                </a:lnTo>
                <a:lnTo>
                  <a:pt x="106251" y="67627"/>
                </a:lnTo>
                <a:lnTo>
                  <a:pt x="61956" y="61760"/>
                </a:lnTo>
                <a:lnTo>
                  <a:pt x="7370" y="47598"/>
                </a:lnTo>
                <a:lnTo>
                  <a:pt x="0" y="39624"/>
                </a:lnTo>
                <a:lnTo>
                  <a:pt x="7370" y="31649"/>
                </a:lnTo>
                <a:lnTo>
                  <a:pt x="61956" y="17487"/>
                </a:lnTo>
                <a:lnTo>
                  <a:pt x="106251" y="11620"/>
                </a:lnTo>
                <a:lnTo>
                  <a:pt x="159934" y="6777"/>
                </a:lnTo>
                <a:lnTo>
                  <a:pt x="221545" y="3119"/>
                </a:lnTo>
                <a:lnTo>
                  <a:pt x="289624" y="806"/>
                </a:lnTo>
                <a:lnTo>
                  <a:pt x="362711" y="0"/>
                </a:lnTo>
                <a:lnTo>
                  <a:pt x="435799" y="806"/>
                </a:lnTo>
                <a:lnTo>
                  <a:pt x="503878" y="3119"/>
                </a:lnTo>
                <a:lnTo>
                  <a:pt x="565489" y="6777"/>
                </a:lnTo>
                <a:lnTo>
                  <a:pt x="619172" y="11620"/>
                </a:lnTo>
                <a:lnTo>
                  <a:pt x="663467" y="17487"/>
                </a:lnTo>
                <a:lnTo>
                  <a:pt x="718053" y="31649"/>
                </a:lnTo>
                <a:lnTo>
                  <a:pt x="725423" y="39624"/>
                </a:lnTo>
                <a:close/>
              </a:path>
            </a:pathLst>
          </a:custGeom>
          <a:ln w="9143">
            <a:solidFill>
              <a:srgbClr val="808080"/>
            </a:solidFill>
          </a:ln>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2" name="object 122">
            <a:extLst>
              <a:ext uri="{FF2B5EF4-FFF2-40B4-BE49-F238E27FC236}">
                <a16:creationId xmlns:a16="http://schemas.microsoft.com/office/drawing/2014/main" id="{98953844-22EB-4093-BBD3-122841FFEB07}"/>
              </a:ext>
            </a:extLst>
          </p:cNvPr>
          <p:cNvSpPr/>
          <p:nvPr/>
        </p:nvSpPr>
        <p:spPr>
          <a:xfrm>
            <a:off x="7229348" y="3850132"/>
            <a:ext cx="725805" cy="277495"/>
          </a:xfrm>
          <a:custGeom>
            <a:avLst/>
            <a:gdLst/>
            <a:ahLst/>
            <a:cxnLst/>
            <a:rect l="l" t="t" r="r" b="b"/>
            <a:pathLst>
              <a:path w="725804" h="277495">
                <a:moveTo>
                  <a:pt x="725423" y="0"/>
                </a:moveTo>
                <a:lnTo>
                  <a:pt x="725423" y="237744"/>
                </a:lnTo>
                <a:lnTo>
                  <a:pt x="718053" y="245718"/>
                </a:lnTo>
                <a:lnTo>
                  <a:pt x="663467" y="259880"/>
                </a:lnTo>
                <a:lnTo>
                  <a:pt x="619172" y="265747"/>
                </a:lnTo>
                <a:lnTo>
                  <a:pt x="565489" y="270590"/>
                </a:lnTo>
                <a:lnTo>
                  <a:pt x="503878" y="274248"/>
                </a:lnTo>
                <a:lnTo>
                  <a:pt x="435799" y="276561"/>
                </a:lnTo>
                <a:lnTo>
                  <a:pt x="362711" y="277368"/>
                </a:lnTo>
                <a:lnTo>
                  <a:pt x="289624" y="276561"/>
                </a:lnTo>
                <a:lnTo>
                  <a:pt x="221545" y="274248"/>
                </a:lnTo>
                <a:lnTo>
                  <a:pt x="159934" y="270590"/>
                </a:lnTo>
                <a:lnTo>
                  <a:pt x="106251" y="265747"/>
                </a:lnTo>
                <a:lnTo>
                  <a:pt x="61956" y="259880"/>
                </a:lnTo>
                <a:lnTo>
                  <a:pt x="7370" y="245718"/>
                </a:lnTo>
                <a:lnTo>
                  <a:pt x="0" y="237744"/>
                </a:lnTo>
                <a:lnTo>
                  <a:pt x="0" y="0"/>
                </a:lnTo>
              </a:path>
            </a:pathLst>
          </a:custGeom>
          <a:ln w="9144">
            <a:solidFill>
              <a:srgbClr val="808080"/>
            </a:solidFill>
          </a:ln>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3" name="object 123">
            <a:extLst>
              <a:ext uri="{FF2B5EF4-FFF2-40B4-BE49-F238E27FC236}">
                <a16:creationId xmlns:a16="http://schemas.microsoft.com/office/drawing/2014/main" id="{AFF7ACF7-D58F-4A52-90C2-9BFAD3520341}"/>
              </a:ext>
            </a:extLst>
          </p:cNvPr>
          <p:cNvSpPr/>
          <p:nvPr/>
        </p:nvSpPr>
        <p:spPr>
          <a:xfrm>
            <a:off x="7229348" y="4214749"/>
            <a:ext cx="436245" cy="205740"/>
          </a:xfrm>
          <a:custGeom>
            <a:avLst/>
            <a:gdLst/>
            <a:ahLst/>
            <a:cxnLst/>
            <a:rect l="l" t="t" r="r" b="b"/>
            <a:pathLst>
              <a:path w="436245" h="205739">
                <a:moveTo>
                  <a:pt x="0" y="0"/>
                </a:moveTo>
                <a:lnTo>
                  <a:pt x="0" y="176021"/>
                </a:lnTo>
                <a:lnTo>
                  <a:pt x="11106" y="185315"/>
                </a:lnTo>
                <a:lnTo>
                  <a:pt x="42038" y="193371"/>
                </a:lnTo>
                <a:lnTo>
                  <a:pt x="89208" y="199714"/>
                </a:lnTo>
                <a:lnTo>
                  <a:pt x="149035" y="203868"/>
                </a:lnTo>
                <a:lnTo>
                  <a:pt x="217931" y="205358"/>
                </a:lnTo>
                <a:lnTo>
                  <a:pt x="286828" y="203868"/>
                </a:lnTo>
                <a:lnTo>
                  <a:pt x="346655" y="199714"/>
                </a:lnTo>
                <a:lnTo>
                  <a:pt x="393825" y="193371"/>
                </a:lnTo>
                <a:lnTo>
                  <a:pt x="424757" y="185315"/>
                </a:lnTo>
                <a:lnTo>
                  <a:pt x="435863" y="176021"/>
                </a:lnTo>
                <a:lnTo>
                  <a:pt x="435863" y="29336"/>
                </a:lnTo>
                <a:lnTo>
                  <a:pt x="217931" y="29336"/>
                </a:lnTo>
                <a:lnTo>
                  <a:pt x="149035" y="27846"/>
                </a:lnTo>
                <a:lnTo>
                  <a:pt x="89208" y="23692"/>
                </a:lnTo>
                <a:lnTo>
                  <a:pt x="42038" y="17349"/>
                </a:lnTo>
                <a:lnTo>
                  <a:pt x="11106" y="9293"/>
                </a:lnTo>
                <a:lnTo>
                  <a:pt x="0" y="0"/>
                </a:lnTo>
                <a:close/>
              </a:path>
              <a:path w="436245" h="205739">
                <a:moveTo>
                  <a:pt x="435863" y="0"/>
                </a:moveTo>
                <a:lnTo>
                  <a:pt x="393825" y="17349"/>
                </a:lnTo>
                <a:lnTo>
                  <a:pt x="346655" y="23692"/>
                </a:lnTo>
                <a:lnTo>
                  <a:pt x="286828" y="27846"/>
                </a:lnTo>
                <a:lnTo>
                  <a:pt x="217931" y="29336"/>
                </a:lnTo>
                <a:lnTo>
                  <a:pt x="435863" y="29336"/>
                </a:lnTo>
                <a:lnTo>
                  <a:pt x="435863" y="0"/>
                </a:lnTo>
                <a:close/>
              </a:path>
            </a:pathLst>
          </a:custGeom>
          <a:solidFill>
            <a:srgbClr val="FFE600"/>
          </a:solid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4" name="object 124">
            <a:extLst>
              <a:ext uri="{FF2B5EF4-FFF2-40B4-BE49-F238E27FC236}">
                <a16:creationId xmlns:a16="http://schemas.microsoft.com/office/drawing/2014/main" id="{9923A1BB-7965-4A80-AED0-CE21AB7099E4}"/>
              </a:ext>
            </a:extLst>
          </p:cNvPr>
          <p:cNvSpPr/>
          <p:nvPr/>
        </p:nvSpPr>
        <p:spPr>
          <a:xfrm>
            <a:off x="7229348" y="4185412"/>
            <a:ext cx="436245" cy="59055"/>
          </a:xfrm>
          <a:custGeom>
            <a:avLst/>
            <a:gdLst/>
            <a:ahLst/>
            <a:cxnLst/>
            <a:rect l="l" t="t" r="r" b="b"/>
            <a:pathLst>
              <a:path w="436245" h="59054">
                <a:moveTo>
                  <a:pt x="217931" y="0"/>
                </a:moveTo>
                <a:lnTo>
                  <a:pt x="149035" y="1490"/>
                </a:lnTo>
                <a:lnTo>
                  <a:pt x="89208" y="5644"/>
                </a:lnTo>
                <a:lnTo>
                  <a:pt x="42038" y="11987"/>
                </a:lnTo>
                <a:lnTo>
                  <a:pt x="0" y="29337"/>
                </a:lnTo>
                <a:lnTo>
                  <a:pt x="11106" y="38630"/>
                </a:lnTo>
                <a:lnTo>
                  <a:pt x="42038" y="46686"/>
                </a:lnTo>
                <a:lnTo>
                  <a:pt x="89208" y="53029"/>
                </a:lnTo>
                <a:lnTo>
                  <a:pt x="149035" y="57183"/>
                </a:lnTo>
                <a:lnTo>
                  <a:pt x="217931" y="58674"/>
                </a:lnTo>
                <a:lnTo>
                  <a:pt x="286828" y="57183"/>
                </a:lnTo>
                <a:lnTo>
                  <a:pt x="346655" y="53029"/>
                </a:lnTo>
                <a:lnTo>
                  <a:pt x="393825" y="46686"/>
                </a:lnTo>
                <a:lnTo>
                  <a:pt x="424757" y="38630"/>
                </a:lnTo>
                <a:lnTo>
                  <a:pt x="435863" y="29337"/>
                </a:lnTo>
                <a:lnTo>
                  <a:pt x="424757" y="20043"/>
                </a:lnTo>
                <a:lnTo>
                  <a:pt x="393825" y="11987"/>
                </a:lnTo>
                <a:lnTo>
                  <a:pt x="346655" y="5644"/>
                </a:lnTo>
                <a:lnTo>
                  <a:pt x="286828" y="1490"/>
                </a:lnTo>
                <a:lnTo>
                  <a:pt x="217931" y="0"/>
                </a:lnTo>
                <a:close/>
              </a:path>
            </a:pathLst>
          </a:custGeom>
          <a:solidFill>
            <a:srgbClr val="FFEF66"/>
          </a:solid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5" name="object 125">
            <a:extLst>
              <a:ext uri="{FF2B5EF4-FFF2-40B4-BE49-F238E27FC236}">
                <a16:creationId xmlns:a16="http://schemas.microsoft.com/office/drawing/2014/main" id="{13C64E51-4F0A-4ADB-A9B1-1D4D01EB0F9D}"/>
              </a:ext>
            </a:extLst>
          </p:cNvPr>
          <p:cNvSpPr/>
          <p:nvPr/>
        </p:nvSpPr>
        <p:spPr>
          <a:xfrm>
            <a:off x="7229348" y="4185412"/>
            <a:ext cx="436245" cy="59055"/>
          </a:xfrm>
          <a:custGeom>
            <a:avLst/>
            <a:gdLst/>
            <a:ahLst/>
            <a:cxnLst/>
            <a:rect l="l" t="t" r="r" b="b"/>
            <a:pathLst>
              <a:path w="436245" h="59054">
                <a:moveTo>
                  <a:pt x="435863" y="29337"/>
                </a:moveTo>
                <a:lnTo>
                  <a:pt x="393825" y="46686"/>
                </a:lnTo>
                <a:lnTo>
                  <a:pt x="346655" y="53029"/>
                </a:lnTo>
                <a:lnTo>
                  <a:pt x="286828" y="57183"/>
                </a:lnTo>
                <a:lnTo>
                  <a:pt x="217931" y="58674"/>
                </a:lnTo>
                <a:lnTo>
                  <a:pt x="149035" y="57183"/>
                </a:lnTo>
                <a:lnTo>
                  <a:pt x="89208" y="53029"/>
                </a:lnTo>
                <a:lnTo>
                  <a:pt x="42038" y="46686"/>
                </a:lnTo>
                <a:lnTo>
                  <a:pt x="11106" y="38630"/>
                </a:lnTo>
                <a:lnTo>
                  <a:pt x="0" y="29337"/>
                </a:lnTo>
                <a:lnTo>
                  <a:pt x="11106" y="20043"/>
                </a:lnTo>
                <a:lnTo>
                  <a:pt x="42038" y="11987"/>
                </a:lnTo>
                <a:lnTo>
                  <a:pt x="89208" y="5644"/>
                </a:lnTo>
                <a:lnTo>
                  <a:pt x="149035" y="1490"/>
                </a:lnTo>
                <a:lnTo>
                  <a:pt x="217931" y="0"/>
                </a:lnTo>
                <a:lnTo>
                  <a:pt x="286828" y="1490"/>
                </a:lnTo>
                <a:lnTo>
                  <a:pt x="346655" y="5644"/>
                </a:lnTo>
                <a:lnTo>
                  <a:pt x="393825" y="11987"/>
                </a:lnTo>
                <a:lnTo>
                  <a:pt x="424757" y="20043"/>
                </a:lnTo>
                <a:lnTo>
                  <a:pt x="435863" y="29337"/>
                </a:lnTo>
                <a:close/>
              </a:path>
            </a:pathLst>
          </a:custGeom>
          <a:ln w="9144">
            <a:solidFill>
              <a:srgbClr val="808080"/>
            </a:solidFill>
          </a:ln>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6" name="object 126">
            <a:extLst>
              <a:ext uri="{FF2B5EF4-FFF2-40B4-BE49-F238E27FC236}">
                <a16:creationId xmlns:a16="http://schemas.microsoft.com/office/drawing/2014/main" id="{787AAFDD-7D86-44A0-9DB1-5882B401AD2B}"/>
              </a:ext>
            </a:extLst>
          </p:cNvPr>
          <p:cNvSpPr/>
          <p:nvPr/>
        </p:nvSpPr>
        <p:spPr>
          <a:xfrm>
            <a:off x="7229348" y="4214749"/>
            <a:ext cx="436245" cy="205740"/>
          </a:xfrm>
          <a:custGeom>
            <a:avLst/>
            <a:gdLst/>
            <a:ahLst/>
            <a:cxnLst/>
            <a:rect l="l" t="t" r="r" b="b"/>
            <a:pathLst>
              <a:path w="436245" h="205739">
                <a:moveTo>
                  <a:pt x="435863" y="0"/>
                </a:moveTo>
                <a:lnTo>
                  <a:pt x="435863" y="176021"/>
                </a:lnTo>
                <a:lnTo>
                  <a:pt x="424757" y="185315"/>
                </a:lnTo>
                <a:lnTo>
                  <a:pt x="393825" y="193371"/>
                </a:lnTo>
                <a:lnTo>
                  <a:pt x="346655" y="199714"/>
                </a:lnTo>
                <a:lnTo>
                  <a:pt x="286828" y="203868"/>
                </a:lnTo>
                <a:lnTo>
                  <a:pt x="217931" y="205358"/>
                </a:lnTo>
                <a:lnTo>
                  <a:pt x="149035" y="203868"/>
                </a:lnTo>
                <a:lnTo>
                  <a:pt x="89208" y="199714"/>
                </a:lnTo>
                <a:lnTo>
                  <a:pt x="42038" y="193371"/>
                </a:lnTo>
                <a:lnTo>
                  <a:pt x="11106" y="185315"/>
                </a:lnTo>
                <a:lnTo>
                  <a:pt x="0" y="176021"/>
                </a:lnTo>
                <a:lnTo>
                  <a:pt x="0" y="0"/>
                </a:lnTo>
              </a:path>
            </a:pathLst>
          </a:custGeom>
          <a:ln w="9144">
            <a:solidFill>
              <a:srgbClr val="808080"/>
            </a:solidFill>
          </a:ln>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7" name="object 127">
            <a:extLst>
              <a:ext uri="{FF2B5EF4-FFF2-40B4-BE49-F238E27FC236}">
                <a16:creationId xmlns:a16="http://schemas.microsoft.com/office/drawing/2014/main" id="{ABE7AA5E-C6A2-4AE3-A33A-8260A1048C76}"/>
              </a:ext>
            </a:extLst>
          </p:cNvPr>
          <p:cNvSpPr/>
          <p:nvPr/>
        </p:nvSpPr>
        <p:spPr>
          <a:xfrm>
            <a:off x="7540243" y="4276089"/>
            <a:ext cx="414655" cy="186690"/>
          </a:xfrm>
          <a:custGeom>
            <a:avLst/>
            <a:gdLst/>
            <a:ahLst/>
            <a:cxnLst/>
            <a:rect l="l" t="t" r="r" b="b"/>
            <a:pathLst>
              <a:path w="414654" h="186689">
                <a:moveTo>
                  <a:pt x="0" y="0"/>
                </a:moveTo>
                <a:lnTo>
                  <a:pt x="0" y="160019"/>
                </a:lnTo>
                <a:lnTo>
                  <a:pt x="16293" y="170402"/>
                </a:lnTo>
                <a:lnTo>
                  <a:pt x="60721" y="178879"/>
                </a:lnTo>
                <a:lnTo>
                  <a:pt x="126605" y="184594"/>
                </a:lnTo>
                <a:lnTo>
                  <a:pt x="207264" y="186689"/>
                </a:lnTo>
                <a:lnTo>
                  <a:pt x="287922" y="184594"/>
                </a:lnTo>
                <a:lnTo>
                  <a:pt x="353806" y="178879"/>
                </a:lnTo>
                <a:lnTo>
                  <a:pt x="398234" y="170402"/>
                </a:lnTo>
                <a:lnTo>
                  <a:pt x="414527" y="160019"/>
                </a:lnTo>
                <a:lnTo>
                  <a:pt x="414527" y="26669"/>
                </a:lnTo>
                <a:lnTo>
                  <a:pt x="207264" y="26669"/>
                </a:lnTo>
                <a:lnTo>
                  <a:pt x="126605" y="24574"/>
                </a:lnTo>
                <a:lnTo>
                  <a:pt x="60721" y="18859"/>
                </a:lnTo>
                <a:lnTo>
                  <a:pt x="16293" y="10382"/>
                </a:lnTo>
                <a:lnTo>
                  <a:pt x="0" y="0"/>
                </a:lnTo>
                <a:close/>
              </a:path>
              <a:path w="414654" h="186689">
                <a:moveTo>
                  <a:pt x="414527" y="0"/>
                </a:moveTo>
                <a:lnTo>
                  <a:pt x="398234" y="10382"/>
                </a:lnTo>
                <a:lnTo>
                  <a:pt x="353806" y="18859"/>
                </a:lnTo>
                <a:lnTo>
                  <a:pt x="287922" y="24574"/>
                </a:lnTo>
                <a:lnTo>
                  <a:pt x="207264" y="26669"/>
                </a:lnTo>
                <a:lnTo>
                  <a:pt x="414527" y="26669"/>
                </a:lnTo>
                <a:lnTo>
                  <a:pt x="414527" y="0"/>
                </a:lnTo>
                <a:close/>
              </a:path>
            </a:pathLst>
          </a:custGeom>
          <a:solidFill>
            <a:srgbClr val="FFE600"/>
          </a:solid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8" name="object 128">
            <a:extLst>
              <a:ext uri="{FF2B5EF4-FFF2-40B4-BE49-F238E27FC236}">
                <a16:creationId xmlns:a16="http://schemas.microsoft.com/office/drawing/2014/main" id="{02AC4877-A183-4FFA-B417-5F13DB8C143E}"/>
              </a:ext>
            </a:extLst>
          </p:cNvPr>
          <p:cNvSpPr/>
          <p:nvPr/>
        </p:nvSpPr>
        <p:spPr>
          <a:xfrm>
            <a:off x="7540243" y="4249420"/>
            <a:ext cx="414655" cy="53340"/>
          </a:xfrm>
          <a:custGeom>
            <a:avLst/>
            <a:gdLst/>
            <a:ahLst/>
            <a:cxnLst/>
            <a:rect l="l" t="t" r="r" b="b"/>
            <a:pathLst>
              <a:path w="414654" h="53339">
                <a:moveTo>
                  <a:pt x="207264" y="0"/>
                </a:moveTo>
                <a:lnTo>
                  <a:pt x="126605" y="2095"/>
                </a:lnTo>
                <a:lnTo>
                  <a:pt x="60721" y="7810"/>
                </a:lnTo>
                <a:lnTo>
                  <a:pt x="16293" y="16287"/>
                </a:lnTo>
                <a:lnTo>
                  <a:pt x="0" y="26670"/>
                </a:lnTo>
                <a:lnTo>
                  <a:pt x="16293" y="37052"/>
                </a:lnTo>
                <a:lnTo>
                  <a:pt x="60721" y="45529"/>
                </a:lnTo>
                <a:lnTo>
                  <a:pt x="126605" y="51244"/>
                </a:lnTo>
                <a:lnTo>
                  <a:pt x="207264" y="53340"/>
                </a:lnTo>
                <a:lnTo>
                  <a:pt x="287922" y="51244"/>
                </a:lnTo>
                <a:lnTo>
                  <a:pt x="353806" y="45529"/>
                </a:lnTo>
                <a:lnTo>
                  <a:pt x="398234" y="37052"/>
                </a:lnTo>
                <a:lnTo>
                  <a:pt x="414527" y="26670"/>
                </a:lnTo>
                <a:lnTo>
                  <a:pt x="398234" y="16287"/>
                </a:lnTo>
                <a:lnTo>
                  <a:pt x="353806" y="7810"/>
                </a:lnTo>
                <a:lnTo>
                  <a:pt x="287922" y="2095"/>
                </a:lnTo>
                <a:lnTo>
                  <a:pt x="207264" y="0"/>
                </a:lnTo>
                <a:close/>
              </a:path>
            </a:pathLst>
          </a:custGeom>
          <a:solidFill>
            <a:srgbClr val="FFEF66"/>
          </a:solid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19" name="object 129">
            <a:extLst>
              <a:ext uri="{FF2B5EF4-FFF2-40B4-BE49-F238E27FC236}">
                <a16:creationId xmlns:a16="http://schemas.microsoft.com/office/drawing/2014/main" id="{24F112D6-7B1B-471A-8FA1-9340CA9B92F9}"/>
              </a:ext>
            </a:extLst>
          </p:cNvPr>
          <p:cNvSpPr/>
          <p:nvPr/>
        </p:nvSpPr>
        <p:spPr>
          <a:xfrm>
            <a:off x="7540243" y="4249420"/>
            <a:ext cx="414655" cy="53340"/>
          </a:xfrm>
          <a:custGeom>
            <a:avLst/>
            <a:gdLst/>
            <a:ahLst/>
            <a:cxnLst/>
            <a:rect l="l" t="t" r="r" b="b"/>
            <a:pathLst>
              <a:path w="414654" h="53339">
                <a:moveTo>
                  <a:pt x="414527" y="26670"/>
                </a:moveTo>
                <a:lnTo>
                  <a:pt x="398234" y="37052"/>
                </a:lnTo>
                <a:lnTo>
                  <a:pt x="353806" y="45529"/>
                </a:lnTo>
                <a:lnTo>
                  <a:pt x="287922" y="51244"/>
                </a:lnTo>
                <a:lnTo>
                  <a:pt x="207264" y="53340"/>
                </a:lnTo>
                <a:lnTo>
                  <a:pt x="126605" y="51244"/>
                </a:lnTo>
                <a:lnTo>
                  <a:pt x="60721" y="45529"/>
                </a:lnTo>
                <a:lnTo>
                  <a:pt x="16293" y="37052"/>
                </a:lnTo>
                <a:lnTo>
                  <a:pt x="0" y="26670"/>
                </a:lnTo>
                <a:lnTo>
                  <a:pt x="16293" y="16287"/>
                </a:lnTo>
                <a:lnTo>
                  <a:pt x="60721" y="7810"/>
                </a:lnTo>
                <a:lnTo>
                  <a:pt x="126605" y="2095"/>
                </a:lnTo>
                <a:lnTo>
                  <a:pt x="207264" y="0"/>
                </a:lnTo>
                <a:lnTo>
                  <a:pt x="287922" y="2095"/>
                </a:lnTo>
                <a:lnTo>
                  <a:pt x="353806" y="7810"/>
                </a:lnTo>
                <a:lnTo>
                  <a:pt x="398234" y="16287"/>
                </a:lnTo>
                <a:lnTo>
                  <a:pt x="414527" y="26670"/>
                </a:lnTo>
                <a:close/>
              </a:path>
            </a:pathLst>
          </a:custGeom>
          <a:ln w="9144">
            <a:solidFill>
              <a:srgbClr val="808080"/>
            </a:solidFill>
          </a:ln>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20" name="object 130">
            <a:extLst>
              <a:ext uri="{FF2B5EF4-FFF2-40B4-BE49-F238E27FC236}">
                <a16:creationId xmlns:a16="http://schemas.microsoft.com/office/drawing/2014/main" id="{0E2FF448-EF93-49D6-8C40-5FDE245C8570}"/>
              </a:ext>
            </a:extLst>
          </p:cNvPr>
          <p:cNvSpPr/>
          <p:nvPr/>
        </p:nvSpPr>
        <p:spPr>
          <a:xfrm>
            <a:off x="7540243" y="4276089"/>
            <a:ext cx="414655" cy="186690"/>
          </a:xfrm>
          <a:custGeom>
            <a:avLst/>
            <a:gdLst/>
            <a:ahLst/>
            <a:cxnLst/>
            <a:rect l="l" t="t" r="r" b="b"/>
            <a:pathLst>
              <a:path w="414654" h="186689">
                <a:moveTo>
                  <a:pt x="414527" y="0"/>
                </a:moveTo>
                <a:lnTo>
                  <a:pt x="414527" y="160019"/>
                </a:lnTo>
                <a:lnTo>
                  <a:pt x="398234" y="170402"/>
                </a:lnTo>
                <a:lnTo>
                  <a:pt x="353806" y="178879"/>
                </a:lnTo>
                <a:lnTo>
                  <a:pt x="287922" y="184594"/>
                </a:lnTo>
                <a:lnTo>
                  <a:pt x="207264" y="186689"/>
                </a:lnTo>
                <a:lnTo>
                  <a:pt x="126605" y="184594"/>
                </a:lnTo>
                <a:lnTo>
                  <a:pt x="60721" y="178879"/>
                </a:lnTo>
                <a:lnTo>
                  <a:pt x="16293" y="170402"/>
                </a:lnTo>
                <a:lnTo>
                  <a:pt x="0" y="160019"/>
                </a:lnTo>
                <a:lnTo>
                  <a:pt x="0" y="0"/>
                </a:lnTo>
              </a:path>
            </a:pathLst>
          </a:custGeom>
          <a:ln w="9144">
            <a:solidFill>
              <a:srgbClr val="808080"/>
            </a:solidFill>
          </a:ln>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21" name="object 131">
            <a:extLst>
              <a:ext uri="{FF2B5EF4-FFF2-40B4-BE49-F238E27FC236}">
                <a16:creationId xmlns:a16="http://schemas.microsoft.com/office/drawing/2014/main" id="{DC3B99A2-4ED0-486B-B905-586E88BA25FC}"/>
              </a:ext>
            </a:extLst>
          </p:cNvPr>
          <p:cNvSpPr txBox="1"/>
          <p:nvPr/>
        </p:nvSpPr>
        <p:spPr>
          <a:xfrm>
            <a:off x="7227824" y="4534408"/>
            <a:ext cx="725805" cy="148759"/>
          </a:xfrm>
          <a:prstGeom prst="rect">
            <a:avLst/>
          </a:prstGeom>
          <a:solidFill>
            <a:srgbClr val="B3B3B3"/>
          </a:solidFill>
          <a:ln w="18288">
            <a:solidFill>
              <a:srgbClr val="808080"/>
            </a:solidFill>
          </a:ln>
        </p:spPr>
        <p:txBody>
          <a:bodyPr vert="horz" wrap="square" lIns="0" tIns="25400" rIns="0" bIns="0" rtlCol="0">
            <a:spAutoFit/>
          </a:bodyPr>
          <a:lstStyle/>
          <a:p>
            <a:pPr marL="98425" eaLnBrk="1" fontAlgn="auto" hangingPunct="1">
              <a:spcBef>
                <a:spcPts val="200"/>
              </a:spcBef>
              <a:spcAft>
                <a:spcPts val="0"/>
              </a:spcAft>
            </a:pPr>
            <a:r>
              <a:rPr lang="en-US" sz="800" b="1" spc="-10">
                <a:solidFill>
                  <a:srgbClr val="FFFFFF"/>
                </a:solidFill>
                <a:latin typeface="+mj-lt"/>
                <a:ea typeface="+mn-ea"/>
                <a:cs typeface="Arial"/>
              </a:rPr>
              <a:t>Appliances</a:t>
            </a:r>
            <a:endParaRPr lang="en-US" sz="800">
              <a:solidFill>
                <a:prstClr val="black"/>
              </a:solidFill>
              <a:latin typeface="+mj-lt"/>
              <a:ea typeface="+mn-ea"/>
              <a:cs typeface="Arial"/>
            </a:endParaRPr>
          </a:p>
        </p:txBody>
      </p:sp>
      <p:sp>
        <p:nvSpPr>
          <p:cNvPr id="122" name="object 132">
            <a:extLst>
              <a:ext uri="{FF2B5EF4-FFF2-40B4-BE49-F238E27FC236}">
                <a16:creationId xmlns:a16="http://schemas.microsoft.com/office/drawing/2014/main" id="{767A216E-F9F1-43C3-A9EA-1E6E74C3591C}"/>
              </a:ext>
            </a:extLst>
          </p:cNvPr>
          <p:cNvSpPr txBox="1"/>
          <p:nvPr/>
        </p:nvSpPr>
        <p:spPr>
          <a:xfrm>
            <a:off x="7133336" y="3732783"/>
            <a:ext cx="911860" cy="705962"/>
          </a:xfrm>
          <a:prstGeom prst="rect">
            <a:avLst/>
          </a:prstGeom>
          <a:ln w="18288">
            <a:solidFill>
              <a:srgbClr val="E6E6E6"/>
            </a:solidFill>
          </a:ln>
        </p:spPr>
        <p:txBody>
          <a:bodyPr vert="horz" wrap="square" lIns="0" tIns="5715" rIns="0" bIns="0" rtlCol="0">
            <a:spAutoFit/>
          </a:bodyPr>
          <a:lstStyle/>
          <a:p>
            <a:pPr eaLnBrk="1" fontAlgn="auto" hangingPunct="1">
              <a:spcBef>
                <a:spcPts val="45"/>
              </a:spcBef>
              <a:spcAft>
                <a:spcPts val="0"/>
              </a:spcAft>
            </a:pPr>
            <a:endParaRPr lang="en-US" sz="1000">
              <a:solidFill>
                <a:prstClr val="black"/>
              </a:solidFill>
              <a:latin typeface="+mj-lt"/>
              <a:ea typeface="+mn-ea"/>
              <a:cs typeface="Times New Roman"/>
            </a:endParaRPr>
          </a:p>
          <a:p>
            <a:pPr marL="11430" algn="ctr" eaLnBrk="1" fontAlgn="auto" hangingPunct="1">
              <a:spcBef>
                <a:spcPts val="5"/>
              </a:spcBef>
              <a:spcAft>
                <a:spcPts val="0"/>
              </a:spcAft>
            </a:pPr>
            <a:r>
              <a:rPr lang="en-US" sz="800" spc="-15">
                <a:solidFill>
                  <a:srgbClr val="636363"/>
                </a:solidFill>
                <a:latin typeface="+mj-lt"/>
                <a:ea typeface="+mn-ea"/>
                <a:cs typeface="Arial"/>
              </a:rPr>
              <a:t>Data</a:t>
            </a:r>
            <a:endParaRPr lang="en-US" sz="800">
              <a:solidFill>
                <a:prstClr val="black"/>
              </a:solidFill>
              <a:latin typeface="+mj-lt"/>
              <a:ea typeface="+mn-ea"/>
              <a:cs typeface="Arial"/>
            </a:endParaRPr>
          </a:p>
          <a:p>
            <a:pPr marL="8255" algn="ctr" eaLnBrk="1" fontAlgn="auto" hangingPunct="1">
              <a:spcBef>
                <a:spcPts val="0"/>
              </a:spcBef>
              <a:spcAft>
                <a:spcPts val="0"/>
              </a:spcAft>
            </a:pPr>
            <a:r>
              <a:rPr lang="en-US" sz="800" spc="-15">
                <a:solidFill>
                  <a:srgbClr val="636363"/>
                </a:solidFill>
                <a:latin typeface="+mj-lt"/>
                <a:ea typeface="+mn-ea"/>
                <a:cs typeface="Arial"/>
              </a:rPr>
              <a:t>Warehouse</a:t>
            </a:r>
            <a:endParaRPr lang="en-US" sz="800">
              <a:solidFill>
                <a:prstClr val="black"/>
              </a:solidFill>
              <a:latin typeface="+mj-lt"/>
              <a:ea typeface="+mn-ea"/>
              <a:cs typeface="Arial"/>
            </a:endParaRPr>
          </a:p>
          <a:p>
            <a:pPr eaLnBrk="1" fontAlgn="auto" hangingPunct="1">
              <a:spcBef>
                <a:spcPts val="0"/>
              </a:spcBef>
              <a:spcAft>
                <a:spcPts val="0"/>
              </a:spcAft>
            </a:pPr>
            <a:endParaRPr lang="en-US" sz="1150">
              <a:solidFill>
                <a:prstClr val="black"/>
              </a:solidFill>
              <a:latin typeface="+mj-lt"/>
              <a:ea typeface="+mn-ea"/>
              <a:cs typeface="Times New Roman"/>
            </a:endParaRPr>
          </a:p>
          <a:p>
            <a:pPr marL="40640" algn="ctr" eaLnBrk="1" fontAlgn="auto" hangingPunct="1">
              <a:spcBef>
                <a:spcPts val="0"/>
              </a:spcBef>
              <a:spcAft>
                <a:spcPts val="0"/>
              </a:spcAft>
            </a:pPr>
            <a:r>
              <a:rPr lang="en-US" sz="800" spc="-15">
                <a:solidFill>
                  <a:srgbClr val="636363"/>
                </a:solidFill>
                <a:latin typeface="+mj-lt"/>
                <a:ea typeface="+mn-ea"/>
                <a:cs typeface="Arial"/>
              </a:rPr>
              <a:t>Data</a:t>
            </a:r>
            <a:r>
              <a:rPr lang="en-US" sz="800" spc="-45">
                <a:solidFill>
                  <a:srgbClr val="636363"/>
                </a:solidFill>
                <a:latin typeface="+mj-lt"/>
                <a:ea typeface="+mn-ea"/>
                <a:cs typeface="Arial"/>
              </a:rPr>
              <a:t> </a:t>
            </a:r>
            <a:r>
              <a:rPr lang="en-US" sz="800" spc="-15">
                <a:solidFill>
                  <a:srgbClr val="636363"/>
                </a:solidFill>
                <a:latin typeface="+mj-lt"/>
                <a:ea typeface="+mn-ea"/>
                <a:cs typeface="Arial"/>
              </a:rPr>
              <a:t>Marts</a:t>
            </a:r>
            <a:endParaRPr lang="en-US" sz="800">
              <a:solidFill>
                <a:prstClr val="black"/>
              </a:solidFill>
              <a:latin typeface="+mj-lt"/>
              <a:ea typeface="+mn-ea"/>
              <a:cs typeface="Arial"/>
            </a:endParaRPr>
          </a:p>
        </p:txBody>
      </p:sp>
      <p:sp>
        <p:nvSpPr>
          <p:cNvPr id="123" name="object 134">
            <a:extLst>
              <a:ext uri="{FF2B5EF4-FFF2-40B4-BE49-F238E27FC236}">
                <a16:creationId xmlns:a16="http://schemas.microsoft.com/office/drawing/2014/main" id="{B667EBD3-4765-478E-A19B-2329895AEDB0}"/>
              </a:ext>
            </a:extLst>
          </p:cNvPr>
          <p:cNvSpPr/>
          <p:nvPr/>
        </p:nvSpPr>
        <p:spPr>
          <a:xfrm>
            <a:off x="6983983" y="3254247"/>
            <a:ext cx="1137285" cy="195580"/>
          </a:xfrm>
          <a:custGeom>
            <a:avLst/>
            <a:gdLst/>
            <a:ahLst/>
            <a:cxnLst/>
            <a:rect l="l" t="t" r="r" b="b"/>
            <a:pathLst>
              <a:path w="1137284" h="195579">
                <a:moveTo>
                  <a:pt x="0" y="195072"/>
                </a:moveTo>
                <a:lnTo>
                  <a:pt x="1136903" y="195072"/>
                </a:lnTo>
                <a:lnTo>
                  <a:pt x="1136903" y="0"/>
                </a:lnTo>
                <a:lnTo>
                  <a:pt x="0" y="0"/>
                </a:lnTo>
                <a:lnTo>
                  <a:pt x="0" y="195072"/>
                </a:lnTo>
                <a:close/>
              </a:path>
            </a:pathLst>
          </a:custGeom>
          <a:solidFill>
            <a:srgbClr val="808080"/>
          </a:solid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graphicFrame>
        <p:nvGraphicFramePr>
          <p:cNvPr id="145" name="object 158">
            <a:extLst>
              <a:ext uri="{FF2B5EF4-FFF2-40B4-BE49-F238E27FC236}">
                <a16:creationId xmlns:a16="http://schemas.microsoft.com/office/drawing/2014/main" id="{C682B2D9-6579-4896-BDEA-FC596BC4B066}"/>
              </a:ext>
            </a:extLst>
          </p:cNvPr>
          <p:cNvGraphicFramePr>
            <a:graphicFrameLocks noGrp="1"/>
          </p:cNvGraphicFramePr>
          <p:nvPr>
            <p:extLst>
              <p:ext uri="{D42A27DB-BD31-4B8C-83A1-F6EECF244321}">
                <p14:modId xmlns:p14="http://schemas.microsoft.com/office/powerpoint/2010/main" val="580817650"/>
              </p:ext>
            </p:extLst>
          </p:nvPr>
        </p:nvGraphicFramePr>
        <p:xfrm>
          <a:off x="9683659" y="2976753"/>
          <a:ext cx="1143000" cy="1826260"/>
        </p:xfrm>
        <a:graphic>
          <a:graphicData uri="http://schemas.openxmlformats.org/drawingml/2006/table">
            <a:tbl>
              <a:tblPr firstRow="1" bandRow="1"/>
              <a:tblGrid>
                <a:gridCol w="1143000">
                  <a:extLst>
                    <a:ext uri="{9D8B030D-6E8A-4147-A177-3AD203B41FA5}">
                      <a16:colId xmlns:a16="http://schemas.microsoft.com/office/drawing/2014/main" val="20000"/>
                    </a:ext>
                  </a:extLst>
                </a:gridCol>
              </a:tblGrid>
              <a:tr h="149225">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22225" algn="ctr">
                        <a:lnSpc>
                          <a:spcPct val="100000"/>
                        </a:lnSpc>
                        <a:spcBef>
                          <a:spcPts val="10"/>
                        </a:spcBef>
                      </a:pPr>
                      <a:r>
                        <a:rPr sz="800" spc="-15">
                          <a:solidFill>
                            <a:srgbClr val="FFFFFF"/>
                          </a:solidFill>
                          <a:latin typeface="Arial"/>
                          <a:cs typeface="Arial"/>
                        </a:rPr>
                        <a:t>Standard</a:t>
                      </a:r>
                      <a:r>
                        <a:rPr sz="800" spc="110">
                          <a:solidFill>
                            <a:srgbClr val="FFFFFF"/>
                          </a:solidFill>
                          <a:latin typeface="Arial"/>
                          <a:cs typeface="Arial"/>
                        </a:rPr>
                        <a:t> </a:t>
                      </a:r>
                      <a:r>
                        <a:rPr sz="800" spc="-15">
                          <a:solidFill>
                            <a:srgbClr val="FFFFFF"/>
                          </a:solidFill>
                          <a:latin typeface="Arial"/>
                          <a:cs typeface="Arial"/>
                        </a:rPr>
                        <a:t>Reporting</a:t>
                      </a:r>
                      <a:endParaRPr sz="800">
                        <a:latin typeface="Arial"/>
                        <a:cs typeface="Arial"/>
                      </a:endParaRPr>
                    </a:p>
                  </a:txBody>
                  <a:tcPr marL="0" marR="0" marT="1270" marB="0">
                    <a:lnL>
                      <a:noFill/>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0"/>
                  </a:ext>
                </a:extLst>
              </a:tr>
              <a:tr h="160020">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22860" algn="ctr">
                        <a:lnSpc>
                          <a:spcPct val="100000"/>
                        </a:lnSpc>
                        <a:spcBef>
                          <a:spcPts val="125"/>
                        </a:spcBef>
                      </a:pPr>
                      <a:r>
                        <a:rPr lang="en-GB" sz="800" spc="-15">
                          <a:solidFill>
                            <a:srgbClr val="FFFFFF"/>
                          </a:solidFill>
                          <a:latin typeface="Arial"/>
                          <a:cs typeface="Arial"/>
                        </a:rPr>
                        <a:t>Visualisation</a:t>
                      </a:r>
                      <a:endParaRPr sz="800">
                        <a:latin typeface="Arial"/>
                        <a:cs typeface="Arial"/>
                      </a:endParaRPr>
                    </a:p>
                  </a:txBody>
                  <a:tcPr marL="0" marR="0" marT="15875" marB="0">
                    <a:lnL w="19050">
                      <a:solidFill>
                        <a:srgbClr val="808080"/>
                      </a:solidFill>
                      <a:prstDash val="solid"/>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1"/>
                  </a:ext>
                </a:extLst>
              </a:tr>
              <a:tr h="159385">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25400" algn="ctr">
                        <a:lnSpc>
                          <a:spcPct val="100000"/>
                        </a:lnSpc>
                        <a:spcBef>
                          <a:spcPts val="125"/>
                        </a:spcBef>
                      </a:pPr>
                      <a:r>
                        <a:rPr lang="en-GB" sz="800" spc="-10">
                          <a:solidFill>
                            <a:srgbClr val="FFFFFF"/>
                          </a:solidFill>
                          <a:latin typeface="Arial"/>
                          <a:cs typeface="Arial"/>
                        </a:rPr>
                        <a:t>Analytics Farm</a:t>
                      </a:r>
                      <a:endParaRPr sz="800">
                        <a:latin typeface="Arial"/>
                        <a:cs typeface="Arial"/>
                      </a:endParaRPr>
                    </a:p>
                  </a:txBody>
                  <a:tcPr marL="0" marR="0" marT="15875" marB="0">
                    <a:lnL w="19050">
                      <a:solidFill>
                        <a:srgbClr val="808080"/>
                      </a:solidFill>
                      <a:prstDash val="solid"/>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2"/>
                  </a:ext>
                </a:extLst>
              </a:tr>
              <a:tr h="160020">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22225" algn="ctr">
                        <a:lnSpc>
                          <a:spcPct val="100000"/>
                        </a:lnSpc>
                        <a:spcBef>
                          <a:spcPts val="125"/>
                        </a:spcBef>
                      </a:pPr>
                      <a:r>
                        <a:rPr lang="en-GB" sz="800" spc="-15">
                          <a:solidFill>
                            <a:srgbClr val="FFFFFF"/>
                          </a:solidFill>
                          <a:latin typeface="Arial"/>
                          <a:cs typeface="Arial"/>
                        </a:rPr>
                        <a:t>Machine Learning</a:t>
                      </a:r>
                      <a:endParaRPr sz="800">
                        <a:latin typeface="Arial"/>
                        <a:cs typeface="Arial"/>
                      </a:endParaRPr>
                    </a:p>
                  </a:txBody>
                  <a:tcPr marL="0" marR="0" marT="15875" marB="0">
                    <a:lnL w="19050">
                      <a:solidFill>
                        <a:srgbClr val="808080"/>
                      </a:solidFill>
                      <a:prstDash val="solid"/>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3"/>
                  </a:ext>
                </a:extLst>
              </a:tr>
              <a:tr h="419100">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182880" marR="146685" algn="ctr">
                        <a:lnSpc>
                          <a:spcPct val="100000"/>
                        </a:lnSpc>
                        <a:spcBef>
                          <a:spcPts val="190"/>
                        </a:spcBef>
                      </a:pPr>
                      <a:r>
                        <a:rPr lang="en-GB" sz="800" spc="-5">
                          <a:solidFill>
                            <a:srgbClr val="FFFFFF"/>
                          </a:solidFill>
                          <a:latin typeface="Arial"/>
                          <a:cs typeface="Arial"/>
                        </a:rPr>
                        <a:t> </a:t>
                      </a:r>
                      <a:r>
                        <a:rPr lang="en-GB" sz="800" spc="-15">
                          <a:solidFill>
                            <a:srgbClr val="FFFFFF"/>
                          </a:solidFill>
                          <a:latin typeface="Arial"/>
                          <a:cs typeface="Arial"/>
                        </a:rPr>
                        <a:t>Data  Discovery &amp;</a:t>
                      </a:r>
                    </a:p>
                    <a:p>
                      <a:pPr marL="182880" marR="146685" algn="ctr">
                        <a:lnSpc>
                          <a:spcPct val="100000"/>
                        </a:lnSpc>
                        <a:spcBef>
                          <a:spcPts val="190"/>
                        </a:spcBef>
                      </a:pPr>
                      <a:r>
                        <a:rPr lang="en-GB" sz="800" spc="-15">
                          <a:solidFill>
                            <a:srgbClr val="FFFFFF"/>
                          </a:solidFill>
                          <a:latin typeface="Arial"/>
                          <a:cs typeface="Arial"/>
                        </a:rPr>
                        <a:t>Exploration</a:t>
                      </a:r>
                      <a:endParaRPr lang="en-GB" sz="800">
                        <a:latin typeface="Arial"/>
                        <a:cs typeface="Arial"/>
                      </a:endParaRPr>
                    </a:p>
                  </a:txBody>
                  <a:tcPr marL="0" marR="0" marT="24130" marB="0">
                    <a:lnL w="19050">
                      <a:solidFill>
                        <a:srgbClr val="808080"/>
                      </a:solidFill>
                      <a:prstDash val="solid"/>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4"/>
                  </a:ext>
                </a:extLst>
              </a:tr>
              <a:tr h="160020">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22225" algn="ctr">
                        <a:lnSpc>
                          <a:spcPct val="100000"/>
                        </a:lnSpc>
                        <a:spcBef>
                          <a:spcPts val="135"/>
                        </a:spcBef>
                      </a:pPr>
                      <a:r>
                        <a:rPr lang="en-GB" sz="800" spc="-10">
                          <a:solidFill>
                            <a:srgbClr val="FFFFFF"/>
                          </a:solidFill>
                          <a:latin typeface="Arial"/>
                          <a:cs typeface="Arial"/>
                        </a:rPr>
                        <a:t>Artificial Intelligence</a:t>
                      </a:r>
                      <a:endParaRPr sz="800">
                        <a:latin typeface="Arial"/>
                        <a:cs typeface="Arial"/>
                      </a:endParaRPr>
                    </a:p>
                  </a:txBody>
                  <a:tcPr marL="0" marR="0" marT="17145" marB="0">
                    <a:lnL w="19050">
                      <a:solidFill>
                        <a:srgbClr val="808080"/>
                      </a:solidFill>
                      <a:prstDash val="solid"/>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5"/>
                  </a:ext>
                </a:extLst>
              </a:tr>
              <a:tr h="159385">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22225" algn="ctr">
                        <a:lnSpc>
                          <a:spcPct val="100000"/>
                        </a:lnSpc>
                        <a:spcBef>
                          <a:spcPts val="135"/>
                        </a:spcBef>
                      </a:pPr>
                      <a:r>
                        <a:rPr sz="800" spc="-10">
                          <a:solidFill>
                            <a:srgbClr val="FFFFFF"/>
                          </a:solidFill>
                          <a:latin typeface="Arial"/>
                          <a:cs typeface="Arial"/>
                        </a:rPr>
                        <a:t>Enterprise</a:t>
                      </a:r>
                      <a:r>
                        <a:rPr sz="800" spc="65">
                          <a:solidFill>
                            <a:srgbClr val="FFFFFF"/>
                          </a:solidFill>
                          <a:latin typeface="Arial"/>
                          <a:cs typeface="Arial"/>
                        </a:rPr>
                        <a:t> </a:t>
                      </a:r>
                      <a:r>
                        <a:rPr sz="800" spc="-15">
                          <a:solidFill>
                            <a:srgbClr val="FFFFFF"/>
                          </a:solidFill>
                          <a:latin typeface="Arial"/>
                          <a:cs typeface="Arial"/>
                        </a:rPr>
                        <a:t>Search</a:t>
                      </a:r>
                      <a:endParaRPr sz="800">
                        <a:latin typeface="Arial"/>
                        <a:cs typeface="Arial"/>
                      </a:endParaRPr>
                    </a:p>
                  </a:txBody>
                  <a:tcPr marL="0" marR="0" marT="17145" marB="0">
                    <a:lnL w="19050">
                      <a:solidFill>
                        <a:srgbClr val="808080"/>
                      </a:solidFill>
                      <a:prstDash val="solid"/>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6"/>
                  </a:ext>
                </a:extLst>
              </a:tr>
              <a:tr h="160020">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25400" algn="ctr">
                        <a:lnSpc>
                          <a:spcPct val="100000"/>
                        </a:lnSpc>
                        <a:spcBef>
                          <a:spcPts val="130"/>
                        </a:spcBef>
                      </a:pPr>
                      <a:r>
                        <a:rPr sz="800" spc="-10">
                          <a:solidFill>
                            <a:srgbClr val="FFFFFF"/>
                          </a:solidFill>
                          <a:latin typeface="Arial"/>
                          <a:cs typeface="Arial"/>
                        </a:rPr>
                        <a:t>Virtualization</a:t>
                      </a:r>
                      <a:endParaRPr sz="800">
                        <a:latin typeface="Arial"/>
                        <a:cs typeface="Arial"/>
                      </a:endParaRPr>
                    </a:p>
                  </a:txBody>
                  <a:tcPr marL="0" marR="0" marT="16510" marB="0">
                    <a:lnL w="19050">
                      <a:solidFill>
                        <a:srgbClr val="808080"/>
                      </a:solidFill>
                      <a:prstDash val="solid"/>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7"/>
                  </a:ext>
                </a:extLst>
              </a:tr>
              <a:tr h="159385">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24765" algn="ctr">
                        <a:lnSpc>
                          <a:spcPct val="100000"/>
                        </a:lnSpc>
                        <a:spcBef>
                          <a:spcPts val="135"/>
                        </a:spcBef>
                      </a:pPr>
                      <a:r>
                        <a:rPr sz="800" spc="-15">
                          <a:solidFill>
                            <a:srgbClr val="FFFFFF"/>
                          </a:solidFill>
                          <a:latin typeface="Arial"/>
                          <a:cs typeface="Arial"/>
                        </a:rPr>
                        <a:t>Data </a:t>
                      </a:r>
                      <a:r>
                        <a:rPr sz="800" spc="-25">
                          <a:solidFill>
                            <a:srgbClr val="FFFFFF"/>
                          </a:solidFill>
                          <a:latin typeface="Arial"/>
                          <a:cs typeface="Arial"/>
                        </a:rPr>
                        <a:t>as </a:t>
                      </a:r>
                      <a:r>
                        <a:rPr sz="800" spc="-5">
                          <a:solidFill>
                            <a:srgbClr val="FFFFFF"/>
                          </a:solidFill>
                          <a:latin typeface="Arial"/>
                          <a:cs typeface="Arial"/>
                        </a:rPr>
                        <a:t>a</a:t>
                      </a:r>
                      <a:r>
                        <a:rPr sz="800" spc="-75">
                          <a:solidFill>
                            <a:srgbClr val="FFFFFF"/>
                          </a:solidFill>
                          <a:latin typeface="Arial"/>
                          <a:cs typeface="Arial"/>
                        </a:rPr>
                        <a:t> </a:t>
                      </a:r>
                      <a:r>
                        <a:rPr sz="800" spc="-15">
                          <a:solidFill>
                            <a:srgbClr val="FFFFFF"/>
                          </a:solidFill>
                          <a:latin typeface="Arial"/>
                          <a:cs typeface="Arial"/>
                        </a:rPr>
                        <a:t>Service</a:t>
                      </a:r>
                      <a:endParaRPr sz="800">
                        <a:latin typeface="Arial"/>
                        <a:cs typeface="Arial"/>
                      </a:endParaRPr>
                    </a:p>
                  </a:txBody>
                  <a:tcPr marL="0" marR="0" marT="17145" marB="0">
                    <a:lnL w="19050">
                      <a:solidFill>
                        <a:srgbClr val="808080"/>
                      </a:solidFill>
                      <a:prstDash val="solid"/>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8"/>
                  </a:ext>
                </a:extLst>
              </a:tr>
              <a:tr h="139700">
                <a:tc>
                  <a:txBody>
                    <a:bodyPr/>
                    <a:lstStyle>
                      <a:lvl1pPr marL="0" algn="l" defTabSz="1148930" rtl="0" eaLnBrk="1" latinLnBrk="0" hangingPunct="1">
                        <a:defRPr sz="2261" kern="1200">
                          <a:solidFill>
                            <a:schemeClr val="tx1"/>
                          </a:solidFill>
                          <a:latin typeface="Calibri"/>
                        </a:defRPr>
                      </a:lvl1pPr>
                      <a:lvl2pPr marL="574464" algn="l" defTabSz="1148930" rtl="0" eaLnBrk="1" latinLnBrk="0" hangingPunct="1">
                        <a:defRPr sz="2261" kern="1200">
                          <a:solidFill>
                            <a:schemeClr val="tx1"/>
                          </a:solidFill>
                          <a:latin typeface="Calibri"/>
                        </a:defRPr>
                      </a:lvl2pPr>
                      <a:lvl3pPr marL="1148930" algn="l" defTabSz="1148930" rtl="0" eaLnBrk="1" latinLnBrk="0" hangingPunct="1">
                        <a:defRPr sz="2261" kern="1200">
                          <a:solidFill>
                            <a:schemeClr val="tx1"/>
                          </a:solidFill>
                          <a:latin typeface="Calibri"/>
                        </a:defRPr>
                      </a:lvl3pPr>
                      <a:lvl4pPr marL="1723396" algn="l" defTabSz="1148930" rtl="0" eaLnBrk="1" latinLnBrk="0" hangingPunct="1">
                        <a:defRPr sz="2261" kern="1200">
                          <a:solidFill>
                            <a:schemeClr val="tx1"/>
                          </a:solidFill>
                          <a:latin typeface="Calibri"/>
                        </a:defRPr>
                      </a:lvl4pPr>
                      <a:lvl5pPr marL="2297863" algn="l" defTabSz="1148930" rtl="0" eaLnBrk="1" latinLnBrk="0" hangingPunct="1">
                        <a:defRPr sz="2261" kern="1200">
                          <a:solidFill>
                            <a:schemeClr val="tx1"/>
                          </a:solidFill>
                          <a:latin typeface="Calibri"/>
                        </a:defRPr>
                      </a:lvl5pPr>
                      <a:lvl6pPr marL="2872327" algn="l" defTabSz="1148930" rtl="0" eaLnBrk="1" latinLnBrk="0" hangingPunct="1">
                        <a:defRPr sz="2261" kern="1200">
                          <a:solidFill>
                            <a:schemeClr val="tx1"/>
                          </a:solidFill>
                          <a:latin typeface="Calibri"/>
                        </a:defRPr>
                      </a:lvl6pPr>
                      <a:lvl7pPr marL="3446790" algn="l" defTabSz="1148930" rtl="0" eaLnBrk="1" latinLnBrk="0" hangingPunct="1">
                        <a:defRPr sz="2261" kern="1200">
                          <a:solidFill>
                            <a:schemeClr val="tx1"/>
                          </a:solidFill>
                          <a:latin typeface="Calibri"/>
                        </a:defRPr>
                      </a:lvl7pPr>
                      <a:lvl8pPr marL="4021257" algn="l" defTabSz="1148930" rtl="0" eaLnBrk="1" latinLnBrk="0" hangingPunct="1">
                        <a:defRPr sz="2261" kern="1200">
                          <a:solidFill>
                            <a:schemeClr val="tx1"/>
                          </a:solidFill>
                          <a:latin typeface="Calibri"/>
                        </a:defRPr>
                      </a:lvl8pPr>
                      <a:lvl9pPr marL="4595721" algn="l" defTabSz="1148930" rtl="0" eaLnBrk="1" latinLnBrk="0" hangingPunct="1">
                        <a:defRPr sz="2261" kern="1200">
                          <a:solidFill>
                            <a:schemeClr val="tx1"/>
                          </a:solidFill>
                          <a:latin typeface="Calibri"/>
                        </a:defRPr>
                      </a:lvl9pPr>
                    </a:lstStyle>
                    <a:p>
                      <a:pPr marL="24765" algn="ctr">
                        <a:lnSpc>
                          <a:spcPts val="869"/>
                        </a:lnSpc>
                        <a:spcBef>
                          <a:spcPts val="130"/>
                        </a:spcBef>
                      </a:pPr>
                      <a:r>
                        <a:rPr lang="en-GB" sz="800" spc="-10">
                          <a:solidFill>
                            <a:srgbClr val="FFFFFF"/>
                          </a:solidFill>
                          <a:latin typeface="Arial"/>
                          <a:cs typeface="Arial"/>
                        </a:rPr>
                        <a:t>Ad hoc analysis</a:t>
                      </a:r>
                    </a:p>
                  </a:txBody>
                  <a:tcPr marL="0" marR="0" marT="16510" marB="0">
                    <a:lnL w="19050">
                      <a:solidFill>
                        <a:srgbClr val="808080"/>
                      </a:solidFill>
                      <a:prstDash val="solid"/>
                    </a:lnL>
                    <a:lnR w="19050">
                      <a:solidFill>
                        <a:srgbClr val="808080"/>
                      </a:solidFill>
                      <a:prstDash val="solid"/>
                    </a:lnR>
                    <a:lnT w="19050">
                      <a:solidFill>
                        <a:srgbClr val="808080"/>
                      </a:solidFill>
                      <a:prstDash val="solid"/>
                    </a:lnT>
                    <a:lnB w="19050">
                      <a:solidFill>
                        <a:srgbClr val="808080"/>
                      </a:solidFill>
                      <a:prstDash val="solid"/>
                    </a:lnB>
                    <a:lnTlToBr w="12700" cmpd="sng">
                      <a:noFill/>
                      <a:prstDash val="solid"/>
                    </a:lnTlToBr>
                    <a:lnBlToTr w="12700" cmpd="sng">
                      <a:noFill/>
                      <a:prstDash val="solid"/>
                    </a:lnBlToTr>
                    <a:solidFill>
                      <a:srgbClr val="B3B3B3"/>
                    </a:solidFill>
                  </a:tcPr>
                </a:tc>
                <a:extLst>
                  <a:ext uri="{0D108BD9-81ED-4DB2-BD59-A6C34878D82A}">
                    <a16:rowId xmlns:a16="http://schemas.microsoft.com/office/drawing/2014/main" val="10009"/>
                  </a:ext>
                </a:extLst>
              </a:tr>
            </a:tbl>
          </a:graphicData>
        </a:graphic>
      </p:graphicFrame>
      <p:sp>
        <p:nvSpPr>
          <p:cNvPr id="146" name="object 159">
            <a:extLst>
              <a:ext uri="{FF2B5EF4-FFF2-40B4-BE49-F238E27FC236}">
                <a16:creationId xmlns:a16="http://schemas.microsoft.com/office/drawing/2014/main" id="{CAA8633B-AAD7-4AB9-88B9-268C5E15C0C4}"/>
              </a:ext>
            </a:extLst>
          </p:cNvPr>
          <p:cNvSpPr/>
          <p:nvPr/>
        </p:nvSpPr>
        <p:spPr>
          <a:xfrm>
            <a:off x="7770368" y="6399783"/>
            <a:ext cx="128016" cy="128015"/>
          </a:xfrm>
          <a:prstGeom prst="rect">
            <a:avLst/>
          </a:prstGeom>
          <a:blipFill>
            <a:blip r:embed="rId2"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47" name="object 160">
            <a:extLst>
              <a:ext uri="{FF2B5EF4-FFF2-40B4-BE49-F238E27FC236}">
                <a16:creationId xmlns:a16="http://schemas.microsoft.com/office/drawing/2014/main" id="{11C71386-76FD-4182-A7A3-B25BCC458D03}"/>
              </a:ext>
            </a:extLst>
          </p:cNvPr>
          <p:cNvSpPr/>
          <p:nvPr/>
        </p:nvSpPr>
        <p:spPr>
          <a:xfrm>
            <a:off x="2043176" y="4446015"/>
            <a:ext cx="128016" cy="131064"/>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48" name="object 161">
            <a:extLst>
              <a:ext uri="{FF2B5EF4-FFF2-40B4-BE49-F238E27FC236}">
                <a16:creationId xmlns:a16="http://schemas.microsoft.com/office/drawing/2014/main" id="{65165086-9B50-43DC-8541-003D96F70CCD}"/>
              </a:ext>
            </a:extLst>
          </p:cNvPr>
          <p:cNvSpPr/>
          <p:nvPr/>
        </p:nvSpPr>
        <p:spPr>
          <a:xfrm>
            <a:off x="3643375" y="4397247"/>
            <a:ext cx="128016" cy="131064"/>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49" name="object 163">
            <a:extLst>
              <a:ext uri="{FF2B5EF4-FFF2-40B4-BE49-F238E27FC236}">
                <a16:creationId xmlns:a16="http://schemas.microsoft.com/office/drawing/2014/main" id="{7AE18165-D7D1-4D08-AE43-2D548A7FA0D4}"/>
              </a:ext>
            </a:extLst>
          </p:cNvPr>
          <p:cNvSpPr/>
          <p:nvPr/>
        </p:nvSpPr>
        <p:spPr>
          <a:xfrm>
            <a:off x="9608312" y="2403856"/>
            <a:ext cx="128016" cy="128016"/>
          </a:xfrm>
          <a:prstGeom prst="rect">
            <a:avLst/>
          </a:prstGeom>
          <a:blipFill>
            <a:blip r:embed="rId4"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50" name="object 164">
            <a:extLst>
              <a:ext uri="{FF2B5EF4-FFF2-40B4-BE49-F238E27FC236}">
                <a16:creationId xmlns:a16="http://schemas.microsoft.com/office/drawing/2014/main" id="{76417035-A86D-415D-936D-4DD3FFFC4E1F}"/>
              </a:ext>
            </a:extLst>
          </p:cNvPr>
          <p:cNvSpPr/>
          <p:nvPr/>
        </p:nvSpPr>
        <p:spPr>
          <a:xfrm>
            <a:off x="2067560" y="5229351"/>
            <a:ext cx="128016" cy="131064"/>
          </a:xfrm>
          <a:prstGeom prst="rect">
            <a:avLst/>
          </a:prstGeom>
          <a:blipFill>
            <a:blip r:embed="rId5"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51" name="object 165">
            <a:extLst>
              <a:ext uri="{FF2B5EF4-FFF2-40B4-BE49-F238E27FC236}">
                <a16:creationId xmlns:a16="http://schemas.microsoft.com/office/drawing/2014/main" id="{519E9731-AAC6-43A0-A206-7AE8366BCCDD}"/>
              </a:ext>
            </a:extLst>
          </p:cNvPr>
          <p:cNvSpPr/>
          <p:nvPr/>
        </p:nvSpPr>
        <p:spPr>
          <a:xfrm>
            <a:off x="3558032" y="5229351"/>
            <a:ext cx="128016" cy="131064"/>
          </a:xfrm>
          <a:prstGeom prst="rect">
            <a:avLst/>
          </a:prstGeom>
          <a:blipFill>
            <a:blip r:embed="rId5"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52" name="object 166">
            <a:extLst>
              <a:ext uri="{FF2B5EF4-FFF2-40B4-BE49-F238E27FC236}">
                <a16:creationId xmlns:a16="http://schemas.microsoft.com/office/drawing/2014/main" id="{74A0C1FE-EECE-45ED-9502-F947B7079302}"/>
              </a:ext>
            </a:extLst>
          </p:cNvPr>
          <p:cNvSpPr/>
          <p:nvPr/>
        </p:nvSpPr>
        <p:spPr>
          <a:xfrm>
            <a:off x="5048504" y="5229351"/>
            <a:ext cx="128016" cy="131064"/>
          </a:xfrm>
          <a:prstGeom prst="rect">
            <a:avLst/>
          </a:prstGeom>
          <a:blipFill>
            <a:blip r:embed="rId5"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53" name="object 167">
            <a:extLst>
              <a:ext uri="{FF2B5EF4-FFF2-40B4-BE49-F238E27FC236}">
                <a16:creationId xmlns:a16="http://schemas.microsoft.com/office/drawing/2014/main" id="{5BC2FB26-7ED9-4B52-BDB5-599D4F0E0E51}"/>
              </a:ext>
            </a:extLst>
          </p:cNvPr>
          <p:cNvSpPr/>
          <p:nvPr/>
        </p:nvSpPr>
        <p:spPr>
          <a:xfrm>
            <a:off x="6542024" y="5229351"/>
            <a:ext cx="128016" cy="131064"/>
          </a:xfrm>
          <a:prstGeom prst="rect">
            <a:avLst/>
          </a:prstGeom>
          <a:blipFill>
            <a:blip r:embed="rId6"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54" name="object 168">
            <a:extLst>
              <a:ext uri="{FF2B5EF4-FFF2-40B4-BE49-F238E27FC236}">
                <a16:creationId xmlns:a16="http://schemas.microsoft.com/office/drawing/2014/main" id="{18AD8EFF-2417-4D9C-8F04-CEB83207BD4E}"/>
              </a:ext>
            </a:extLst>
          </p:cNvPr>
          <p:cNvSpPr/>
          <p:nvPr/>
        </p:nvSpPr>
        <p:spPr>
          <a:xfrm>
            <a:off x="8041640" y="5229351"/>
            <a:ext cx="128016" cy="131064"/>
          </a:xfrm>
          <a:prstGeom prst="rect">
            <a:avLst/>
          </a:prstGeom>
          <a:blipFill>
            <a:blip r:embed="rId5"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55" name="object 169">
            <a:extLst>
              <a:ext uri="{FF2B5EF4-FFF2-40B4-BE49-F238E27FC236}">
                <a16:creationId xmlns:a16="http://schemas.microsoft.com/office/drawing/2014/main" id="{257EE657-1144-4724-9B08-913A7E6BD35A}"/>
              </a:ext>
            </a:extLst>
          </p:cNvPr>
          <p:cNvSpPr/>
          <p:nvPr/>
        </p:nvSpPr>
        <p:spPr>
          <a:xfrm>
            <a:off x="9535160" y="5229351"/>
            <a:ext cx="128016" cy="131064"/>
          </a:xfrm>
          <a:prstGeom prst="rect">
            <a:avLst/>
          </a:prstGeom>
          <a:blipFill>
            <a:blip r:embed="rId5" cstate="print"/>
            <a:stretch>
              <a:fillRect/>
            </a:stretch>
          </a:blip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56" name="object 102">
            <a:extLst>
              <a:ext uri="{FF2B5EF4-FFF2-40B4-BE49-F238E27FC236}">
                <a16:creationId xmlns:a16="http://schemas.microsoft.com/office/drawing/2014/main" id="{4CC4D2AC-2B32-4CB9-A52E-9EAF65C22B56}"/>
              </a:ext>
            </a:extLst>
          </p:cNvPr>
          <p:cNvSpPr txBox="1"/>
          <p:nvPr/>
        </p:nvSpPr>
        <p:spPr>
          <a:xfrm>
            <a:off x="8392286" y="3530489"/>
            <a:ext cx="993775" cy="219932"/>
          </a:xfrm>
          <a:prstGeom prst="rect">
            <a:avLst/>
          </a:prstGeom>
          <a:solidFill>
            <a:srgbClr val="B3B3B3"/>
          </a:solidFill>
          <a:ln w="18288">
            <a:solidFill>
              <a:srgbClr val="808080"/>
            </a:solidFill>
          </a:ln>
        </p:spPr>
        <p:txBody>
          <a:bodyPr vert="horz" wrap="square" lIns="0" tIns="95885" rIns="0" bIns="0" rtlCol="0">
            <a:spAutoFit/>
          </a:bodyPr>
          <a:lstStyle/>
          <a:p>
            <a:pPr marL="233045" eaLnBrk="1" fontAlgn="auto" hangingPunct="1">
              <a:spcBef>
                <a:spcPts val="755"/>
              </a:spcBef>
              <a:spcAft>
                <a:spcPts val="0"/>
              </a:spcAft>
            </a:pPr>
            <a:r>
              <a:rPr lang="en-GB" sz="800" spc="-15">
                <a:solidFill>
                  <a:srgbClr val="FFFFFF"/>
                </a:solidFill>
                <a:latin typeface="+mj-lt"/>
                <a:ea typeface="+mn-ea"/>
                <a:cs typeface="Arial"/>
              </a:rPr>
              <a:t>Rules Engine</a:t>
            </a:r>
          </a:p>
        </p:txBody>
      </p:sp>
      <p:sp>
        <p:nvSpPr>
          <p:cNvPr id="157" name="object 49">
            <a:extLst>
              <a:ext uri="{FF2B5EF4-FFF2-40B4-BE49-F238E27FC236}">
                <a16:creationId xmlns:a16="http://schemas.microsoft.com/office/drawing/2014/main" id="{443435D0-7DC3-4D1D-9DEE-949A9D230BCA}"/>
              </a:ext>
            </a:extLst>
          </p:cNvPr>
          <p:cNvSpPr/>
          <p:nvPr/>
        </p:nvSpPr>
        <p:spPr>
          <a:xfrm>
            <a:off x="8246238" y="4020554"/>
            <a:ext cx="1274445" cy="858152"/>
          </a:xfrm>
          <a:custGeom>
            <a:avLst/>
            <a:gdLst/>
            <a:ahLst/>
            <a:cxnLst/>
            <a:rect l="l" t="t" r="r" b="b"/>
            <a:pathLst>
              <a:path w="1274445" h="2529840">
                <a:moveTo>
                  <a:pt x="0" y="2529840"/>
                </a:moveTo>
                <a:lnTo>
                  <a:pt x="1274063" y="2529840"/>
                </a:lnTo>
                <a:lnTo>
                  <a:pt x="1274063" y="0"/>
                </a:lnTo>
                <a:lnTo>
                  <a:pt x="0" y="0"/>
                </a:lnTo>
                <a:lnTo>
                  <a:pt x="0" y="2529840"/>
                </a:lnTo>
                <a:close/>
              </a:path>
            </a:pathLst>
          </a:custGeom>
          <a:solidFill>
            <a:srgbClr val="636363"/>
          </a:solidFill>
        </p:spPr>
        <p:txBody>
          <a:bodyPr wrap="square" lIns="0" tIns="0" rIns="0" bIns="0" rtlCol="0"/>
          <a:lstStyle/>
          <a:p>
            <a:pPr algn="ctr" eaLnBrk="1" fontAlgn="auto" hangingPunct="1">
              <a:spcBef>
                <a:spcPts val="0"/>
              </a:spcBef>
              <a:spcAft>
                <a:spcPts val="0"/>
              </a:spcAft>
            </a:pPr>
            <a:r>
              <a:rPr lang="en-GB" sz="1050" b="1">
                <a:solidFill>
                  <a:prstClr val="white"/>
                </a:solidFill>
                <a:latin typeface="+mj-lt"/>
                <a:ea typeface="+mn-ea"/>
                <a:cs typeface="+mn-cs"/>
              </a:rPr>
              <a:t>Decisioning</a:t>
            </a:r>
          </a:p>
        </p:txBody>
      </p:sp>
      <p:sp>
        <p:nvSpPr>
          <p:cNvPr id="158" name="object 113">
            <a:extLst>
              <a:ext uri="{FF2B5EF4-FFF2-40B4-BE49-F238E27FC236}">
                <a16:creationId xmlns:a16="http://schemas.microsoft.com/office/drawing/2014/main" id="{2F64368D-7CA6-4D20-826C-49602BB1322C}"/>
              </a:ext>
            </a:extLst>
          </p:cNvPr>
          <p:cNvSpPr txBox="1"/>
          <p:nvPr/>
        </p:nvSpPr>
        <p:spPr>
          <a:xfrm>
            <a:off x="789953" y="1847595"/>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Claims</a:t>
            </a:r>
          </a:p>
        </p:txBody>
      </p:sp>
      <p:sp>
        <p:nvSpPr>
          <p:cNvPr id="159" name="object 113">
            <a:extLst>
              <a:ext uri="{FF2B5EF4-FFF2-40B4-BE49-F238E27FC236}">
                <a16:creationId xmlns:a16="http://schemas.microsoft.com/office/drawing/2014/main" id="{28AD01A1-593E-43D2-AF7F-211030DE619F}"/>
              </a:ext>
            </a:extLst>
          </p:cNvPr>
          <p:cNvSpPr txBox="1"/>
          <p:nvPr/>
        </p:nvSpPr>
        <p:spPr>
          <a:xfrm>
            <a:off x="789953" y="2201535"/>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Policy</a:t>
            </a:r>
          </a:p>
        </p:txBody>
      </p:sp>
      <p:sp>
        <p:nvSpPr>
          <p:cNvPr id="160" name="object 113">
            <a:extLst>
              <a:ext uri="{FF2B5EF4-FFF2-40B4-BE49-F238E27FC236}">
                <a16:creationId xmlns:a16="http://schemas.microsoft.com/office/drawing/2014/main" id="{A6591D08-AC7B-450C-9CB1-74AE27A4E5AC}"/>
              </a:ext>
            </a:extLst>
          </p:cNvPr>
          <p:cNvSpPr txBox="1"/>
          <p:nvPr/>
        </p:nvSpPr>
        <p:spPr>
          <a:xfrm>
            <a:off x="789953" y="2555475"/>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Billing</a:t>
            </a:r>
          </a:p>
        </p:txBody>
      </p:sp>
      <p:sp>
        <p:nvSpPr>
          <p:cNvPr id="161" name="object 113">
            <a:extLst>
              <a:ext uri="{FF2B5EF4-FFF2-40B4-BE49-F238E27FC236}">
                <a16:creationId xmlns:a16="http://schemas.microsoft.com/office/drawing/2014/main" id="{2B29AA22-63CA-4317-99E5-4E4A21EF95F6}"/>
              </a:ext>
            </a:extLst>
          </p:cNvPr>
          <p:cNvSpPr txBox="1"/>
          <p:nvPr/>
        </p:nvSpPr>
        <p:spPr>
          <a:xfrm>
            <a:off x="789953" y="2909415"/>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CRM</a:t>
            </a:r>
          </a:p>
        </p:txBody>
      </p:sp>
      <p:sp>
        <p:nvSpPr>
          <p:cNvPr id="162" name="object 113">
            <a:extLst>
              <a:ext uri="{FF2B5EF4-FFF2-40B4-BE49-F238E27FC236}">
                <a16:creationId xmlns:a16="http://schemas.microsoft.com/office/drawing/2014/main" id="{B766BF8F-A11C-4154-AA83-B5D22CA4185F}"/>
              </a:ext>
            </a:extLst>
          </p:cNvPr>
          <p:cNvSpPr txBox="1"/>
          <p:nvPr/>
        </p:nvSpPr>
        <p:spPr>
          <a:xfrm>
            <a:off x="789953" y="3263355"/>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Complaints</a:t>
            </a:r>
          </a:p>
        </p:txBody>
      </p:sp>
      <p:sp>
        <p:nvSpPr>
          <p:cNvPr id="163" name="object 113">
            <a:extLst>
              <a:ext uri="{FF2B5EF4-FFF2-40B4-BE49-F238E27FC236}">
                <a16:creationId xmlns:a16="http://schemas.microsoft.com/office/drawing/2014/main" id="{3AF1CF11-6295-469C-AF6B-FFE564891A14}"/>
              </a:ext>
            </a:extLst>
          </p:cNvPr>
          <p:cNvSpPr txBox="1"/>
          <p:nvPr/>
        </p:nvSpPr>
        <p:spPr>
          <a:xfrm>
            <a:off x="789953" y="4348370"/>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Documents</a:t>
            </a:r>
          </a:p>
        </p:txBody>
      </p:sp>
      <p:sp>
        <p:nvSpPr>
          <p:cNvPr id="164" name="object 113">
            <a:extLst>
              <a:ext uri="{FF2B5EF4-FFF2-40B4-BE49-F238E27FC236}">
                <a16:creationId xmlns:a16="http://schemas.microsoft.com/office/drawing/2014/main" id="{266B17B2-E37B-4594-B279-5D45A2227D38}"/>
              </a:ext>
            </a:extLst>
          </p:cNvPr>
          <p:cNvSpPr txBox="1"/>
          <p:nvPr/>
        </p:nvSpPr>
        <p:spPr>
          <a:xfrm>
            <a:off x="789953" y="4702310"/>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Voice</a:t>
            </a:r>
          </a:p>
        </p:txBody>
      </p:sp>
      <p:sp>
        <p:nvSpPr>
          <p:cNvPr id="165" name="object 113">
            <a:extLst>
              <a:ext uri="{FF2B5EF4-FFF2-40B4-BE49-F238E27FC236}">
                <a16:creationId xmlns:a16="http://schemas.microsoft.com/office/drawing/2014/main" id="{46C7B98F-D7A5-4AD7-BF50-F46942B9CA84}"/>
              </a:ext>
            </a:extLst>
          </p:cNvPr>
          <p:cNvSpPr txBox="1"/>
          <p:nvPr/>
        </p:nvSpPr>
        <p:spPr>
          <a:xfrm>
            <a:off x="789953" y="5056250"/>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Images</a:t>
            </a:r>
          </a:p>
        </p:txBody>
      </p:sp>
      <p:sp>
        <p:nvSpPr>
          <p:cNvPr id="167" name="object 113">
            <a:extLst>
              <a:ext uri="{FF2B5EF4-FFF2-40B4-BE49-F238E27FC236}">
                <a16:creationId xmlns:a16="http://schemas.microsoft.com/office/drawing/2014/main" id="{13A6C21E-C522-4208-A246-94181577F590}"/>
              </a:ext>
            </a:extLst>
          </p:cNvPr>
          <p:cNvSpPr txBox="1"/>
          <p:nvPr/>
        </p:nvSpPr>
        <p:spPr>
          <a:xfrm>
            <a:off x="789953" y="3617295"/>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Finance</a:t>
            </a:r>
          </a:p>
        </p:txBody>
      </p:sp>
      <p:sp>
        <p:nvSpPr>
          <p:cNvPr id="168" name="object 113">
            <a:extLst>
              <a:ext uri="{FF2B5EF4-FFF2-40B4-BE49-F238E27FC236}">
                <a16:creationId xmlns:a16="http://schemas.microsoft.com/office/drawing/2014/main" id="{7AF3A44F-94EB-4187-864A-6A9ABF1C3BB8}"/>
              </a:ext>
            </a:extLst>
          </p:cNvPr>
          <p:cNvSpPr txBox="1"/>
          <p:nvPr/>
        </p:nvSpPr>
        <p:spPr>
          <a:xfrm>
            <a:off x="789953" y="3994430"/>
            <a:ext cx="850596" cy="207749"/>
          </a:xfrm>
          <a:prstGeom prst="rect">
            <a:avLst/>
          </a:prstGeom>
          <a:solidFill>
            <a:srgbClr val="FFE600"/>
          </a:solidFill>
          <a:ln w="18288">
            <a:solidFill>
              <a:srgbClr val="808080"/>
            </a:solidFill>
          </a:ln>
        </p:spPr>
        <p:txBody>
          <a:bodyPr vert="horz" wrap="square" lIns="0" tIns="68580" rIns="0" bIns="0" rtlCol="0">
            <a:spAutoFit/>
          </a:bodyPr>
          <a:lstStyle/>
          <a:p>
            <a:pPr marL="2540" algn="ctr" eaLnBrk="1" fontAlgn="auto" hangingPunct="1">
              <a:spcBef>
                <a:spcPts val="540"/>
              </a:spcBef>
              <a:spcAft>
                <a:spcPts val="0"/>
              </a:spcAft>
            </a:pPr>
            <a:r>
              <a:rPr lang="en-GB" sz="900">
                <a:solidFill>
                  <a:prstClr val="black"/>
                </a:solidFill>
                <a:latin typeface="+mj-lt"/>
                <a:ea typeface="+mn-ea"/>
                <a:cs typeface="Arial"/>
              </a:rPr>
              <a:t>Agency</a:t>
            </a:r>
          </a:p>
        </p:txBody>
      </p:sp>
      <p:sp>
        <p:nvSpPr>
          <p:cNvPr id="171" name="Chevron 26">
            <a:extLst>
              <a:ext uri="{FF2B5EF4-FFF2-40B4-BE49-F238E27FC236}">
                <a16:creationId xmlns:a16="http://schemas.microsoft.com/office/drawing/2014/main" id="{A0D654C7-22A2-44AC-86BA-8DB498058EA9}"/>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a:solidFill>
                  <a:schemeClr val="bg2"/>
                </a:solidFill>
                <a:latin typeface="EYInterstate"/>
                <a:sym typeface="EYInterstate Light" panose="02000506000000020004" pitchFamily="2" charset="0"/>
              </a:rPr>
              <a:t>Framework</a:t>
            </a:r>
          </a:p>
        </p:txBody>
      </p:sp>
      <p:sp>
        <p:nvSpPr>
          <p:cNvPr id="172" name="object 55">
            <a:extLst>
              <a:ext uri="{FF2B5EF4-FFF2-40B4-BE49-F238E27FC236}">
                <a16:creationId xmlns:a16="http://schemas.microsoft.com/office/drawing/2014/main" id="{16EC0506-0A72-42A5-96D9-D1C1B178D2D4}"/>
              </a:ext>
            </a:extLst>
          </p:cNvPr>
          <p:cNvSpPr/>
          <p:nvPr/>
        </p:nvSpPr>
        <p:spPr>
          <a:xfrm>
            <a:off x="8319007" y="4230689"/>
            <a:ext cx="1143000" cy="602804"/>
          </a:xfrm>
          <a:custGeom>
            <a:avLst/>
            <a:gdLst/>
            <a:ahLst/>
            <a:cxnLst/>
            <a:rect l="l" t="t" r="r" b="b"/>
            <a:pathLst>
              <a:path w="1143000" h="1938654">
                <a:moveTo>
                  <a:pt x="0" y="1938528"/>
                </a:moveTo>
                <a:lnTo>
                  <a:pt x="1143000" y="1938528"/>
                </a:lnTo>
                <a:lnTo>
                  <a:pt x="1143000" y="0"/>
                </a:lnTo>
                <a:lnTo>
                  <a:pt x="0" y="0"/>
                </a:lnTo>
                <a:lnTo>
                  <a:pt x="0" y="1938528"/>
                </a:lnTo>
                <a:close/>
              </a:path>
            </a:pathLst>
          </a:custGeom>
          <a:solidFill>
            <a:srgbClr val="FFFFFF"/>
          </a:solidFill>
        </p:spPr>
        <p:txBody>
          <a:bodyPr wrap="square" lIns="0" tIns="0" rIns="0" bIns="0" rtlCol="0"/>
          <a:lstStyle/>
          <a:p>
            <a:pPr eaLnBrk="1" fontAlgn="auto" hangingPunct="1">
              <a:spcBef>
                <a:spcPts val="0"/>
              </a:spcBef>
              <a:spcAft>
                <a:spcPts val="0"/>
              </a:spcAft>
            </a:pPr>
            <a:endParaRPr lang="en-US">
              <a:solidFill>
                <a:prstClr val="black"/>
              </a:solidFill>
              <a:latin typeface="+mj-lt"/>
              <a:ea typeface="+mn-ea"/>
              <a:cs typeface="+mn-cs"/>
            </a:endParaRPr>
          </a:p>
        </p:txBody>
      </p:sp>
      <p:sp>
        <p:nvSpPr>
          <p:cNvPr id="173" name="object 58">
            <a:extLst>
              <a:ext uri="{FF2B5EF4-FFF2-40B4-BE49-F238E27FC236}">
                <a16:creationId xmlns:a16="http://schemas.microsoft.com/office/drawing/2014/main" id="{8E67AC6B-5F8B-44CD-8BFF-378768BFBC41}"/>
              </a:ext>
            </a:extLst>
          </p:cNvPr>
          <p:cNvSpPr txBox="1"/>
          <p:nvPr/>
        </p:nvSpPr>
        <p:spPr>
          <a:xfrm>
            <a:off x="8392286" y="4296677"/>
            <a:ext cx="993775" cy="221214"/>
          </a:xfrm>
          <a:prstGeom prst="rect">
            <a:avLst/>
          </a:prstGeom>
          <a:solidFill>
            <a:srgbClr val="B3B3B3"/>
          </a:solidFill>
          <a:ln w="18288">
            <a:solidFill>
              <a:srgbClr val="808080"/>
            </a:solidFill>
          </a:ln>
        </p:spPr>
        <p:txBody>
          <a:bodyPr vert="horz" wrap="square" lIns="0" tIns="97155" rIns="0" bIns="0" rtlCol="0">
            <a:spAutoFit/>
          </a:bodyPr>
          <a:lstStyle/>
          <a:p>
            <a:pPr marL="150495" eaLnBrk="1" fontAlgn="auto" hangingPunct="1">
              <a:spcBef>
                <a:spcPts val="765"/>
              </a:spcBef>
              <a:spcAft>
                <a:spcPts val="0"/>
              </a:spcAft>
            </a:pPr>
            <a:r>
              <a:rPr lang="en-US" sz="800" spc="-15">
                <a:solidFill>
                  <a:srgbClr val="FFFFFF"/>
                </a:solidFill>
                <a:latin typeface="+mj-lt"/>
                <a:ea typeface="+mn-ea"/>
                <a:cs typeface="Arial"/>
              </a:rPr>
              <a:t>Semantic</a:t>
            </a:r>
            <a:r>
              <a:rPr lang="en-US" sz="800" spc="100">
                <a:solidFill>
                  <a:srgbClr val="FFFFFF"/>
                </a:solidFill>
                <a:latin typeface="+mj-lt"/>
                <a:ea typeface="+mn-ea"/>
                <a:cs typeface="Arial"/>
              </a:rPr>
              <a:t> </a:t>
            </a:r>
            <a:r>
              <a:rPr lang="en-US" sz="800" spc="-25">
                <a:solidFill>
                  <a:srgbClr val="FFFFFF"/>
                </a:solidFill>
                <a:latin typeface="+mj-lt"/>
                <a:ea typeface="+mn-ea"/>
                <a:cs typeface="Arial"/>
              </a:rPr>
              <a:t>Layer</a:t>
            </a:r>
            <a:endParaRPr lang="en-US" sz="800">
              <a:solidFill>
                <a:prstClr val="black"/>
              </a:solidFill>
              <a:latin typeface="+mj-lt"/>
              <a:ea typeface="+mn-ea"/>
              <a:cs typeface="Arial"/>
            </a:endParaRPr>
          </a:p>
        </p:txBody>
      </p:sp>
      <p:sp>
        <p:nvSpPr>
          <p:cNvPr id="174" name="object 58">
            <a:extLst>
              <a:ext uri="{FF2B5EF4-FFF2-40B4-BE49-F238E27FC236}">
                <a16:creationId xmlns:a16="http://schemas.microsoft.com/office/drawing/2014/main" id="{9C72AC0F-6E2C-4792-AE86-FC9452B880C4}"/>
              </a:ext>
            </a:extLst>
          </p:cNvPr>
          <p:cNvSpPr txBox="1"/>
          <p:nvPr/>
        </p:nvSpPr>
        <p:spPr>
          <a:xfrm>
            <a:off x="8362790" y="4573112"/>
            <a:ext cx="1069721" cy="221214"/>
          </a:xfrm>
          <a:prstGeom prst="rect">
            <a:avLst/>
          </a:prstGeom>
          <a:solidFill>
            <a:srgbClr val="B3B3B3"/>
          </a:solidFill>
          <a:ln w="18288">
            <a:solidFill>
              <a:srgbClr val="808080"/>
            </a:solidFill>
          </a:ln>
        </p:spPr>
        <p:txBody>
          <a:bodyPr vert="horz" wrap="square" lIns="0" tIns="97155" rIns="0" bIns="0" rtlCol="0">
            <a:spAutoFit/>
          </a:bodyPr>
          <a:lstStyle/>
          <a:p>
            <a:pPr marL="150495" eaLnBrk="1" fontAlgn="auto" hangingPunct="1">
              <a:spcBef>
                <a:spcPts val="765"/>
              </a:spcBef>
              <a:spcAft>
                <a:spcPts val="0"/>
              </a:spcAft>
            </a:pPr>
            <a:r>
              <a:rPr lang="en-US" sz="800" spc="-15">
                <a:solidFill>
                  <a:srgbClr val="FFFFFF"/>
                </a:solidFill>
                <a:latin typeface="+mj-lt"/>
                <a:ea typeface="+mn-ea"/>
                <a:cs typeface="Arial"/>
              </a:rPr>
              <a:t>Decision Repository</a:t>
            </a:r>
            <a:endParaRPr lang="en-US" sz="800">
              <a:solidFill>
                <a:prstClr val="black"/>
              </a:solidFill>
              <a:latin typeface="+mj-lt"/>
              <a:ea typeface="+mn-ea"/>
              <a:cs typeface="Arial"/>
            </a:endParaRPr>
          </a:p>
        </p:txBody>
      </p:sp>
    </p:spTree>
    <p:extLst>
      <p:ext uri="{BB962C8B-B14F-4D97-AF65-F5344CB8AC3E}">
        <p14:creationId xmlns:p14="http://schemas.microsoft.com/office/powerpoint/2010/main" val="903727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able, sitting, computer, keyboard&#10;&#10;Description automatically generated">
            <a:extLst>
              <a:ext uri="{FF2B5EF4-FFF2-40B4-BE49-F238E27FC236}">
                <a16:creationId xmlns:a16="http://schemas.microsoft.com/office/drawing/2014/main" id="{A1DCF3DA-B32D-B34D-BFD5-320B7586E764}"/>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72000"/>
                    </a14:imgEffect>
                  </a14:imgLayer>
                </a14:imgProps>
              </a:ext>
              <a:ext uri="{28A0092B-C50C-407E-A947-70E740481C1C}">
                <a14:useLocalDpi xmlns:a14="http://schemas.microsoft.com/office/drawing/2010/main"/>
              </a:ext>
            </a:extLst>
          </a:blip>
          <a:srcRect/>
          <a:stretch/>
        </p:blipFill>
        <p:spPr>
          <a:xfrm rot="5400000">
            <a:off x="-524512" y="524014"/>
            <a:ext cx="6857999" cy="5809977"/>
          </a:xfrm>
          <a:prstGeom prst="rect">
            <a:avLst/>
          </a:prstGeom>
        </p:spPr>
      </p:pic>
      <p:sp>
        <p:nvSpPr>
          <p:cNvPr id="9" name="Rectangle 7">
            <a:extLst>
              <a:ext uri="{FF2B5EF4-FFF2-40B4-BE49-F238E27FC236}">
                <a16:creationId xmlns:a16="http://schemas.microsoft.com/office/drawing/2014/main" id="{E5CED8EE-120E-9048-959F-B5D258001A7B}"/>
              </a:ext>
            </a:extLst>
          </p:cNvPr>
          <p:cNvSpPr txBox="1"/>
          <p:nvPr/>
        </p:nvSpPr>
        <p:spPr>
          <a:xfrm>
            <a:off x="708149" y="2189680"/>
            <a:ext cx="3977281" cy="538737"/>
          </a:xfrm>
          <a:prstGeom prst="rect">
            <a:avLst/>
          </a:prstGeom>
          <a:ln w="12700">
            <a:miter lim="400000"/>
          </a:ln>
          <a:extLst>
            <a:ext uri="{C572A759-6A51-4108-AA02-DFA0A04FC94B}">
              <ma14:wrappingTextBoxFlag xmlns:ma14="http://schemas.microsoft.com/office/mac/drawingml/2011/main" xmlns="" val="1"/>
            </a:ext>
          </a:extLst>
        </p:spPr>
        <p:txBody>
          <a:bodyPr wrap="square" lIns="45717" rIns="45717" anchor="ctr">
            <a:spAutoFit/>
          </a:bodyPr>
          <a:lstStyle/>
          <a:p>
            <a:pPr defTabSz="457152" eaLnBrk="1" fontAlgn="auto" hangingPunct="1">
              <a:spcBef>
                <a:spcPts val="0"/>
              </a:spcBef>
              <a:spcAft>
                <a:spcPts val="0"/>
              </a:spcAft>
              <a:defRPr sz="4400">
                <a:solidFill>
                  <a:srgbClr val="333333"/>
                </a:solidFill>
                <a:latin typeface="EYInterstate Regular"/>
                <a:ea typeface="EYInterstate Regular"/>
                <a:cs typeface="EYInterstate Regular"/>
                <a:sym typeface="EYInterstate Regular"/>
              </a:defRPr>
            </a:pPr>
            <a:r>
              <a:rPr lang="en-US" sz="2901" dirty="0">
                <a:solidFill>
                  <a:srgbClr val="FFE600"/>
                </a:solidFill>
                <a:latin typeface="EYInterstate Light"/>
                <a:sym typeface="EYInterstate Regular"/>
              </a:rPr>
              <a:t>EY Advantages</a:t>
            </a:r>
          </a:p>
        </p:txBody>
      </p:sp>
      <p:sp>
        <p:nvSpPr>
          <p:cNvPr id="11" name="TextBox 10">
            <a:extLst>
              <a:ext uri="{FF2B5EF4-FFF2-40B4-BE49-F238E27FC236}">
                <a16:creationId xmlns:a16="http://schemas.microsoft.com/office/drawing/2014/main" id="{FB0E47A8-8FC0-8A41-8CCC-F2A1A56B3930}"/>
              </a:ext>
            </a:extLst>
          </p:cNvPr>
          <p:cNvSpPr txBox="1"/>
          <p:nvPr/>
        </p:nvSpPr>
        <p:spPr>
          <a:xfrm>
            <a:off x="800696" y="3857033"/>
            <a:ext cx="3884733" cy="25898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defTabSz="914370" eaLnBrk="1" fontAlgn="auto" hangingPunct="1">
              <a:lnSpc>
                <a:spcPct val="150000"/>
              </a:lnSpc>
              <a:spcBef>
                <a:spcPts val="0"/>
              </a:spcBef>
              <a:spcAft>
                <a:spcPts val="544"/>
              </a:spcAft>
              <a:buClr>
                <a:srgbClr val="27ACAA"/>
              </a:buClr>
              <a:buSzPct val="70000"/>
              <a:defRPr/>
            </a:pPr>
            <a:endParaRPr lang="en-US" sz="1270" dirty="0">
              <a:solidFill>
                <a:prstClr val="white"/>
              </a:solidFill>
              <a:latin typeface="EYInterstate Light"/>
              <a:ea typeface="+mn-ea"/>
              <a:cs typeface="+mn-cs"/>
            </a:endParaRPr>
          </a:p>
        </p:txBody>
      </p:sp>
      <p:sp>
        <p:nvSpPr>
          <p:cNvPr id="10" name="Title 4">
            <a:extLst>
              <a:ext uri="{FF2B5EF4-FFF2-40B4-BE49-F238E27FC236}">
                <a16:creationId xmlns:a16="http://schemas.microsoft.com/office/drawing/2014/main" id="{48FA4CFD-DC0C-4F7F-BA27-79AC7E1CE2A3}"/>
              </a:ext>
            </a:extLst>
          </p:cNvPr>
          <p:cNvSpPr txBox="1">
            <a:spLocks/>
          </p:cNvSpPr>
          <p:nvPr/>
        </p:nvSpPr>
        <p:spPr>
          <a:xfrm>
            <a:off x="612991" y="530258"/>
            <a:ext cx="10972368" cy="369100"/>
          </a:xfrm>
          <a:prstGeom prst="rect">
            <a:avLst/>
          </a:prstGeom>
        </p:spPr>
        <p:txBody>
          <a:bodyPr/>
          <a:lstStyle>
            <a:lvl1pPr algn="l" defTabSz="1007805" rtl="0" eaLnBrk="1" latinLnBrk="0" hangingPunct="1">
              <a:lnSpc>
                <a:spcPct val="85000"/>
              </a:lnSpc>
              <a:spcBef>
                <a:spcPct val="0"/>
              </a:spcBef>
              <a:buNone/>
              <a:defRPr sz="2645" b="0" kern="1200">
                <a:solidFill>
                  <a:schemeClr val="bg1"/>
                </a:solidFill>
                <a:latin typeface="EYInterstate Light" panose="02000506000000020004" pitchFamily="2" charset="0"/>
                <a:ea typeface="+mj-ea"/>
                <a:cs typeface="Arial" pitchFamily="34" charset="0"/>
              </a:defRPr>
            </a:lvl1pPr>
          </a:lstStyle>
          <a:p>
            <a:pPr defTabSz="1007772" fontAlgn="auto">
              <a:spcAft>
                <a:spcPts val="0"/>
              </a:spcAft>
              <a:defRPr/>
            </a:pPr>
            <a:r>
              <a:rPr lang="en-AU" sz="2398" dirty="0">
                <a:solidFill>
                  <a:prstClr val="white"/>
                </a:solidFill>
              </a:rPr>
              <a:t>Executive Summary</a:t>
            </a:r>
          </a:p>
        </p:txBody>
      </p:sp>
      <p:graphicFrame>
        <p:nvGraphicFramePr>
          <p:cNvPr id="24" name="Table 23">
            <a:extLst>
              <a:ext uri="{FF2B5EF4-FFF2-40B4-BE49-F238E27FC236}">
                <a16:creationId xmlns:a16="http://schemas.microsoft.com/office/drawing/2014/main" id="{96B45B4A-1C1F-46B4-97EC-C256A42FAED1}"/>
              </a:ext>
            </a:extLst>
          </p:cNvPr>
          <p:cNvGraphicFramePr>
            <a:graphicFrameLocks noGrp="1"/>
          </p:cNvGraphicFramePr>
          <p:nvPr>
            <p:extLst>
              <p:ext uri="{D42A27DB-BD31-4B8C-83A1-F6EECF244321}">
                <p14:modId xmlns:p14="http://schemas.microsoft.com/office/powerpoint/2010/main" val="665050622"/>
              </p:ext>
            </p:extLst>
          </p:nvPr>
        </p:nvGraphicFramePr>
        <p:xfrm>
          <a:off x="6116498" y="148035"/>
          <a:ext cx="5897162" cy="6202336"/>
        </p:xfrm>
        <a:graphic>
          <a:graphicData uri="http://schemas.openxmlformats.org/drawingml/2006/table">
            <a:tbl>
              <a:tblPr firstRow="1" bandRow="1">
                <a:tableStyleId>{5C22544A-7EE6-4342-B048-85BDC9FD1C3A}</a:tableStyleId>
              </a:tblPr>
              <a:tblGrid>
                <a:gridCol w="714217">
                  <a:extLst>
                    <a:ext uri="{9D8B030D-6E8A-4147-A177-3AD203B41FA5}">
                      <a16:colId xmlns:a16="http://schemas.microsoft.com/office/drawing/2014/main" val="284332728"/>
                    </a:ext>
                  </a:extLst>
                </a:gridCol>
                <a:gridCol w="5182945">
                  <a:extLst>
                    <a:ext uri="{9D8B030D-6E8A-4147-A177-3AD203B41FA5}">
                      <a16:colId xmlns:a16="http://schemas.microsoft.com/office/drawing/2014/main" val="3719937613"/>
                    </a:ext>
                  </a:extLst>
                </a:gridCol>
              </a:tblGrid>
              <a:tr h="1115784">
                <a:tc>
                  <a:txBody>
                    <a:bodyPr/>
                    <a:lstStyle/>
                    <a:p>
                      <a:pPr>
                        <a:lnSpc>
                          <a:spcPct val="150000"/>
                        </a:lnSpc>
                      </a:pPr>
                      <a:endParaRPr lang="en-US" sz="1300" dirty="0">
                        <a:latin typeface="+mn-lt"/>
                      </a:endParaRP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50000"/>
                        </a:lnSpc>
                      </a:pPr>
                      <a:r>
                        <a:rPr lang="en-US" sz="1300" dirty="0">
                          <a:solidFill>
                            <a:schemeClr val="tx2"/>
                          </a:solidFill>
                          <a:latin typeface="+mn-lt"/>
                        </a:rPr>
                        <a:t>Client centricity </a:t>
                      </a:r>
                    </a:p>
                    <a:p>
                      <a:pPr algn="l">
                        <a:lnSpc>
                          <a:spcPct val="100000"/>
                        </a:lnSpc>
                      </a:pPr>
                      <a:r>
                        <a:rPr kumimoji="0" lang="en-US" sz="1300" b="0" i="0" u="none" strike="noStrike" kern="1200" cap="none" spc="0" normalizeH="0" baseline="0" noProof="0" dirty="0">
                          <a:ln>
                            <a:noFill/>
                          </a:ln>
                          <a:solidFill>
                            <a:srgbClr val="2E2E38">
                              <a:lumMod val="20000"/>
                              <a:lumOff val="80000"/>
                            </a:srgbClr>
                          </a:solidFill>
                          <a:effectLst/>
                          <a:uLnTx/>
                          <a:uFillTx/>
                          <a:latin typeface="+mn-lt"/>
                          <a:ea typeface="+mn-ea"/>
                          <a:cs typeface="+mn-cs"/>
                        </a:rPr>
                        <a:t>AIA is designated as one of top global priority accounts. The status is a tangible recognition of AIA’s importance and our ability to bring the right people and skills from across the globe to AIA Thailand. </a:t>
                      </a:r>
                      <a:endParaRPr lang="en-US" sz="1300" b="0" dirty="0">
                        <a:solidFill>
                          <a:schemeClr val="tx1">
                            <a:lumMod val="20000"/>
                            <a:lumOff val="80000"/>
                          </a:schemeClr>
                        </a:solidFill>
                        <a:latin typeface="+mn-lt"/>
                      </a:endParaRP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7658902"/>
                  </a:ext>
                </a:extLst>
              </a:tr>
              <a:tr h="1304308">
                <a:tc>
                  <a:txBody>
                    <a:bodyPr/>
                    <a:lstStyle/>
                    <a:p>
                      <a:pPr>
                        <a:lnSpc>
                          <a:spcPct val="150000"/>
                        </a:lnSpc>
                      </a:pPr>
                      <a:endParaRPr lang="en-US" sz="1300" dirty="0">
                        <a:latin typeface="+mn-lt"/>
                      </a:endParaRP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007805" rtl="0" eaLnBrk="1" latinLnBrk="0" hangingPunct="1">
                        <a:lnSpc>
                          <a:spcPct val="150000"/>
                        </a:lnSpc>
                      </a:pPr>
                      <a:r>
                        <a:rPr lang="en-US" sz="1300" b="1" kern="1200" dirty="0">
                          <a:solidFill>
                            <a:schemeClr val="tx2"/>
                          </a:solidFill>
                          <a:latin typeface="+mn-lt"/>
                          <a:ea typeface="+mn-ea"/>
                          <a:cs typeface="+mn-cs"/>
                        </a:rPr>
                        <a:t>Familiarity with AIA Data  &amp; Cloud</a:t>
                      </a:r>
                    </a:p>
                    <a:p>
                      <a:pPr marL="0" algn="l" defTabSz="1007805" rtl="0" eaLnBrk="1" latinLnBrk="0" hangingPunct="1">
                        <a:lnSpc>
                          <a:spcPct val="100000"/>
                        </a:lnSpc>
                      </a:pPr>
                      <a:r>
                        <a:rPr lang="en-US" sz="1300" dirty="0">
                          <a:solidFill>
                            <a:schemeClr val="tx1">
                              <a:lumMod val="20000"/>
                              <a:lumOff val="80000"/>
                            </a:schemeClr>
                          </a:solidFill>
                          <a:latin typeface="+mn-lt"/>
                        </a:rPr>
                        <a:t>We have collaborated in designing Cloud-based Data &amp; Analytics Platform and Cloud Strategy under TDA initiatives for AIA Group and AIA HK. We will leverage our relevant experience and learnings from working on </a:t>
                      </a:r>
                      <a:r>
                        <a:rPr lang="en-US" sz="1300" kern="1200" dirty="0">
                          <a:solidFill>
                            <a:schemeClr val="tx1">
                              <a:lumMod val="20000"/>
                              <a:lumOff val="80000"/>
                            </a:schemeClr>
                          </a:solidFill>
                          <a:latin typeface="+mn-lt"/>
                          <a:ea typeface="+mn-ea"/>
                          <a:cs typeface="+mn-cs"/>
                        </a:rPr>
                        <a:t>multiple AIA initiatives at the group and business entities around the world. </a:t>
                      </a:r>
                      <a:endParaRPr lang="en-US" sz="1300" dirty="0">
                        <a:solidFill>
                          <a:schemeClr val="tx1">
                            <a:lumMod val="20000"/>
                            <a:lumOff val="80000"/>
                          </a:schemeClr>
                        </a:solidFill>
                        <a:latin typeface="+mn-lt"/>
                      </a:endParaRP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9833086"/>
                  </a:ext>
                </a:extLst>
              </a:tr>
              <a:tr h="1304308">
                <a:tc>
                  <a:txBody>
                    <a:bodyPr/>
                    <a:lstStyle/>
                    <a:p>
                      <a:pPr>
                        <a:lnSpc>
                          <a:spcPct val="150000"/>
                        </a:lnSpc>
                      </a:pPr>
                      <a:endParaRPr lang="en-US" sz="1300" dirty="0">
                        <a:latin typeface="+mn-lt"/>
                      </a:endParaRP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007805" rtl="0" eaLnBrk="1" latinLnBrk="0" hangingPunct="1">
                        <a:lnSpc>
                          <a:spcPct val="150000"/>
                        </a:lnSpc>
                      </a:pPr>
                      <a:r>
                        <a:rPr lang="en-US" sz="1300" b="1" kern="1200" dirty="0">
                          <a:solidFill>
                            <a:schemeClr val="tx2"/>
                          </a:solidFill>
                          <a:latin typeface="+mn-lt"/>
                          <a:ea typeface="+mn-ea"/>
                          <a:cs typeface="+mn-cs"/>
                        </a:rPr>
                        <a:t>EY &amp; Microsoft alliance</a:t>
                      </a:r>
                    </a:p>
                    <a:p>
                      <a:pPr marL="0" algn="l" defTabSz="1007805" rtl="0" eaLnBrk="1" latinLnBrk="0" hangingPunct="1">
                        <a:lnSpc>
                          <a:spcPct val="100000"/>
                        </a:lnSpc>
                      </a:pPr>
                      <a:r>
                        <a:rPr lang="en-US" sz="1300" dirty="0">
                          <a:solidFill>
                            <a:schemeClr val="tx1">
                              <a:lumMod val="20000"/>
                              <a:lumOff val="80000"/>
                            </a:schemeClr>
                          </a:solidFill>
                          <a:latin typeface="+mn-lt"/>
                        </a:rPr>
                        <a:t>EY has been awarded as global advisory services partner for Microsoft. This means we are able to work with Microsoft leaders, architects and top talent to validate our design &amp; approach. We have also delivered Microsoft services at AIA around Cloud migration for data &amp; applications and MS Dynamics.</a:t>
                      </a: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0520931"/>
                  </a:ext>
                </a:extLst>
              </a:tr>
              <a:tr h="1115784">
                <a:tc>
                  <a:txBody>
                    <a:bodyPr/>
                    <a:lstStyle/>
                    <a:p>
                      <a:pPr>
                        <a:lnSpc>
                          <a:spcPct val="150000"/>
                        </a:lnSpc>
                      </a:pPr>
                      <a:endParaRPr lang="en-US" sz="1300" dirty="0">
                        <a:latin typeface="+mn-lt"/>
                      </a:endParaRP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805" rtl="0" eaLnBrk="1" fontAlgn="auto" latinLnBrk="0" hangingPunct="1">
                        <a:lnSpc>
                          <a:spcPct val="150000"/>
                        </a:lnSpc>
                        <a:spcBef>
                          <a:spcPts val="0"/>
                        </a:spcBef>
                        <a:spcAft>
                          <a:spcPts val="0"/>
                        </a:spcAft>
                        <a:buClrTx/>
                        <a:buSzTx/>
                        <a:buFontTx/>
                        <a:buNone/>
                        <a:tabLst/>
                        <a:defRPr/>
                      </a:pPr>
                      <a:r>
                        <a:rPr lang="en-US" sz="1300" b="1" kern="1200" dirty="0">
                          <a:solidFill>
                            <a:schemeClr val="tx2"/>
                          </a:solidFill>
                          <a:latin typeface="+mn-lt"/>
                          <a:ea typeface="+mn-ea"/>
                          <a:cs typeface="+mn-cs"/>
                        </a:rPr>
                        <a:t>EY Data Science &amp; Data Management Platform</a:t>
                      </a:r>
                    </a:p>
                    <a:p>
                      <a:pPr marL="0" marR="0" lvl="0" indent="0" algn="l" defTabSz="1007805"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E2E38">
                              <a:lumMod val="20000"/>
                              <a:lumOff val="80000"/>
                            </a:srgbClr>
                          </a:solidFill>
                          <a:effectLst/>
                          <a:uLnTx/>
                          <a:uFillTx/>
                          <a:latin typeface="+mn-lt"/>
                          <a:ea typeface="+mn-ea"/>
                          <a:cs typeface="+mn-cs"/>
                        </a:rPr>
                        <a:t>We have worked in numerous data management platform engagements in APAC. We will bring in SMRs and utilize EY’s existing frameworks, methodologies and accelerators for data platform in our project with AIA Thailand.</a:t>
                      </a: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878953"/>
                  </a:ext>
                </a:extLst>
              </a:tr>
              <a:tr h="1115784">
                <a:tc>
                  <a:txBody>
                    <a:bodyPr/>
                    <a:lstStyle/>
                    <a:p>
                      <a:pPr>
                        <a:lnSpc>
                          <a:spcPct val="150000"/>
                        </a:lnSpc>
                      </a:pPr>
                      <a:endParaRPr lang="en-US" sz="1300" dirty="0">
                        <a:latin typeface="+mn-lt"/>
                      </a:endParaRP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805" rtl="0" eaLnBrk="1" fontAlgn="auto" latinLnBrk="0" hangingPunct="1">
                        <a:lnSpc>
                          <a:spcPct val="150000"/>
                        </a:lnSpc>
                        <a:spcBef>
                          <a:spcPts val="0"/>
                        </a:spcBef>
                        <a:spcAft>
                          <a:spcPts val="0"/>
                        </a:spcAft>
                        <a:buClrTx/>
                        <a:buSzTx/>
                        <a:buFontTx/>
                        <a:buNone/>
                        <a:tabLst/>
                        <a:defRPr/>
                      </a:pPr>
                      <a:r>
                        <a:rPr lang="en-US" sz="1300" b="1" kern="1200" dirty="0">
                          <a:solidFill>
                            <a:schemeClr val="tx2"/>
                          </a:solidFill>
                          <a:latin typeface="+mn-lt"/>
                          <a:ea typeface="+mn-ea"/>
                          <a:cs typeface="+mn-cs"/>
                        </a:rPr>
                        <a:t>Team of data and analytics specialist</a:t>
                      </a:r>
                    </a:p>
                    <a:p>
                      <a:pPr marL="0" marR="0" lvl="0" indent="0" algn="l" defTabSz="1007805"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E2E38">
                              <a:lumMod val="20000"/>
                              <a:lumOff val="80000"/>
                            </a:srgbClr>
                          </a:solidFill>
                          <a:effectLst/>
                          <a:uLnTx/>
                          <a:uFillTx/>
                          <a:latin typeface="+mn-lt"/>
                          <a:ea typeface="+mn-ea"/>
                          <a:cs typeface="+mn-cs"/>
                        </a:rPr>
                        <a:t>Our team consists of members with multi-disciplinary background. Not only we will engage those with strong data analytics experience, but we will also bring those with good understanding in insurance business in Thailand.</a:t>
                      </a:r>
                    </a:p>
                  </a:txBody>
                  <a:tcPr marL="82918" marR="82918" marT="41459" marB="4145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189745"/>
                  </a:ext>
                </a:extLst>
              </a:tr>
            </a:tbl>
          </a:graphicData>
        </a:graphic>
      </p:graphicFrame>
      <p:pic>
        <p:nvPicPr>
          <p:cNvPr id="25" name="Graphic 24" descr="Handshake">
            <a:extLst>
              <a:ext uri="{FF2B5EF4-FFF2-40B4-BE49-F238E27FC236}">
                <a16:creationId xmlns:a16="http://schemas.microsoft.com/office/drawing/2014/main" id="{B85AF5A8-B462-4A95-90E3-5A62F81A964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78162" y="1495642"/>
            <a:ext cx="769074" cy="769074"/>
          </a:xfrm>
          <a:prstGeom prst="rect">
            <a:avLst/>
          </a:prstGeom>
        </p:spPr>
      </p:pic>
      <p:pic>
        <p:nvPicPr>
          <p:cNvPr id="34" name="Graphic 33" descr="Target">
            <a:extLst>
              <a:ext uri="{FF2B5EF4-FFF2-40B4-BE49-F238E27FC236}">
                <a16:creationId xmlns:a16="http://schemas.microsoft.com/office/drawing/2014/main" id="{D2A09331-EF41-4F15-9617-685B4BAB44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30959" y="257775"/>
            <a:ext cx="663483" cy="663483"/>
          </a:xfrm>
          <a:prstGeom prst="rect">
            <a:avLst/>
          </a:prstGeom>
        </p:spPr>
      </p:pic>
      <p:pic>
        <p:nvPicPr>
          <p:cNvPr id="35" name="Graphic 34">
            <a:extLst>
              <a:ext uri="{FF2B5EF4-FFF2-40B4-BE49-F238E27FC236}">
                <a16:creationId xmlns:a16="http://schemas.microsoft.com/office/drawing/2014/main" id="{63806EC4-5F91-4793-885A-A27B8916F67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13893" y="5209658"/>
            <a:ext cx="580547" cy="580547"/>
          </a:xfrm>
          <a:prstGeom prst="rect">
            <a:avLst/>
          </a:prstGeom>
        </p:spPr>
      </p:pic>
      <p:pic>
        <p:nvPicPr>
          <p:cNvPr id="36" name="Graphic 35">
            <a:extLst>
              <a:ext uri="{FF2B5EF4-FFF2-40B4-BE49-F238E27FC236}">
                <a16:creationId xmlns:a16="http://schemas.microsoft.com/office/drawing/2014/main" id="{2757E3DD-9B69-4330-AC6E-D48EA84A8E3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13893" y="2822531"/>
            <a:ext cx="580547" cy="580547"/>
          </a:xfrm>
          <a:prstGeom prst="rect">
            <a:avLst/>
          </a:prstGeom>
        </p:spPr>
      </p:pic>
      <p:pic>
        <p:nvPicPr>
          <p:cNvPr id="37" name="Graphic 36">
            <a:extLst>
              <a:ext uri="{FF2B5EF4-FFF2-40B4-BE49-F238E27FC236}">
                <a16:creationId xmlns:a16="http://schemas.microsoft.com/office/drawing/2014/main" id="{50DEA560-1EAD-4244-9068-9E72C315C15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18467" y="4020065"/>
            <a:ext cx="580547" cy="580547"/>
          </a:xfrm>
          <a:prstGeom prst="rect">
            <a:avLst/>
          </a:prstGeom>
        </p:spPr>
      </p:pic>
    </p:spTree>
    <p:extLst>
      <p:ext uri="{BB962C8B-B14F-4D97-AF65-F5344CB8AC3E}">
        <p14:creationId xmlns:p14="http://schemas.microsoft.com/office/powerpoint/2010/main" val="16954475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26313"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969877" cy="672625"/>
          </a:xfrm>
        </p:spPr>
        <p:txBody>
          <a:bodyPr vert="horz" lIns="0" tIns="0" rIns="0" bIns="0" rtlCol="0" anchor="t" anchorCtr="0">
            <a:noAutofit/>
          </a:bodyPr>
          <a:lstStyle/>
          <a:p>
            <a:r>
              <a:rPr lang="en-US" sz="2180"/>
              <a:t>We will assess AIAT’s current Data Platform capabilities &amp; standards across different domains against our framework to come up with a Gap Analysis</a:t>
            </a:r>
          </a:p>
        </p:txBody>
      </p:sp>
      <p:sp>
        <p:nvSpPr>
          <p:cNvPr id="146" name="TextBox 145">
            <a:extLst>
              <a:ext uri="{FF2B5EF4-FFF2-40B4-BE49-F238E27FC236}">
                <a16:creationId xmlns:a16="http://schemas.microsoft.com/office/drawing/2014/main" id="{5E5B7301-E0D7-43A1-8033-79E59BB59102}"/>
              </a:ext>
            </a:extLst>
          </p:cNvPr>
          <p:cNvSpPr txBox="1"/>
          <p:nvPr/>
        </p:nvSpPr>
        <p:spPr>
          <a:xfrm>
            <a:off x="849093" y="1257485"/>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Inputs</a:t>
            </a:r>
          </a:p>
        </p:txBody>
      </p:sp>
      <p:sp>
        <p:nvSpPr>
          <p:cNvPr id="147" name="TextBox 146">
            <a:extLst>
              <a:ext uri="{FF2B5EF4-FFF2-40B4-BE49-F238E27FC236}">
                <a16:creationId xmlns:a16="http://schemas.microsoft.com/office/drawing/2014/main" id="{7652C7A2-374E-45CC-8DFA-0F2B70F41908}"/>
              </a:ext>
            </a:extLst>
          </p:cNvPr>
          <p:cNvSpPr txBox="1"/>
          <p:nvPr/>
        </p:nvSpPr>
        <p:spPr>
          <a:xfrm>
            <a:off x="3855238" y="1257485"/>
            <a:ext cx="4572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Process</a:t>
            </a:r>
          </a:p>
        </p:txBody>
      </p:sp>
      <p:sp>
        <p:nvSpPr>
          <p:cNvPr id="148" name="TextBox 147">
            <a:extLst>
              <a:ext uri="{FF2B5EF4-FFF2-40B4-BE49-F238E27FC236}">
                <a16:creationId xmlns:a16="http://schemas.microsoft.com/office/drawing/2014/main" id="{75166EDB-7795-4686-A355-47297C332ED8}"/>
              </a:ext>
            </a:extLst>
          </p:cNvPr>
          <p:cNvSpPr txBox="1"/>
          <p:nvPr/>
        </p:nvSpPr>
        <p:spPr>
          <a:xfrm>
            <a:off x="9380050" y="1257484"/>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Outputs</a:t>
            </a:r>
          </a:p>
        </p:txBody>
      </p:sp>
      <p:sp>
        <p:nvSpPr>
          <p:cNvPr id="149" name="TextBox 148">
            <a:extLst>
              <a:ext uri="{FF2B5EF4-FFF2-40B4-BE49-F238E27FC236}">
                <a16:creationId xmlns:a16="http://schemas.microsoft.com/office/drawing/2014/main" id="{D534D60A-1CC6-405D-B904-771044A0B1E3}"/>
              </a:ext>
            </a:extLst>
          </p:cNvPr>
          <p:cNvSpPr txBox="1"/>
          <p:nvPr/>
        </p:nvSpPr>
        <p:spPr>
          <a:xfrm>
            <a:off x="3878228" y="4798832"/>
            <a:ext cx="4572000" cy="82296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5: Develop scorecards and Platform Capability Gap Report </a:t>
            </a:r>
            <a:r>
              <a:rPr kumimoji="0" lang="en-US" sz="1100" b="0" i="0" u="none" strike="noStrike" kern="0" cap="none" spc="0" normalizeH="0" baseline="0" noProof="0">
                <a:ln>
                  <a:noFill/>
                </a:ln>
                <a:solidFill>
                  <a:srgbClr val="000000"/>
                </a:solidFill>
                <a:effectLst/>
                <a:uLnTx/>
                <a:uFillTx/>
                <a:latin typeface="EYInterstate"/>
                <a:cs typeface="Arial" charset="0"/>
              </a:rPr>
              <a:t>that will be used to facilitate the enhancement of data platform capabilities</a:t>
            </a:r>
            <a:endParaRPr kumimoji="0" lang="en-US" sz="1100" b="0" i="0" u="none" strike="noStrike" kern="1200" cap="none" spc="0" normalizeH="0" baseline="0" noProof="0">
              <a:ln>
                <a:noFill/>
              </a:ln>
              <a:solidFill>
                <a:srgbClr val="000000"/>
              </a:solidFill>
              <a:effectLst/>
              <a:uLnTx/>
              <a:uFillTx/>
              <a:latin typeface="EYInterstate Light" panose="02000506000000020004" pitchFamily="2" charset="0"/>
              <a:cs typeface="Arial" charset="0"/>
            </a:endParaRPr>
          </a:p>
        </p:txBody>
      </p:sp>
      <p:sp>
        <p:nvSpPr>
          <p:cNvPr id="150" name="TextBox 149">
            <a:extLst>
              <a:ext uri="{FF2B5EF4-FFF2-40B4-BE49-F238E27FC236}">
                <a16:creationId xmlns:a16="http://schemas.microsoft.com/office/drawing/2014/main" id="{CDB845D0-6A9D-4473-AC48-610FFF1D4474}"/>
              </a:ext>
            </a:extLst>
          </p:cNvPr>
          <p:cNvSpPr txBox="1"/>
          <p:nvPr/>
        </p:nvSpPr>
        <p:spPr>
          <a:xfrm>
            <a:off x="3864474" y="2422145"/>
            <a:ext cx="4572000" cy="599677"/>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2: Organize and run workshops </a:t>
            </a:r>
            <a:r>
              <a:rPr kumimoji="0" lang="en-US" sz="1100" b="0" i="0" u="none" strike="noStrike" kern="0" cap="none" spc="0" normalizeH="0" baseline="0" noProof="0">
                <a:ln>
                  <a:noFill/>
                </a:ln>
                <a:solidFill>
                  <a:srgbClr val="000000"/>
                </a:solidFill>
                <a:effectLst/>
                <a:uLnTx/>
                <a:uFillTx/>
                <a:latin typeface="EYInterstate"/>
                <a:cs typeface="Arial" charset="0"/>
              </a:rPr>
              <a:t>with functional teams to understand the current state of the data platform</a:t>
            </a:r>
          </a:p>
        </p:txBody>
      </p:sp>
      <p:sp>
        <p:nvSpPr>
          <p:cNvPr id="151" name="Isosceles Triangle 112">
            <a:extLst>
              <a:ext uri="{FF2B5EF4-FFF2-40B4-BE49-F238E27FC236}">
                <a16:creationId xmlns:a16="http://schemas.microsoft.com/office/drawing/2014/main" id="{2F2AAA87-F6CF-45AA-B483-8297309146DC}"/>
              </a:ext>
            </a:extLst>
          </p:cNvPr>
          <p:cNvSpPr/>
          <p:nvPr/>
        </p:nvSpPr>
        <p:spPr>
          <a:xfrm rot="5400000">
            <a:off x="7029644" y="3396899"/>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2" name="Isosceles Triangle 112">
            <a:extLst>
              <a:ext uri="{FF2B5EF4-FFF2-40B4-BE49-F238E27FC236}">
                <a16:creationId xmlns:a16="http://schemas.microsoft.com/office/drawing/2014/main" id="{9695B018-2E94-44CC-8B5A-D596E2C3F8FF}"/>
              </a:ext>
            </a:extLst>
          </p:cNvPr>
          <p:cNvSpPr/>
          <p:nvPr/>
        </p:nvSpPr>
        <p:spPr>
          <a:xfrm rot="5400000">
            <a:off x="1819090" y="3396899"/>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3" name="TextBox 152">
            <a:extLst>
              <a:ext uri="{FF2B5EF4-FFF2-40B4-BE49-F238E27FC236}">
                <a16:creationId xmlns:a16="http://schemas.microsoft.com/office/drawing/2014/main" id="{7781A19B-B4C7-4A78-9B85-C33659A9505E}"/>
              </a:ext>
            </a:extLst>
          </p:cNvPr>
          <p:cNvSpPr txBox="1"/>
          <p:nvPr/>
        </p:nvSpPr>
        <p:spPr>
          <a:xfrm>
            <a:off x="3864474" y="1755251"/>
            <a:ext cx="4572000" cy="549918"/>
          </a:xfrm>
          <a:prstGeom prst="rect">
            <a:avLst/>
          </a:prstGeom>
          <a:solidFill>
            <a:schemeClr val="tx2">
              <a:lumMod val="95000"/>
            </a:schemeClr>
          </a:solidFill>
          <a:ln>
            <a:noFill/>
          </a:ln>
        </p:spPr>
        <p:txBody>
          <a:bodyPr wrap="square" lIns="101882" tIns="91440" rIns="91440" bIns="50941" rtlCol="0" anchor="ctr" anchorCtr="0">
            <a:noAutofit/>
          </a:bodyPr>
          <a:lstStyle/>
          <a:p>
            <a:pPr marL="449273" marR="0" lvl="1" indent="-449273" algn="l" defTabSz="914400" rtl="0" eaLnBrk="0" fontAlgn="base" latinLnBrk="0" hangingPunct="0">
              <a:lnSpc>
                <a:spcPct val="90000"/>
              </a:lnSpc>
              <a:spcBef>
                <a:spcPts val="669"/>
              </a:spcBef>
              <a:spcAft>
                <a:spcPct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1: Identify functional &amp; business teams </a:t>
            </a:r>
            <a:r>
              <a:rPr kumimoji="0" lang="en-US" sz="1100" b="0" i="0" u="none" strike="noStrike" kern="0" cap="none" spc="0" normalizeH="0" baseline="0" noProof="0">
                <a:ln>
                  <a:noFill/>
                </a:ln>
                <a:solidFill>
                  <a:srgbClr val="000000"/>
                </a:solidFill>
                <a:effectLst/>
                <a:uLnTx/>
                <a:uFillTx/>
                <a:latin typeface="EYInterstate"/>
                <a:cs typeface="Arial" charset="0"/>
              </a:rPr>
              <a:t>for the project and schedule workshops with the relevant teams</a:t>
            </a:r>
          </a:p>
        </p:txBody>
      </p:sp>
      <p:sp>
        <p:nvSpPr>
          <p:cNvPr id="154" name="TextBox 153">
            <a:extLst>
              <a:ext uri="{FF2B5EF4-FFF2-40B4-BE49-F238E27FC236}">
                <a16:creationId xmlns:a16="http://schemas.microsoft.com/office/drawing/2014/main" id="{3CB9015E-264B-4663-8F3F-02CAB664A359}"/>
              </a:ext>
            </a:extLst>
          </p:cNvPr>
          <p:cNvSpPr txBox="1"/>
          <p:nvPr/>
        </p:nvSpPr>
        <p:spPr>
          <a:xfrm>
            <a:off x="3864474" y="3138796"/>
            <a:ext cx="4572000" cy="73152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ct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3: Assess the current Data Platform </a:t>
            </a:r>
            <a:r>
              <a:rPr kumimoji="0" lang="en-US" sz="1100" b="0" i="0" u="none" strike="noStrike" kern="0" cap="none" spc="0" normalizeH="0" baseline="0" noProof="0">
                <a:ln>
                  <a:noFill/>
                </a:ln>
                <a:solidFill>
                  <a:srgbClr val="000000"/>
                </a:solidFill>
                <a:effectLst/>
                <a:uLnTx/>
                <a:uFillTx/>
                <a:latin typeface="EYInterstate"/>
                <a:cs typeface="Arial" charset="0"/>
              </a:rPr>
              <a:t>to determine its capabilities &amp; governance structure for data &amp; analytics related use-case deployment.</a:t>
            </a:r>
          </a:p>
        </p:txBody>
      </p:sp>
      <p:sp>
        <p:nvSpPr>
          <p:cNvPr id="155" name="TextBox 154">
            <a:extLst>
              <a:ext uri="{FF2B5EF4-FFF2-40B4-BE49-F238E27FC236}">
                <a16:creationId xmlns:a16="http://schemas.microsoft.com/office/drawing/2014/main" id="{8E6D95C4-72B3-4A50-B113-6E8D8505955B}"/>
              </a:ext>
            </a:extLst>
          </p:cNvPr>
          <p:cNvSpPr txBox="1"/>
          <p:nvPr/>
        </p:nvSpPr>
        <p:spPr>
          <a:xfrm>
            <a:off x="8967304" y="1640888"/>
            <a:ext cx="3223560" cy="430887"/>
          </a:xfrm>
          <a:prstGeom prst="rect">
            <a:avLst/>
          </a:prstGeom>
        </p:spPr>
        <p:txBody>
          <a:bodyPr wrap="square">
            <a:spAutoFit/>
          </a:bodyPr>
          <a:lstStyle>
            <a:defPPr>
              <a:defRPr lang="en-US"/>
            </a:defPPr>
            <a:lvl1pPr algn="ctr" eaLnBrk="0" hangingPunct="0">
              <a:spcAft>
                <a:spcPct val="0"/>
              </a:spcAft>
              <a:buClrTx/>
              <a:buSzTx/>
              <a:defRPr sz="1100" b="1" kern="0">
                <a:solidFill>
                  <a:srgbClr val="000000"/>
                </a:solidFill>
                <a:latin typeface="EYInterstate"/>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A2AD"/>
                </a:solidFill>
                <a:effectLst/>
                <a:uLnTx/>
                <a:uFillTx/>
                <a:latin typeface="EYInterstate"/>
                <a:cs typeface="Arial" charset="0"/>
              </a:rPr>
              <a:t>Work Product: </a:t>
            </a:r>
            <a:r>
              <a:rPr kumimoji="0" lang="en-US" sz="1100" b="0" i="0" u="none" strike="noStrike" kern="0" cap="none" spc="0" normalizeH="0" baseline="0" noProof="0">
                <a:ln>
                  <a:noFill/>
                </a:ln>
                <a:solidFill>
                  <a:srgbClr val="000000"/>
                </a:solidFill>
                <a:effectLst/>
                <a:uLnTx/>
                <a:uFillTx/>
                <a:latin typeface="EYInterstate"/>
                <a:cs typeface="Arial" charset="0"/>
              </a:rPr>
              <a:t>Data Platform Capability Gap Report</a:t>
            </a:r>
          </a:p>
        </p:txBody>
      </p:sp>
      <p:sp>
        <p:nvSpPr>
          <p:cNvPr id="156" name="Rectangle 155">
            <a:extLst>
              <a:ext uri="{FF2B5EF4-FFF2-40B4-BE49-F238E27FC236}">
                <a16:creationId xmlns:a16="http://schemas.microsoft.com/office/drawing/2014/main" id="{5C97D5A3-5092-409D-90BB-21DFF9F6FC53}"/>
              </a:ext>
            </a:extLst>
          </p:cNvPr>
          <p:cNvSpPr/>
          <p:nvPr/>
        </p:nvSpPr>
        <p:spPr>
          <a:xfrm>
            <a:off x="981115" y="3156955"/>
            <a:ext cx="1890760"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AIAT’s current Data Platform Capabilities</a:t>
            </a:r>
          </a:p>
        </p:txBody>
      </p:sp>
      <p:sp>
        <p:nvSpPr>
          <p:cNvPr id="158" name="Rectangle 157">
            <a:extLst>
              <a:ext uri="{FF2B5EF4-FFF2-40B4-BE49-F238E27FC236}">
                <a16:creationId xmlns:a16="http://schemas.microsoft.com/office/drawing/2014/main" id="{340B9055-8199-458E-82ED-DEDF74C39130}"/>
              </a:ext>
            </a:extLst>
          </p:cNvPr>
          <p:cNvSpPr/>
          <p:nvPr/>
        </p:nvSpPr>
        <p:spPr>
          <a:xfrm>
            <a:off x="940671" y="5051324"/>
            <a:ext cx="1971649" cy="600164"/>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Existing Group IT / AIAT Standards / Process Framework</a:t>
            </a:r>
          </a:p>
        </p:txBody>
      </p:sp>
      <p:pic>
        <p:nvPicPr>
          <p:cNvPr id="159" name="Picture 3">
            <a:extLst>
              <a:ext uri="{FF2B5EF4-FFF2-40B4-BE49-F238E27FC236}">
                <a16:creationId xmlns:a16="http://schemas.microsoft.com/office/drawing/2014/main" id="{EF2700B0-7A4B-4ECE-8D24-6A480D23D58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7484" y="3949596"/>
            <a:ext cx="2118023" cy="1052864"/>
          </a:xfrm>
          <a:prstGeom prst="rect">
            <a:avLst/>
          </a:prstGeom>
          <a:ln w="25400">
            <a:solidFill>
              <a:schemeClr val="bg1"/>
            </a:solidFill>
            <a:miter lim="800000"/>
            <a:headEnd/>
            <a:tailEnd/>
          </a:ln>
          <a:effectLst>
            <a:outerShdw blurRad="50800" dist="38100" dir="2700000" algn="tl" rotWithShape="0">
              <a:schemeClr val="bg1">
                <a:alpha val="43000"/>
              </a:schemeClr>
            </a:outerShdw>
          </a:effectLst>
          <a:extLst>
            <a:ext uri="{909E8E84-426E-40DD-AFC4-6F175D3DCCD1}">
              <a14:hiddenFill xmlns:a14="http://schemas.microsoft.com/office/drawing/2010/main">
                <a:solidFill>
                  <a:schemeClr val="accent1"/>
                </a:solidFill>
              </a14:hiddenFill>
            </a:ext>
          </a:extLst>
        </p:spPr>
      </p:pic>
      <p:sp>
        <p:nvSpPr>
          <p:cNvPr id="162" name="TextBox 161">
            <a:extLst>
              <a:ext uri="{FF2B5EF4-FFF2-40B4-BE49-F238E27FC236}">
                <a16:creationId xmlns:a16="http://schemas.microsoft.com/office/drawing/2014/main" id="{8BCCFA91-C62B-4AFC-9E86-5C683DB4C972}"/>
              </a:ext>
            </a:extLst>
          </p:cNvPr>
          <p:cNvSpPr txBox="1"/>
          <p:nvPr/>
        </p:nvSpPr>
        <p:spPr>
          <a:xfrm>
            <a:off x="3864474" y="3968814"/>
            <a:ext cx="4572000" cy="73152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4: Analyze the AIAT policy, standard &amp; procedure framework </a:t>
            </a:r>
            <a:r>
              <a:rPr kumimoji="0" lang="en-US" sz="1100" b="0" i="0" u="none" strike="noStrike" kern="0" cap="none" spc="0" normalizeH="0" baseline="0" noProof="0">
                <a:ln>
                  <a:noFill/>
                </a:ln>
                <a:solidFill>
                  <a:srgbClr val="000000"/>
                </a:solidFill>
                <a:effectLst/>
                <a:uLnTx/>
                <a:uFillTx/>
                <a:latin typeface="EYInterstate"/>
                <a:cs typeface="Arial" charset="0"/>
              </a:rPr>
              <a:t>focusing on </a:t>
            </a:r>
            <a:r>
              <a:rPr kumimoji="0" lang="it-IT" sz="1100" b="0" i="0" u="none" strike="noStrike" kern="0" cap="none" spc="0" normalizeH="0" baseline="0" noProof="0">
                <a:ln>
                  <a:noFill/>
                </a:ln>
                <a:solidFill>
                  <a:srgbClr val="000000"/>
                </a:solidFill>
                <a:effectLst/>
                <a:uLnTx/>
                <a:uFillTx/>
                <a:latin typeface="EYInterstate"/>
                <a:cs typeface="Arial" charset="0"/>
              </a:rPr>
              <a:t>Data Governance, Data Quality, Data Usage, Data Management &amp; Data Analytics capabilities</a:t>
            </a:r>
          </a:p>
        </p:txBody>
      </p:sp>
      <p:sp>
        <p:nvSpPr>
          <p:cNvPr id="164" name="Rectangle 163">
            <a:extLst>
              <a:ext uri="{FF2B5EF4-FFF2-40B4-BE49-F238E27FC236}">
                <a16:creationId xmlns:a16="http://schemas.microsoft.com/office/drawing/2014/main" id="{18BEB7E2-4CEA-4B16-A0C7-5950138F8079}"/>
              </a:ext>
            </a:extLst>
          </p:cNvPr>
          <p:cNvSpPr/>
          <p:nvPr/>
        </p:nvSpPr>
        <p:spPr>
          <a:xfrm>
            <a:off x="9506995" y="3522580"/>
            <a:ext cx="2014975"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Data Platform Capability Gap Analysis</a:t>
            </a:r>
          </a:p>
        </p:txBody>
      </p:sp>
      <p:sp>
        <p:nvSpPr>
          <p:cNvPr id="169" name="Rectangle 168">
            <a:extLst>
              <a:ext uri="{FF2B5EF4-FFF2-40B4-BE49-F238E27FC236}">
                <a16:creationId xmlns:a16="http://schemas.microsoft.com/office/drawing/2014/main" id="{C2DEE520-32F2-4571-9C56-961FFAB1B53A}"/>
              </a:ext>
            </a:extLst>
          </p:cNvPr>
          <p:cNvSpPr/>
          <p:nvPr/>
        </p:nvSpPr>
        <p:spPr>
          <a:xfrm>
            <a:off x="9065272" y="4072964"/>
            <a:ext cx="2898423" cy="93871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EYInterstate"/>
                <a:cs typeface="Arial" charset="0"/>
              </a:rPr>
              <a:t>This report will be a heatmap scorecard based on the assessment of AIAT’s Data Platform capabilities across multiple domains to check its readiness for the TDA initiatives</a:t>
            </a:r>
          </a:p>
        </p:txBody>
      </p:sp>
      <p:pic>
        <p:nvPicPr>
          <p:cNvPr id="173" name="Picture 2" descr="image002">
            <a:extLst>
              <a:ext uri="{FF2B5EF4-FFF2-40B4-BE49-F238E27FC236}">
                <a16:creationId xmlns:a16="http://schemas.microsoft.com/office/drawing/2014/main" id="{409F079A-3608-434C-AEF0-315C736E077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3495" y="1873540"/>
            <a:ext cx="2286000" cy="1274746"/>
          </a:xfrm>
          <a:prstGeom prst="rect">
            <a:avLst/>
          </a:prstGeom>
          <a:ln w="25400">
            <a:solidFill>
              <a:schemeClr val="bg1"/>
            </a:solidFill>
            <a:miter lim="800000"/>
            <a:headEnd/>
            <a:tailEnd/>
          </a:ln>
          <a:effectLst>
            <a:outerShdw blurRad="50800" dist="38100" dir="2700000" algn="tl" rotWithShape="0">
              <a:schemeClr val="bg1">
                <a:alpha val="43000"/>
              </a:schemeClr>
            </a:outerShdw>
          </a:effectLst>
          <a:extLst>
            <a:ext uri="{909E8E84-426E-40DD-AFC4-6F175D3DCCD1}">
              <a14:hiddenFill xmlns:a14="http://schemas.microsoft.com/office/drawing/2010/main">
                <a:solidFill>
                  <a:srgbClr val="FFFFFF"/>
                </a:solidFill>
              </a14:hiddenFill>
            </a:ext>
          </a:extLst>
        </p:spPr>
      </p:pic>
      <p:pic>
        <p:nvPicPr>
          <p:cNvPr id="174" name="Picture 173">
            <a:extLst>
              <a:ext uri="{FF2B5EF4-FFF2-40B4-BE49-F238E27FC236}">
                <a16:creationId xmlns:a16="http://schemas.microsoft.com/office/drawing/2014/main" id="{3FCA2F6A-91AB-43F5-85F1-1DE36C1E209E}"/>
              </a:ext>
            </a:extLst>
          </p:cNvPr>
          <p:cNvPicPr>
            <a:picLocks noChangeAspect="1"/>
          </p:cNvPicPr>
          <p:nvPr/>
        </p:nvPicPr>
        <p:blipFill>
          <a:blip r:embed="rId10"/>
          <a:stretch>
            <a:fillRect/>
          </a:stretch>
        </p:blipFill>
        <p:spPr>
          <a:xfrm>
            <a:off x="9184152" y="2248879"/>
            <a:ext cx="2481898" cy="1106662"/>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176" name="TextBox 175">
            <a:extLst>
              <a:ext uri="{FF2B5EF4-FFF2-40B4-BE49-F238E27FC236}">
                <a16:creationId xmlns:a16="http://schemas.microsoft.com/office/drawing/2014/main" id="{963963BC-DBBB-4467-BFA2-30E897DDB507}"/>
              </a:ext>
            </a:extLst>
          </p:cNvPr>
          <p:cNvSpPr txBox="1"/>
          <p:nvPr/>
        </p:nvSpPr>
        <p:spPr>
          <a:xfrm>
            <a:off x="858329" y="5739789"/>
            <a:ext cx="1221800" cy="472209"/>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EYInterstate"/>
                <a:cs typeface="Arial" charset="0"/>
              </a:rPr>
              <a:t>EY Accelerator:</a:t>
            </a:r>
          </a:p>
        </p:txBody>
      </p:sp>
      <p:sp>
        <p:nvSpPr>
          <p:cNvPr id="177" name="TextBox 176">
            <a:extLst>
              <a:ext uri="{FF2B5EF4-FFF2-40B4-BE49-F238E27FC236}">
                <a16:creationId xmlns:a16="http://schemas.microsoft.com/office/drawing/2014/main" id="{1AC9B613-63E5-40B4-80B9-7032CD10F81C}"/>
              </a:ext>
            </a:extLst>
          </p:cNvPr>
          <p:cNvSpPr txBox="1"/>
          <p:nvPr/>
        </p:nvSpPr>
        <p:spPr>
          <a:xfrm>
            <a:off x="1990758" y="5752631"/>
            <a:ext cx="9675291" cy="895003"/>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endParaRPr kumimoji="0" lang="en-US" sz="1100" b="0" i="0" u="none" strike="noStrike" kern="0" cap="none" spc="0" normalizeH="0" baseline="0" noProof="0">
              <a:ln>
                <a:noFill/>
              </a:ln>
              <a:solidFill>
                <a:srgbClr val="000000"/>
              </a:solidFill>
              <a:effectLst/>
              <a:uLnTx/>
              <a:uFillTx/>
              <a:latin typeface="EYInterstate"/>
              <a:cs typeface="Arial" charset="0"/>
            </a:endParaRPr>
          </a:p>
        </p:txBody>
      </p:sp>
      <p:pic>
        <p:nvPicPr>
          <p:cNvPr id="2" name="Picture 1">
            <a:extLst>
              <a:ext uri="{FF2B5EF4-FFF2-40B4-BE49-F238E27FC236}">
                <a16:creationId xmlns:a16="http://schemas.microsoft.com/office/drawing/2014/main" id="{FEBB992D-4BB9-4645-9C62-D289C40B043A}"/>
              </a:ext>
            </a:extLst>
          </p:cNvPr>
          <p:cNvPicPr>
            <a:picLocks/>
          </p:cNvPicPr>
          <p:nvPr/>
        </p:nvPicPr>
        <p:blipFill>
          <a:blip r:embed="rId11"/>
          <a:stretch>
            <a:fillRect/>
          </a:stretch>
        </p:blipFill>
        <p:spPr>
          <a:xfrm>
            <a:off x="2287055" y="5922289"/>
            <a:ext cx="1005840" cy="548640"/>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27" name="Picture 26">
            <a:extLst>
              <a:ext uri="{FF2B5EF4-FFF2-40B4-BE49-F238E27FC236}">
                <a16:creationId xmlns:a16="http://schemas.microsoft.com/office/drawing/2014/main" id="{CC30BED7-0DC0-4BB8-9F90-1A560A4EEBD4}"/>
              </a:ext>
            </a:extLst>
          </p:cNvPr>
          <p:cNvPicPr>
            <a:picLocks noChangeAspect="1"/>
          </p:cNvPicPr>
          <p:nvPr/>
        </p:nvPicPr>
        <p:blipFill>
          <a:blip r:embed="rId12"/>
          <a:stretch>
            <a:fillRect/>
          </a:stretch>
        </p:blipFill>
        <p:spPr>
          <a:xfrm>
            <a:off x="5474868" y="5881527"/>
            <a:ext cx="1005840" cy="630165"/>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28" name="Picture 27">
            <a:extLst>
              <a:ext uri="{FF2B5EF4-FFF2-40B4-BE49-F238E27FC236}">
                <a16:creationId xmlns:a16="http://schemas.microsoft.com/office/drawing/2014/main" id="{07B0214E-9246-4F0A-94D9-C1FE1B5B828A}"/>
              </a:ext>
            </a:extLst>
          </p:cNvPr>
          <p:cNvPicPr>
            <a:picLocks noChangeAspect="1"/>
          </p:cNvPicPr>
          <p:nvPr/>
        </p:nvPicPr>
        <p:blipFill>
          <a:blip r:embed="rId13"/>
          <a:stretch>
            <a:fillRect/>
          </a:stretch>
        </p:blipFill>
        <p:spPr>
          <a:xfrm>
            <a:off x="8307949" y="5835139"/>
            <a:ext cx="1005840" cy="634145"/>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29" name="Picture 28">
            <a:extLst>
              <a:ext uri="{FF2B5EF4-FFF2-40B4-BE49-F238E27FC236}">
                <a16:creationId xmlns:a16="http://schemas.microsoft.com/office/drawing/2014/main" id="{28442272-4A12-49F3-BB51-8A9495A02B3F}"/>
              </a:ext>
            </a:extLst>
          </p:cNvPr>
          <p:cNvPicPr>
            <a:picLocks noChangeAspect="1"/>
          </p:cNvPicPr>
          <p:nvPr/>
        </p:nvPicPr>
        <p:blipFill>
          <a:blip r:embed="rId14"/>
          <a:stretch>
            <a:fillRect/>
          </a:stretch>
        </p:blipFill>
        <p:spPr>
          <a:xfrm>
            <a:off x="8666733" y="5931336"/>
            <a:ext cx="1005840" cy="627123"/>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32" name="TextBox 31">
            <a:extLst>
              <a:ext uri="{FF2B5EF4-FFF2-40B4-BE49-F238E27FC236}">
                <a16:creationId xmlns:a16="http://schemas.microsoft.com/office/drawing/2014/main" id="{A2BAEBBB-20C7-4B25-B9B7-E60BB6681E48}"/>
              </a:ext>
            </a:extLst>
          </p:cNvPr>
          <p:cNvSpPr txBox="1"/>
          <p:nvPr/>
        </p:nvSpPr>
        <p:spPr>
          <a:xfrm>
            <a:off x="3373307" y="5975894"/>
            <a:ext cx="2286000" cy="441431"/>
          </a:xfrm>
          <a:prstGeom prst="rect">
            <a:avLst/>
          </a:prstGeom>
          <a:noFill/>
        </p:spPr>
        <p:txBody>
          <a:bodyPr wrap="square" lIns="101882" tIns="50941" rIns="101882" bIns="50941" rtlCol="0" anchor="ctr">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effectLst/>
                <a:uLnTx/>
                <a:uFillTx/>
                <a:latin typeface="EYInterstate"/>
                <a:cs typeface="Arial" charset="0"/>
              </a:rPr>
              <a:t>EY Next Generation Data</a:t>
            </a:r>
            <a:r>
              <a:rPr lang="en-US" sz="1050" b="1" kern="0">
                <a:latin typeface="EYInterstate"/>
              </a:rPr>
              <a:t> Platform Architecture</a:t>
            </a:r>
            <a:endParaRPr kumimoji="0" lang="en-US" sz="1050" b="1" i="0" u="none" strike="noStrike" kern="0" cap="none" spc="0" normalizeH="0" baseline="0" noProof="0">
              <a:ln>
                <a:noFill/>
              </a:ln>
              <a:effectLst/>
              <a:uLnTx/>
              <a:uFillTx/>
              <a:latin typeface="EYInterstate"/>
            </a:endParaRPr>
          </a:p>
        </p:txBody>
      </p:sp>
      <p:sp>
        <p:nvSpPr>
          <p:cNvPr id="33" name="TextBox 32">
            <a:extLst>
              <a:ext uri="{FF2B5EF4-FFF2-40B4-BE49-F238E27FC236}">
                <a16:creationId xmlns:a16="http://schemas.microsoft.com/office/drawing/2014/main" id="{E2ADE75E-D488-42CF-8EB3-B2CAE2210040}"/>
              </a:ext>
            </a:extLst>
          </p:cNvPr>
          <p:cNvSpPr txBox="1"/>
          <p:nvPr/>
        </p:nvSpPr>
        <p:spPr>
          <a:xfrm>
            <a:off x="6539044" y="5975731"/>
            <a:ext cx="2286000" cy="441431"/>
          </a:xfrm>
          <a:prstGeom prst="rect">
            <a:avLst/>
          </a:prstGeom>
          <a:noFill/>
        </p:spPr>
        <p:txBody>
          <a:bodyPr wrap="square" lIns="101882" tIns="50941" rIns="101882" bIns="50941" rtlCol="0" anchor="ctr">
            <a:spAutoFit/>
          </a:bodyPr>
          <a:lstStyle/>
          <a:p>
            <a:pPr lvl="0">
              <a:defRPr/>
            </a:pPr>
            <a:r>
              <a:rPr lang="en-US" sz="1050" b="1" kern="0">
                <a:latin typeface="EYInterstate"/>
              </a:rPr>
              <a:t>EY Data Quality</a:t>
            </a:r>
            <a:br>
              <a:rPr lang="en-US" sz="1050" b="1" kern="0">
                <a:latin typeface="EYInterstate"/>
              </a:rPr>
            </a:br>
            <a:r>
              <a:rPr lang="en-US" sz="1050" b="1" kern="0">
                <a:latin typeface="EYInterstate"/>
              </a:rPr>
              <a:t>Assessment Framework</a:t>
            </a:r>
          </a:p>
        </p:txBody>
      </p:sp>
      <p:sp>
        <p:nvSpPr>
          <p:cNvPr id="34" name="TextBox 33">
            <a:extLst>
              <a:ext uri="{FF2B5EF4-FFF2-40B4-BE49-F238E27FC236}">
                <a16:creationId xmlns:a16="http://schemas.microsoft.com/office/drawing/2014/main" id="{3A76F9EA-CA2A-4A2A-9192-68AB96C5BE1E}"/>
              </a:ext>
            </a:extLst>
          </p:cNvPr>
          <p:cNvSpPr txBox="1"/>
          <p:nvPr/>
        </p:nvSpPr>
        <p:spPr>
          <a:xfrm>
            <a:off x="9738833" y="5975894"/>
            <a:ext cx="2286000" cy="441431"/>
          </a:xfrm>
          <a:prstGeom prst="rect">
            <a:avLst/>
          </a:prstGeom>
          <a:noFill/>
        </p:spPr>
        <p:txBody>
          <a:bodyPr wrap="square" lIns="101882" tIns="50941" rIns="101882" bIns="50941" rtlCol="0" anchor="ctr">
            <a:spAutoFit/>
          </a:bodyPr>
          <a:lstStyle/>
          <a:p>
            <a:pPr lvl="0">
              <a:defRPr/>
            </a:pPr>
            <a:r>
              <a:rPr lang="en-US" sz="1050" b="1" kern="0">
                <a:latin typeface="EYInterstate"/>
              </a:rPr>
              <a:t>EY Data Management </a:t>
            </a:r>
            <a:br>
              <a:rPr lang="en-US" sz="1050" b="1" kern="0">
                <a:latin typeface="EYInterstate"/>
              </a:rPr>
            </a:br>
            <a:r>
              <a:rPr lang="en-US" sz="1050" b="1" kern="0">
                <a:latin typeface="EYInterstate"/>
              </a:rPr>
              <a:t>&amp; Governance Framework </a:t>
            </a:r>
          </a:p>
        </p:txBody>
      </p:sp>
      <p:grpSp>
        <p:nvGrpSpPr>
          <p:cNvPr id="35" name="Group 34">
            <a:extLst>
              <a:ext uri="{FF2B5EF4-FFF2-40B4-BE49-F238E27FC236}">
                <a16:creationId xmlns:a16="http://schemas.microsoft.com/office/drawing/2014/main" id="{B21AB2D0-63FB-4B07-87F7-F0DB8FDA5738}"/>
              </a:ext>
            </a:extLst>
          </p:cNvPr>
          <p:cNvGrpSpPr/>
          <p:nvPr/>
        </p:nvGrpSpPr>
        <p:grpSpPr>
          <a:xfrm>
            <a:off x="10825808" y="1941862"/>
            <a:ext cx="1275262" cy="253916"/>
            <a:chOff x="11862118" y="1197553"/>
            <a:chExt cx="1275262" cy="253916"/>
          </a:xfrm>
        </p:grpSpPr>
        <p:sp>
          <p:nvSpPr>
            <p:cNvPr id="36" name="Rectangle 35">
              <a:extLst>
                <a:ext uri="{FF2B5EF4-FFF2-40B4-BE49-F238E27FC236}">
                  <a16:creationId xmlns:a16="http://schemas.microsoft.com/office/drawing/2014/main" id="{6A564D94-EA53-462A-B15B-CA4E453E663E}"/>
                </a:ext>
              </a:extLst>
            </p:cNvPr>
            <p:cNvSpPr/>
            <p:nvPr/>
          </p:nvSpPr>
          <p:spPr>
            <a:xfrm>
              <a:off x="11928086" y="1197553"/>
              <a:ext cx="1143327" cy="253916"/>
            </a:xfrm>
            <a:prstGeom prst="rect">
              <a:avLst/>
            </a:prstGeom>
          </p:spPr>
          <p:txBody>
            <a:bodyPr wrap="square">
              <a:spAutoFit/>
            </a:bodyPr>
            <a:lstStyle/>
            <a:p>
              <a:pPr algn="ctr"/>
              <a:r>
                <a:rPr lang="en-US" sz="1050">
                  <a:solidFill>
                    <a:srgbClr val="808080">
                      <a:lumMod val="50000"/>
                    </a:srgbClr>
                  </a:solidFill>
                </a:rPr>
                <a:t>ILLUSTRATIVE</a:t>
              </a:r>
              <a:endParaRPr lang="en-US" sz="1050"/>
            </a:p>
          </p:txBody>
        </p:sp>
        <p:cxnSp>
          <p:nvCxnSpPr>
            <p:cNvPr id="37" name="Straight Connector 36">
              <a:extLst>
                <a:ext uri="{FF2B5EF4-FFF2-40B4-BE49-F238E27FC236}">
                  <a16:creationId xmlns:a16="http://schemas.microsoft.com/office/drawing/2014/main" id="{6C300859-8353-4780-822C-6FFCDD66F6DF}"/>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29CD925-9C7F-47E3-8C09-7F477A47B92D}"/>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4F0A82AE-2C5C-4144-A447-29F2AB44ACA6}"/>
              </a:ext>
            </a:extLst>
          </p:cNvPr>
          <p:cNvGrpSpPr/>
          <p:nvPr/>
        </p:nvGrpSpPr>
        <p:grpSpPr>
          <a:xfrm>
            <a:off x="2108956" y="1587643"/>
            <a:ext cx="1275262" cy="253916"/>
            <a:chOff x="11862118" y="1197553"/>
            <a:chExt cx="1275262" cy="253916"/>
          </a:xfrm>
        </p:grpSpPr>
        <p:sp>
          <p:nvSpPr>
            <p:cNvPr id="44" name="Rectangle 43">
              <a:extLst>
                <a:ext uri="{FF2B5EF4-FFF2-40B4-BE49-F238E27FC236}">
                  <a16:creationId xmlns:a16="http://schemas.microsoft.com/office/drawing/2014/main" id="{D79308A4-5C0E-4DFE-907A-2BB6C4DD1F46}"/>
                </a:ext>
              </a:extLst>
            </p:cNvPr>
            <p:cNvSpPr/>
            <p:nvPr/>
          </p:nvSpPr>
          <p:spPr>
            <a:xfrm>
              <a:off x="11928086" y="1197553"/>
              <a:ext cx="1143327" cy="253916"/>
            </a:xfrm>
            <a:prstGeom prst="rect">
              <a:avLst/>
            </a:prstGeom>
          </p:spPr>
          <p:txBody>
            <a:bodyPr wrap="square">
              <a:spAutoFit/>
            </a:bodyPr>
            <a:lstStyle/>
            <a:p>
              <a:pPr algn="ctr"/>
              <a:r>
                <a:rPr lang="en-US" sz="1050">
                  <a:solidFill>
                    <a:srgbClr val="808080">
                      <a:lumMod val="50000"/>
                    </a:srgbClr>
                  </a:solidFill>
                </a:rPr>
                <a:t>ILLUSTRATIVE</a:t>
              </a:r>
              <a:endParaRPr lang="en-US" sz="1050"/>
            </a:p>
          </p:txBody>
        </p:sp>
        <p:cxnSp>
          <p:nvCxnSpPr>
            <p:cNvPr id="45" name="Straight Connector 44">
              <a:extLst>
                <a:ext uri="{FF2B5EF4-FFF2-40B4-BE49-F238E27FC236}">
                  <a16:creationId xmlns:a16="http://schemas.microsoft.com/office/drawing/2014/main" id="{7147C43B-5139-47AE-9C6B-7DE4130AF96F}"/>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2D91FDE-1677-4557-9936-E2B491AC8112}"/>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48" name="Chevron 26">
            <a:extLst>
              <a:ext uri="{FF2B5EF4-FFF2-40B4-BE49-F238E27FC236}">
                <a16:creationId xmlns:a16="http://schemas.microsoft.com/office/drawing/2014/main" id="{DA851F8C-7D8B-43E5-B915-A3EE4BCC8A8F}"/>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a:solidFill>
                  <a:schemeClr val="bg2"/>
                </a:solidFill>
                <a:latin typeface="EYInterstate"/>
                <a:sym typeface="EYInterstate Light" panose="02000506000000020004" pitchFamily="2" charset="0"/>
              </a:rPr>
              <a:t>Approach</a:t>
            </a:r>
          </a:p>
        </p:txBody>
      </p:sp>
      <p:grpSp>
        <p:nvGrpSpPr>
          <p:cNvPr id="49" name="Group 48">
            <a:extLst>
              <a:ext uri="{FF2B5EF4-FFF2-40B4-BE49-F238E27FC236}">
                <a16:creationId xmlns:a16="http://schemas.microsoft.com/office/drawing/2014/main" id="{729599FF-3CC7-4554-86C5-ABFC8D1A6B85}"/>
              </a:ext>
            </a:extLst>
          </p:cNvPr>
          <p:cNvGrpSpPr/>
          <p:nvPr/>
        </p:nvGrpSpPr>
        <p:grpSpPr>
          <a:xfrm>
            <a:off x="2031134" y="3651897"/>
            <a:ext cx="1275262" cy="253916"/>
            <a:chOff x="11862118" y="1197553"/>
            <a:chExt cx="1275262" cy="253916"/>
          </a:xfrm>
        </p:grpSpPr>
        <p:sp>
          <p:nvSpPr>
            <p:cNvPr id="50" name="Rectangle 49">
              <a:extLst>
                <a:ext uri="{FF2B5EF4-FFF2-40B4-BE49-F238E27FC236}">
                  <a16:creationId xmlns:a16="http://schemas.microsoft.com/office/drawing/2014/main" id="{F331EEAE-8F85-44E1-9834-2108E1EC352C}"/>
                </a:ext>
              </a:extLst>
            </p:cNvPr>
            <p:cNvSpPr/>
            <p:nvPr/>
          </p:nvSpPr>
          <p:spPr>
            <a:xfrm>
              <a:off x="11928086" y="1197553"/>
              <a:ext cx="1143327" cy="253916"/>
            </a:xfrm>
            <a:prstGeom prst="rect">
              <a:avLst/>
            </a:prstGeom>
          </p:spPr>
          <p:txBody>
            <a:bodyPr wrap="square">
              <a:spAutoFit/>
            </a:bodyPr>
            <a:lstStyle/>
            <a:p>
              <a:pPr algn="ctr"/>
              <a:r>
                <a:rPr lang="en-US" sz="1050">
                  <a:solidFill>
                    <a:srgbClr val="808080">
                      <a:lumMod val="50000"/>
                    </a:srgbClr>
                  </a:solidFill>
                </a:rPr>
                <a:t>ILLUSTRATIVE</a:t>
              </a:r>
              <a:endParaRPr lang="en-US" sz="1050"/>
            </a:p>
          </p:txBody>
        </p:sp>
        <p:cxnSp>
          <p:nvCxnSpPr>
            <p:cNvPr id="51" name="Straight Connector 50">
              <a:extLst>
                <a:ext uri="{FF2B5EF4-FFF2-40B4-BE49-F238E27FC236}">
                  <a16:creationId xmlns:a16="http://schemas.microsoft.com/office/drawing/2014/main" id="{F5621871-FBE3-4801-804C-82CE72E31B86}"/>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9EC0027-813C-422F-9EA7-280C5252D7B6}"/>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844422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7E52AA-C23E-4ECC-B609-4D7C8A572265}"/>
              </a:ext>
            </a:extLst>
          </p:cNvPr>
          <p:cNvPicPr>
            <a:picLocks noChangeAspect="1"/>
          </p:cNvPicPr>
          <p:nvPr/>
        </p:nvPicPr>
        <p:blipFill>
          <a:blip r:embed="rId6"/>
          <a:stretch>
            <a:fillRect/>
          </a:stretch>
        </p:blipFill>
        <p:spPr>
          <a:xfrm>
            <a:off x="0" y="1844"/>
            <a:ext cx="12198350" cy="6854311"/>
          </a:xfrm>
          <a:prstGeom prst="rect">
            <a:avLst/>
          </a:prstGeom>
        </p:spPr>
      </p:pic>
      <p:graphicFrame>
        <p:nvGraphicFramePr>
          <p:cNvPr id="2" name="Object 1" hidden="1"/>
          <p:cNvGraphicFramePr>
            <a:graphicFrameLocks/>
          </p:cNvGraphicFramePr>
          <p:nvPr>
            <p:custDataLst>
              <p:tags r:id="rId3"/>
            </p:custDataLst>
          </p:nvPr>
        </p:nvGraphicFramePr>
        <p:xfrm>
          <a:off x="2463223" y="702378"/>
          <a:ext cx="1079" cy="1145"/>
        </p:xfrm>
        <a:graphic>
          <a:graphicData uri="http://schemas.openxmlformats.org/presentationml/2006/ole">
            <mc:AlternateContent xmlns:mc="http://schemas.openxmlformats.org/markup-compatibility/2006">
              <mc:Choice xmlns:v="urn:schemas-microsoft-com:vml" Requires="v">
                <p:oleObj spid="_x0000_s228361"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2463223" y="702378"/>
                        <a:ext cx="1079" cy="1145"/>
                      </a:xfrm>
                      <a:prstGeom prst="rect">
                        <a:avLst/>
                      </a:prstGeom>
                    </p:spPr>
                  </p:pic>
                </p:oleObj>
              </mc:Fallback>
            </mc:AlternateContent>
          </a:graphicData>
        </a:graphic>
      </p:graphicFrame>
      <p:sp>
        <p:nvSpPr>
          <p:cNvPr id="6" name="Freeform 12"/>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marL="0" marR="0" lvl="0" indent="0" algn="ctr" defTabSz="634556" rtl="0" eaLnBrk="1" fontAlgn="base" latinLnBrk="0" hangingPunct="1">
              <a:lnSpc>
                <a:spcPct val="100000"/>
              </a:lnSpc>
              <a:spcBef>
                <a:spcPct val="0"/>
              </a:spcBef>
              <a:spcAft>
                <a:spcPct val="50000"/>
              </a:spcAft>
              <a:buClr>
                <a:srgbClr val="FFE600"/>
              </a:buClr>
              <a:buSzPct val="80000"/>
              <a:buFontTx/>
              <a:buNone/>
              <a:tabLst/>
              <a:defRPr/>
            </a:pPr>
            <a:endParaRPr kumimoji="0" lang="en-US" sz="637"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 name="Text Placeholder 9"/>
          <p:cNvSpPr txBox="1">
            <a:spLocks/>
          </p:cNvSpPr>
          <p:nvPr/>
        </p:nvSpPr>
        <p:spPr bwMode="gray">
          <a:xfrm>
            <a:off x="36029" y="1865549"/>
            <a:ext cx="5147864"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rPr>
              <a:t>3.2 | </a:t>
            </a:r>
            <a:r>
              <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Calibri" panose="020F0502020204030204" pitchFamily="34" charset="0"/>
              </a:rPr>
              <a:t>Our Point of View &amp; Approach</a:t>
            </a:r>
          </a:p>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1633" b="1" i="0" u="none" strike="noStrike" kern="1200" cap="none" spc="0" normalizeH="0" baseline="0" noProof="0">
                <a:ln>
                  <a:noFill/>
                </a:ln>
                <a:solidFill>
                  <a:srgbClr val="000000"/>
                </a:solidFill>
                <a:effectLst/>
                <a:uLnTx/>
                <a:uFillTx/>
                <a:latin typeface="EYInterstate" panose="02000503020000020004" pitchFamily="2" charset="0"/>
                <a:ea typeface="+mn-ea"/>
                <a:cs typeface="Calibri" panose="020F0502020204030204" pitchFamily="34" charset="0"/>
              </a:rPr>
              <a:t>Use Case </a:t>
            </a:r>
            <a:r>
              <a:rPr lang="en-US" sz="1633">
                <a:solidFill>
                  <a:srgbClr val="000000"/>
                </a:solidFill>
                <a:latin typeface="EYInterstate" panose="02000503020000020004" pitchFamily="2" charset="0"/>
                <a:cs typeface="Calibri" panose="020F0502020204030204" pitchFamily="34" charset="0"/>
              </a:rPr>
              <a:t>Identification &amp; Prioritization</a:t>
            </a:r>
            <a:endParaRPr kumimoji="0" lang="en-US" sz="1633" b="1" i="0" u="none" strike="noStrike" kern="1200" cap="none" spc="0" normalizeH="0" baseline="0" noProof="0">
              <a:ln>
                <a:noFill/>
              </a:ln>
              <a:solidFill>
                <a:srgbClr val="000000"/>
              </a:solidFill>
              <a:effectLst/>
              <a:uLnTx/>
              <a:uFillTx/>
              <a:latin typeface="EYInterstate" panose="02000503020000020004" pitchFamily="2" charset="0"/>
              <a:ea typeface="+mn-ea"/>
              <a:cs typeface="Calibri" panose="020F0502020204030204" pitchFamily="34" charset="0"/>
            </a:endParaRPr>
          </a:p>
        </p:txBody>
      </p:sp>
      <p:sp>
        <p:nvSpPr>
          <p:cNvPr id="11" name="Rectangle 10">
            <a:extLst>
              <a:ext uri="{FF2B5EF4-FFF2-40B4-BE49-F238E27FC236}">
                <a16:creationId xmlns:a16="http://schemas.microsoft.com/office/drawing/2014/main" id="{627C101E-12A4-40D6-B470-7487B836B68D}"/>
              </a:ext>
            </a:extLst>
          </p:cNvPr>
          <p:cNvSpPr/>
          <p:nvPr/>
        </p:nvSpPr>
        <p:spPr>
          <a:xfrm>
            <a:off x="8583616" y="-213122"/>
            <a:ext cx="3312045" cy="2529957"/>
          </a:xfrm>
          <a:prstGeom prst="rect">
            <a:avLst/>
          </a:prstGeom>
          <a:noFill/>
        </p:spPr>
        <p:txBody>
          <a:bodyPr wrap="square" lIns="72742" tIns="36370" rIns="72742" bIns="36370">
            <a:spAutoFit/>
          </a:bodyPr>
          <a:lstStyle/>
          <a:p>
            <a:pPr marL="0" marR="0" lvl="0" indent="0" algn="ctr" defTabSz="945990" rtl="0" eaLnBrk="1" fontAlgn="auto" latinLnBrk="0" hangingPunct="1">
              <a:lnSpc>
                <a:spcPct val="100000"/>
              </a:lnSpc>
              <a:spcBef>
                <a:spcPts val="0"/>
              </a:spcBef>
              <a:spcAft>
                <a:spcPts val="0"/>
              </a:spcAft>
              <a:buClrTx/>
              <a:buSzTx/>
              <a:buFontTx/>
              <a:buNone/>
              <a:tabLst/>
              <a:defRPr/>
            </a:pPr>
            <a:r>
              <a:rPr kumimoji="0" lang="en-US" sz="15963" b="1" i="0" u="none" strike="noStrike" kern="1200" cap="none" spc="0" normalizeH="0" baseline="0" noProof="0">
                <a:ln w="22225">
                  <a:solidFill>
                    <a:srgbClr val="FFE600"/>
                  </a:solidFill>
                  <a:prstDash val="solid"/>
                </a:ln>
                <a:solidFill>
                  <a:srgbClr val="FFE600"/>
                </a:solidFill>
                <a:effectLst/>
                <a:uLnTx/>
                <a:uFillTx/>
                <a:latin typeface="EYInterstate" panose="02000503020000020004" pitchFamily="2" charset="0"/>
                <a:ea typeface="+mn-ea"/>
                <a:cs typeface="Calibri" panose="020F0502020204030204" pitchFamily="34" charset="0"/>
              </a:rPr>
              <a:t>3.2</a:t>
            </a:r>
          </a:p>
        </p:txBody>
      </p:sp>
      <p:graphicFrame>
        <p:nvGraphicFramePr>
          <p:cNvPr id="9" name="Diagram 8">
            <a:extLst>
              <a:ext uri="{FF2B5EF4-FFF2-40B4-BE49-F238E27FC236}">
                <a16:creationId xmlns:a16="http://schemas.microsoft.com/office/drawing/2014/main" id="{1FF00D0C-2DF4-43C2-9541-5BD1D2CDA4CF}"/>
              </a:ext>
            </a:extLst>
          </p:cNvPr>
          <p:cNvGraphicFramePr/>
          <p:nvPr>
            <p:extLst>
              <p:ext uri="{D42A27DB-BD31-4B8C-83A1-F6EECF244321}">
                <p14:modId xmlns:p14="http://schemas.microsoft.com/office/powerpoint/2010/main" val="1110401847"/>
              </p:ext>
            </p:extLst>
          </p:nvPr>
        </p:nvGraphicFramePr>
        <p:xfrm>
          <a:off x="-37787" y="5273384"/>
          <a:ext cx="8119987" cy="100235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2"/>
    </p:custDataLst>
    <p:extLst>
      <p:ext uri="{BB962C8B-B14F-4D97-AF65-F5344CB8AC3E}">
        <p14:creationId xmlns:p14="http://schemas.microsoft.com/office/powerpoint/2010/main" val="2276785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DADA7-EA89-401F-A574-1684AD722A4F}"/>
              </a:ext>
            </a:extLst>
          </p:cNvPr>
          <p:cNvSpPr>
            <a:spLocks noGrp="1"/>
          </p:cNvSpPr>
          <p:nvPr>
            <p:ph type="title"/>
          </p:nvPr>
        </p:nvSpPr>
        <p:spPr>
          <a:xfrm>
            <a:off x="861336" y="526703"/>
            <a:ext cx="10767187" cy="671925"/>
          </a:xfrm>
        </p:spPr>
        <p:txBody>
          <a:bodyPr/>
          <a:lstStyle/>
          <a:p>
            <a:r>
              <a:rPr lang="en-US" dirty="0"/>
              <a:t>Insurers who embrace the digital innovation will thrive in this increasingly competitive and rapidly evolving market</a:t>
            </a:r>
          </a:p>
        </p:txBody>
      </p:sp>
      <p:sp>
        <p:nvSpPr>
          <p:cNvPr id="93" name="Chevron 26">
            <a:extLst>
              <a:ext uri="{FF2B5EF4-FFF2-40B4-BE49-F238E27FC236}">
                <a16:creationId xmlns:a16="http://schemas.microsoft.com/office/drawing/2014/main" id="{37BEE61F-EB88-4662-9EAD-8E70579AF23C}"/>
              </a:ext>
            </a:extLst>
          </p:cNvPr>
          <p:cNvSpPr/>
          <p:nvPr/>
        </p:nvSpPr>
        <p:spPr bwMode="auto">
          <a:xfrm>
            <a:off x="10734510" y="4345"/>
            <a:ext cx="1463459" cy="36538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48" tIns="45624" rIns="45648" bIns="45624" numCol="1" spcCol="0" rtlCol="0" fromWordArt="0" anchor="ctr" anchorCtr="0" forceAA="0" compatLnSpc="1">
            <a:prstTxWarp prst="textNoShape">
              <a:avLst/>
            </a:prstTxWarp>
            <a:noAutofit/>
          </a:bodyPr>
          <a:lstStyle/>
          <a:p>
            <a:pPr algn="ctr" defTabSz="913486" fontAlgn="auto">
              <a:spcBef>
                <a:spcPts val="0"/>
              </a:spcBef>
              <a:spcAft>
                <a:spcPts val="0"/>
              </a:spcAft>
              <a:defRPr/>
            </a:pPr>
            <a:r>
              <a:rPr lang="en-US" sz="1198" b="1">
                <a:solidFill>
                  <a:srgbClr val="646464"/>
                </a:solidFill>
                <a:latin typeface="EYInterstate"/>
                <a:ea typeface="+mn-ea"/>
                <a:sym typeface="EYInterstate Light" panose="02000506000000020004" pitchFamily="2" charset="0"/>
              </a:rPr>
              <a:t>Point of View</a:t>
            </a:r>
          </a:p>
        </p:txBody>
      </p:sp>
      <p:sp>
        <p:nvSpPr>
          <p:cNvPr id="6" name="object 9">
            <a:extLst>
              <a:ext uri="{FF2B5EF4-FFF2-40B4-BE49-F238E27FC236}">
                <a16:creationId xmlns:a16="http://schemas.microsoft.com/office/drawing/2014/main" id="{A68DCD8A-10BE-40C9-AB00-91335EE0ABBC}"/>
              </a:ext>
            </a:extLst>
          </p:cNvPr>
          <p:cNvSpPr txBox="1"/>
          <p:nvPr/>
        </p:nvSpPr>
        <p:spPr>
          <a:xfrm>
            <a:off x="1827597" y="1693695"/>
            <a:ext cx="2909953" cy="818063"/>
          </a:xfrm>
          <a:prstGeom prst="rect">
            <a:avLst/>
          </a:prstGeom>
        </p:spPr>
        <p:txBody>
          <a:bodyPr vert="horz" wrap="square" lIns="0" tIns="0" rIns="0" bIns="0" rtlCol="0">
            <a:noAutofit/>
          </a:bodyPr>
          <a:lstStyle/>
          <a:p>
            <a:pPr marL="42344" marR="493854" defTabSz="292916" eaLnBrk="1" fontAlgn="auto" hangingPunct="1">
              <a:spcBef>
                <a:spcPts val="405"/>
              </a:spcBef>
              <a:spcAft>
                <a:spcPts val="0"/>
              </a:spcAft>
              <a:defRPr/>
            </a:pPr>
            <a:r>
              <a:rPr lang="en-US" sz="1049" spc="-8">
                <a:solidFill>
                  <a:srgbClr val="646464"/>
                </a:solidFill>
                <a:latin typeface="EYInterstate Light" panose="02000506000000020004" pitchFamily="2" charset="0"/>
                <a:ea typeface="+mn-ea"/>
              </a:rPr>
              <a:t>Complicated features, </a:t>
            </a:r>
            <a:r>
              <a:rPr lang="en-US" sz="1049" spc="-4">
                <a:solidFill>
                  <a:srgbClr val="646464"/>
                </a:solidFill>
                <a:latin typeface="EYInterstate Light" panose="02000506000000020004" pitchFamily="2" charset="0"/>
                <a:ea typeface="+mn-ea"/>
              </a:rPr>
              <a:t>long launch </a:t>
            </a:r>
            <a:r>
              <a:rPr lang="en-US" sz="1049" spc="-8">
                <a:solidFill>
                  <a:srgbClr val="646464"/>
                </a:solidFill>
                <a:latin typeface="EYInterstate Light" panose="02000506000000020004" pitchFamily="2" charset="0"/>
                <a:ea typeface="+mn-ea"/>
              </a:rPr>
              <a:t>cycles,</a:t>
            </a:r>
            <a:r>
              <a:rPr lang="en-US" sz="1049" spc="-23">
                <a:solidFill>
                  <a:srgbClr val="646464"/>
                </a:solidFill>
                <a:latin typeface="EYInterstate Light" panose="02000506000000020004" pitchFamily="2" charset="0"/>
                <a:ea typeface="+mn-ea"/>
              </a:rPr>
              <a:t> </a:t>
            </a:r>
            <a:r>
              <a:rPr lang="en-US" sz="1049" spc="-4">
                <a:solidFill>
                  <a:srgbClr val="646464"/>
                </a:solidFill>
                <a:latin typeface="EYInterstate Light" panose="02000506000000020004" pitchFamily="2" charset="0"/>
                <a:ea typeface="+mn-ea"/>
              </a:rPr>
              <a:t>organization-</a:t>
            </a:r>
            <a:r>
              <a:rPr lang="en-US" sz="1049" spc="-15">
                <a:solidFill>
                  <a:srgbClr val="646464"/>
                </a:solidFill>
                <a:latin typeface="EYInterstate Light" panose="02000506000000020004" pitchFamily="2" charset="0"/>
                <a:ea typeface="+mn-ea"/>
              </a:rPr>
              <a:t> </a:t>
            </a:r>
            <a:r>
              <a:rPr lang="en-US" sz="1049">
                <a:solidFill>
                  <a:srgbClr val="646464"/>
                </a:solidFill>
                <a:latin typeface="EYInterstate Light" panose="02000506000000020004" pitchFamily="2" charset="0"/>
                <a:ea typeface="+mn-ea"/>
              </a:rPr>
              <a:t>and </a:t>
            </a:r>
            <a:r>
              <a:rPr lang="en-US" sz="1049" spc="-4">
                <a:solidFill>
                  <a:srgbClr val="646464"/>
                </a:solidFill>
                <a:latin typeface="EYInterstate Light" panose="02000506000000020004" pitchFamily="2" charset="0"/>
                <a:ea typeface="+mn-ea"/>
              </a:rPr>
              <a:t>economics-driven </a:t>
            </a:r>
            <a:r>
              <a:rPr lang="en-US" sz="1049" spc="-8">
                <a:solidFill>
                  <a:srgbClr val="646464"/>
                </a:solidFill>
                <a:latin typeface="EYInterstate Light" panose="02000506000000020004" pitchFamily="2" charset="0"/>
                <a:ea typeface="+mn-ea"/>
              </a:rPr>
              <a:t>offerings, preset </a:t>
            </a:r>
            <a:r>
              <a:rPr lang="en-US" sz="1049">
                <a:solidFill>
                  <a:srgbClr val="646464"/>
                </a:solidFill>
                <a:latin typeface="EYInterstate Light" panose="02000506000000020004" pitchFamily="2" charset="0"/>
                <a:ea typeface="+mn-ea"/>
              </a:rPr>
              <a:t>pricing, dependent on manual </a:t>
            </a:r>
            <a:r>
              <a:rPr lang="en-US" sz="1049" spc="-8">
                <a:solidFill>
                  <a:srgbClr val="646464"/>
                </a:solidFill>
                <a:latin typeface="EYInterstate Light" panose="02000506000000020004" pitchFamily="2" charset="0"/>
                <a:ea typeface="+mn-ea"/>
              </a:rPr>
              <a:t>research </a:t>
            </a:r>
            <a:r>
              <a:rPr lang="en-US" sz="1049">
                <a:solidFill>
                  <a:srgbClr val="646464"/>
                </a:solidFill>
                <a:latin typeface="EYInterstate Light" panose="02000506000000020004" pitchFamily="2" charset="0"/>
                <a:ea typeface="+mn-ea"/>
              </a:rPr>
              <a:t>and</a:t>
            </a:r>
            <a:r>
              <a:rPr lang="en-US" sz="1049" spc="-53">
                <a:solidFill>
                  <a:srgbClr val="646464"/>
                </a:solidFill>
                <a:latin typeface="EYInterstate Light" panose="02000506000000020004" pitchFamily="2" charset="0"/>
                <a:ea typeface="+mn-ea"/>
              </a:rPr>
              <a:t> </a:t>
            </a:r>
            <a:r>
              <a:rPr lang="en-US" sz="1049" spc="-4">
                <a:solidFill>
                  <a:srgbClr val="646464"/>
                </a:solidFill>
                <a:latin typeface="EYInterstate Light" panose="02000506000000020004" pitchFamily="2" charset="0"/>
                <a:ea typeface="+mn-ea"/>
              </a:rPr>
              <a:t>legwork</a:t>
            </a:r>
            <a:endParaRPr lang="en-US" sz="1049">
              <a:solidFill>
                <a:srgbClr val="646464"/>
              </a:solidFill>
              <a:latin typeface="EYInterstate Light" panose="02000506000000020004" pitchFamily="2" charset="0"/>
              <a:ea typeface="+mn-ea"/>
            </a:endParaRPr>
          </a:p>
        </p:txBody>
      </p:sp>
      <p:sp>
        <p:nvSpPr>
          <p:cNvPr id="7" name="object 10">
            <a:extLst>
              <a:ext uri="{FF2B5EF4-FFF2-40B4-BE49-F238E27FC236}">
                <a16:creationId xmlns:a16="http://schemas.microsoft.com/office/drawing/2014/main" id="{D34D938A-2759-4302-B7BB-CF487C6862AD}"/>
              </a:ext>
            </a:extLst>
          </p:cNvPr>
          <p:cNvSpPr txBox="1"/>
          <p:nvPr/>
        </p:nvSpPr>
        <p:spPr>
          <a:xfrm>
            <a:off x="1827597" y="3278728"/>
            <a:ext cx="2909953" cy="333567"/>
          </a:xfrm>
          <a:prstGeom prst="rect">
            <a:avLst/>
          </a:prstGeom>
        </p:spPr>
        <p:txBody>
          <a:bodyPr vert="horz" wrap="square" lIns="0" tIns="0" rIns="0" bIns="0" rtlCol="0">
            <a:no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a:solidFill>
                  <a:srgbClr val="646464"/>
                </a:solidFill>
              </a:rPr>
              <a:t>Agent-dominated, traditional mass advertising strategies and channels</a:t>
            </a:r>
          </a:p>
        </p:txBody>
      </p:sp>
      <p:sp>
        <p:nvSpPr>
          <p:cNvPr id="8" name="object 11">
            <a:extLst>
              <a:ext uri="{FF2B5EF4-FFF2-40B4-BE49-F238E27FC236}">
                <a16:creationId xmlns:a16="http://schemas.microsoft.com/office/drawing/2014/main" id="{83CCCA27-5EB8-41BE-9D31-916490BAC277}"/>
              </a:ext>
            </a:extLst>
          </p:cNvPr>
          <p:cNvSpPr txBox="1"/>
          <p:nvPr/>
        </p:nvSpPr>
        <p:spPr>
          <a:xfrm>
            <a:off x="1827596" y="4120563"/>
            <a:ext cx="2878740" cy="495065"/>
          </a:xfrm>
          <a:prstGeom prst="rect">
            <a:avLst/>
          </a:prstGeom>
        </p:spPr>
        <p:txBody>
          <a:bodyPr vert="horz" wrap="square" lIns="0" tIns="0" rIns="0" bIns="0" rtlCol="0">
            <a:no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a:solidFill>
                  <a:srgbClr val="646464"/>
                </a:solidFill>
              </a:rPr>
              <a:t>Product-centric, reliant on agents, phone- and paper-based, labor-intensive and cumbersome</a:t>
            </a:r>
          </a:p>
        </p:txBody>
      </p:sp>
      <p:sp>
        <p:nvSpPr>
          <p:cNvPr id="9" name="object 14">
            <a:extLst>
              <a:ext uri="{FF2B5EF4-FFF2-40B4-BE49-F238E27FC236}">
                <a16:creationId xmlns:a16="http://schemas.microsoft.com/office/drawing/2014/main" id="{59B77A0C-249A-470F-B1B9-135D56B67C8E}"/>
              </a:ext>
            </a:extLst>
          </p:cNvPr>
          <p:cNvSpPr txBox="1"/>
          <p:nvPr/>
        </p:nvSpPr>
        <p:spPr>
          <a:xfrm>
            <a:off x="1827596" y="4990307"/>
            <a:ext cx="2538536" cy="495065"/>
          </a:xfrm>
          <a:prstGeom prst="rect">
            <a:avLst/>
          </a:prstGeom>
        </p:spPr>
        <p:txBody>
          <a:bodyPr vert="horz" wrap="square" lIns="0" tIns="0" rIns="0" bIns="0" rtlCol="0">
            <a:no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a:solidFill>
                  <a:srgbClr val="646464"/>
                </a:solidFill>
              </a:rPr>
              <a:t>Manual processing, long wait times, dependent on subjective, self-reported information</a:t>
            </a:r>
          </a:p>
        </p:txBody>
      </p:sp>
      <p:sp>
        <p:nvSpPr>
          <p:cNvPr id="10" name="object 15">
            <a:extLst>
              <a:ext uri="{FF2B5EF4-FFF2-40B4-BE49-F238E27FC236}">
                <a16:creationId xmlns:a16="http://schemas.microsoft.com/office/drawing/2014/main" id="{49136160-CE53-4AB7-8CE6-D2258ED02691}"/>
              </a:ext>
            </a:extLst>
          </p:cNvPr>
          <p:cNvSpPr txBox="1"/>
          <p:nvPr/>
        </p:nvSpPr>
        <p:spPr>
          <a:xfrm>
            <a:off x="1827596" y="5953148"/>
            <a:ext cx="2538536" cy="656564"/>
          </a:xfrm>
          <a:prstGeom prst="rect">
            <a:avLst/>
          </a:prstGeom>
        </p:spPr>
        <p:txBody>
          <a:bodyPr vert="horz" wrap="square" lIns="0" tIns="0" rIns="0" bIns="0" rtlCol="0">
            <a:no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a:solidFill>
                  <a:srgbClr val="646464"/>
                </a:solidFill>
              </a:rPr>
              <a:t>Reactive, risk impact mitigation-oriented, relies on broad demographic and historical information</a:t>
            </a:r>
          </a:p>
        </p:txBody>
      </p:sp>
      <p:sp>
        <p:nvSpPr>
          <p:cNvPr id="50" name="object 9">
            <a:extLst>
              <a:ext uri="{FF2B5EF4-FFF2-40B4-BE49-F238E27FC236}">
                <a16:creationId xmlns:a16="http://schemas.microsoft.com/office/drawing/2014/main" id="{4A466117-8583-4816-B275-9A36A8497966}"/>
              </a:ext>
            </a:extLst>
          </p:cNvPr>
          <p:cNvSpPr txBox="1"/>
          <p:nvPr/>
        </p:nvSpPr>
        <p:spPr>
          <a:xfrm>
            <a:off x="1827597" y="1214981"/>
            <a:ext cx="2909953" cy="441232"/>
          </a:xfrm>
          <a:prstGeom prst="rect">
            <a:avLst/>
          </a:prstGeom>
        </p:spPr>
        <p:txBody>
          <a:bodyPr vert="horz" wrap="square" lIns="0" tIns="10468" rIns="0" bIns="0" rtlCol="0">
            <a:spAutoFit/>
          </a:bodyPr>
          <a:lstStyle/>
          <a:p>
            <a:pPr marL="9515" defTabSz="292916" eaLnBrk="1" fontAlgn="auto" hangingPunct="1">
              <a:spcBef>
                <a:spcPts val="83"/>
              </a:spcBef>
              <a:spcAft>
                <a:spcPts val="0"/>
              </a:spcAft>
              <a:defRPr/>
            </a:pPr>
            <a:r>
              <a:rPr sz="1399" b="1" spc="-15" dirty="0">
                <a:solidFill>
                  <a:srgbClr val="646464"/>
                </a:solidFill>
                <a:latin typeface="EYInterstate"/>
                <a:ea typeface="Ebrima" panose="02000000000000000000" pitchFamily="2" charset="0"/>
                <a:cs typeface="Ebrima" panose="02000000000000000000" pitchFamily="2" charset="0"/>
              </a:rPr>
              <a:t>Traditional</a:t>
            </a:r>
            <a:r>
              <a:rPr sz="1399" b="1" spc="-56" dirty="0">
                <a:solidFill>
                  <a:srgbClr val="646464"/>
                </a:solidFill>
                <a:latin typeface="EYInterstate"/>
                <a:ea typeface="Ebrima" panose="02000000000000000000" pitchFamily="2" charset="0"/>
                <a:cs typeface="Ebrima" panose="02000000000000000000" pitchFamily="2" charset="0"/>
              </a:rPr>
              <a:t> </a:t>
            </a:r>
            <a:r>
              <a:rPr sz="1399" b="1" spc="-4" dirty="0">
                <a:solidFill>
                  <a:srgbClr val="646464"/>
                </a:solidFill>
                <a:latin typeface="EYInterstate"/>
                <a:ea typeface="Ebrima" panose="02000000000000000000" pitchFamily="2" charset="0"/>
                <a:cs typeface="Ebrima" panose="02000000000000000000" pitchFamily="2" charset="0"/>
              </a:rPr>
              <a:t>insurer</a:t>
            </a:r>
            <a:r>
              <a:rPr lang="en-IN" sz="1399" b="1" spc="-4" dirty="0">
                <a:solidFill>
                  <a:srgbClr val="646464"/>
                </a:solidFill>
                <a:latin typeface="EYInterstate"/>
                <a:ea typeface="Ebrima" panose="02000000000000000000" pitchFamily="2" charset="0"/>
                <a:cs typeface="Ebrima" panose="02000000000000000000" pitchFamily="2" charset="0"/>
              </a:rPr>
              <a:t> – old and obsolete</a:t>
            </a:r>
            <a:endParaRPr sz="1399" b="1" dirty="0">
              <a:solidFill>
                <a:srgbClr val="646464"/>
              </a:solidFill>
              <a:latin typeface="EYInterstate"/>
              <a:ea typeface="Ebrima" panose="02000000000000000000" pitchFamily="2" charset="0"/>
              <a:cs typeface="Ebrima" panose="02000000000000000000" pitchFamily="2" charset="0"/>
            </a:endParaRPr>
          </a:p>
        </p:txBody>
      </p:sp>
      <p:pic>
        <p:nvPicPr>
          <p:cNvPr id="5" name="Graphic 4">
            <a:extLst>
              <a:ext uri="{FF2B5EF4-FFF2-40B4-BE49-F238E27FC236}">
                <a16:creationId xmlns:a16="http://schemas.microsoft.com/office/drawing/2014/main" id="{1D85A1D3-666A-48C4-9C97-BF65C0528832}"/>
              </a:ext>
            </a:extLst>
          </p:cNvPr>
          <p:cNvPicPr>
            <a:picLocks/>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417" y="1682629"/>
            <a:ext cx="456962" cy="456962"/>
          </a:xfrm>
          <a:prstGeom prst="rect">
            <a:avLst/>
          </a:prstGeom>
        </p:spPr>
      </p:pic>
      <p:pic>
        <p:nvPicPr>
          <p:cNvPr id="104" name="Graphic 103">
            <a:extLst>
              <a:ext uri="{FF2B5EF4-FFF2-40B4-BE49-F238E27FC236}">
                <a16:creationId xmlns:a16="http://schemas.microsoft.com/office/drawing/2014/main" id="{A64BDC86-44B6-4B2A-9288-02A123761AA1}"/>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6191" y="5874336"/>
            <a:ext cx="456962" cy="456962"/>
          </a:xfrm>
          <a:prstGeom prst="rect">
            <a:avLst/>
          </a:prstGeom>
        </p:spPr>
      </p:pic>
      <p:sp>
        <p:nvSpPr>
          <p:cNvPr id="52" name="object 9">
            <a:extLst>
              <a:ext uri="{FF2B5EF4-FFF2-40B4-BE49-F238E27FC236}">
                <a16:creationId xmlns:a16="http://schemas.microsoft.com/office/drawing/2014/main" id="{F2B226C4-957B-4047-94F2-D4590F64F05D}"/>
              </a:ext>
            </a:extLst>
          </p:cNvPr>
          <p:cNvSpPr txBox="1"/>
          <p:nvPr/>
        </p:nvSpPr>
        <p:spPr>
          <a:xfrm>
            <a:off x="4587996" y="1671933"/>
            <a:ext cx="3509936" cy="1243598"/>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b="1">
                <a:solidFill>
                  <a:srgbClr val="00A3AE"/>
                </a:solidFill>
              </a:rPr>
              <a:t>Quick speed to market driven </a:t>
            </a:r>
            <a:r>
              <a:rPr lang="en-US" sz="1049">
                <a:solidFill>
                  <a:srgbClr val="646464"/>
                </a:solidFill>
              </a:rPr>
              <a:t>by consumer needs &amp; lifestyles</a:t>
            </a:r>
          </a:p>
          <a:p>
            <a:pPr marL="42344" marR="493854" defTabSz="292916">
              <a:defRPr/>
            </a:pPr>
            <a:r>
              <a:rPr lang="en-US" sz="1049">
                <a:solidFill>
                  <a:srgbClr val="646464"/>
                </a:solidFill>
              </a:rPr>
              <a:t>Embedded into products and services by ‘morphing’ insurance into the background (e.g. point of sale, geo-location enabled etc.)</a:t>
            </a:r>
          </a:p>
          <a:p>
            <a:pPr marL="42344" marR="493854" defTabSz="292916">
              <a:defRPr/>
            </a:pPr>
            <a:r>
              <a:rPr lang="en-US" sz="1049" b="1">
                <a:solidFill>
                  <a:srgbClr val="00A3AE"/>
                </a:solidFill>
              </a:rPr>
              <a:t>Tailored and more accurate pricing</a:t>
            </a:r>
            <a:r>
              <a:rPr lang="en-US" sz="1049">
                <a:solidFill>
                  <a:srgbClr val="646464"/>
                </a:solidFill>
              </a:rPr>
              <a:t>, assisted by technology</a:t>
            </a:r>
          </a:p>
        </p:txBody>
      </p:sp>
      <p:sp>
        <p:nvSpPr>
          <p:cNvPr id="53" name="object 10">
            <a:extLst>
              <a:ext uri="{FF2B5EF4-FFF2-40B4-BE49-F238E27FC236}">
                <a16:creationId xmlns:a16="http://schemas.microsoft.com/office/drawing/2014/main" id="{A614E502-9FE8-472E-8773-026E794DA8C5}"/>
              </a:ext>
            </a:extLst>
          </p:cNvPr>
          <p:cNvSpPr txBox="1"/>
          <p:nvPr/>
        </p:nvSpPr>
        <p:spPr>
          <a:xfrm>
            <a:off x="4587997" y="3278728"/>
            <a:ext cx="3104029" cy="333567"/>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a:solidFill>
                  <a:srgbClr val="646464"/>
                </a:solidFill>
              </a:rPr>
              <a:t>Digital-direct, personalized and contextual, </a:t>
            </a:r>
            <a:r>
              <a:rPr lang="en-US" sz="1049" b="1">
                <a:solidFill>
                  <a:srgbClr val="00A3AE"/>
                </a:solidFill>
              </a:rPr>
              <a:t>social and engaging</a:t>
            </a:r>
          </a:p>
        </p:txBody>
      </p:sp>
      <p:sp>
        <p:nvSpPr>
          <p:cNvPr id="54" name="object 11">
            <a:extLst>
              <a:ext uri="{FF2B5EF4-FFF2-40B4-BE49-F238E27FC236}">
                <a16:creationId xmlns:a16="http://schemas.microsoft.com/office/drawing/2014/main" id="{06DC46C4-4658-46F3-8AA0-BE970B690638}"/>
              </a:ext>
            </a:extLst>
          </p:cNvPr>
          <p:cNvSpPr txBox="1"/>
          <p:nvPr/>
        </p:nvSpPr>
        <p:spPr>
          <a:xfrm>
            <a:off x="4587996" y="4120563"/>
            <a:ext cx="2866900" cy="495065"/>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b="1">
                <a:solidFill>
                  <a:srgbClr val="00A3AE"/>
                </a:solidFill>
              </a:rPr>
              <a:t>Customer-centric</a:t>
            </a:r>
            <a:r>
              <a:rPr lang="en-US" sz="1049">
                <a:solidFill>
                  <a:srgbClr val="646464"/>
                </a:solidFill>
              </a:rPr>
              <a:t> with omni-channel presence, simple and seamless, self-service friendly</a:t>
            </a:r>
          </a:p>
        </p:txBody>
      </p:sp>
      <p:sp>
        <p:nvSpPr>
          <p:cNvPr id="56" name="object 14">
            <a:extLst>
              <a:ext uri="{FF2B5EF4-FFF2-40B4-BE49-F238E27FC236}">
                <a16:creationId xmlns:a16="http://schemas.microsoft.com/office/drawing/2014/main" id="{727428BA-86D1-4148-895D-74243972276D}"/>
              </a:ext>
            </a:extLst>
          </p:cNvPr>
          <p:cNvSpPr txBox="1"/>
          <p:nvPr/>
        </p:nvSpPr>
        <p:spPr>
          <a:xfrm>
            <a:off x="4587996" y="4990307"/>
            <a:ext cx="3244224" cy="333567"/>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b="1">
                <a:solidFill>
                  <a:srgbClr val="00A3AE"/>
                </a:solidFill>
              </a:rPr>
              <a:t>Automated processing</a:t>
            </a:r>
            <a:r>
              <a:rPr lang="en-US" sz="1049">
                <a:solidFill>
                  <a:srgbClr val="646464"/>
                </a:solidFill>
              </a:rPr>
              <a:t>, fast turnaround, leverages objective measured/collected data</a:t>
            </a:r>
          </a:p>
        </p:txBody>
      </p:sp>
      <p:sp>
        <p:nvSpPr>
          <p:cNvPr id="57" name="object 15">
            <a:extLst>
              <a:ext uri="{FF2B5EF4-FFF2-40B4-BE49-F238E27FC236}">
                <a16:creationId xmlns:a16="http://schemas.microsoft.com/office/drawing/2014/main" id="{9AF29E23-945B-4862-B5EF-8D5E23BDD3F1}"/>
              </a:ext>
            </a:extLst>
          </p:cNvPr>
          <p:cNvSpPr txBox="1"/>
          <p:nvPr/>
        </p:nvSpPr>
        <p:spPr>
          <a:xfrm>
            <a:off x="4587997" y="5937472"/>
            <a:ext cx="3596975" cy="495065"/>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b="1">
                <a:solidFill>
                  <a:srgbClr val="00A3AE"/>
                </a:solidFill>
              </a:rPr>
              <a:t>Proactive</a:t>
            </a:r>
            <a:r>
              <a:rPr lang="en-US" sz="1049">
                <a:solidFill>
                  <a:srgbClr val="646464"/>
                </a:solidFill>
              </a:rPr>
              <a:t>, risk occurrence monitoring and prevention- focused, </a:t>
            </a:r>
            <a:r>
              <a:rPr lang="en-US" sz="1049" b="1">
                <a:solidFill>
                  <a:srgbClr val="00A3AE"/>
                </a:solidFill>
              </a:rPr>
              <a:t>incorporates rich real time data</a:t>
            </a:r>
          </a:p>
        </p:txBody>
      </p:sp>
      <p:sp>
        <p:nvSpPr>
          <p:cNvPr id="92" name="object 9">
            <a:extLst>
              <a:ext uri="{FF2B5EF4-FFF2-40B4-BE49-F238E27FC236}">
                <a16:creationId xmlns:a16="http://schemas.microsoft.com/office/drawing/2014/main" id="{20D4B55F-8737-4BE8-9AC2-A034D540EC34}"/>
              </a:ext>
            </a:extLst>
          </p:cNvPr>
          <p:cNvSpPr txBox="1"/>
          <p:nvPr/>
        </p:nvSpPr>
        <p:spPr>
          <a:xfrm>
            <a:off x="4587997" y="1214981"/>
            <a:ext cx="3027201" cy="225788"/>
          </a:xfrm>
          <a:prstGeom prst="rect">
            <a:avLst/>
          </a:prstGeom>
        </p:spPr>
        <p:txBody>
          <a:bodyPr vert="horz" wrap="square" lIns="0" tIns="10468" rIns="0" bIns="0" rtlCol="0">
            <a:spAutoFit/>
          </a:bodyPr>
          <a:lstStyle>
            <a:defPPr>
              <a:defRPr lang="en-US"/>
            </a:defPPr>
            <a:lvl1pPr marL="9520" marR="0" lvl="0" indent="0" defTabSz="293063" eaLnBrk="1" fontAlgn="auto" latinLnBrk="0" hangingPunct="1">
              <a:lnSpc>
                <a:spcPct val="100000"/>
              </a:lnSpc>
              <a:spcBef>
                <a:spcPts val="83"/>
              </a:spcBef>
              <a:spcAft>
                <a:spcPts val="0"/>
              </a:spcAft>
              <a:buClrTx/>
              <a:buSzTx/>
              <a:buFontTx/>
              <a:buNone/>
              <a:tabLst/>
              <a:defRPr kumimoji="0" sz="1400" b="1" i="0" u="none" strike="noStrike" cap="none" spc="-15" normalizeH="0" baseline="0">
                <a:ln>
                  <a:noFill/>
                </a:ln>
                <a:solidFill>
                  <a:schemeClr val="bg1"/>
                </a:solidFill>
                <a:effectLst/>
                <a:uLnTx/>
                <a:uFillTx/>
                <a:latin typeface="+mn-lt"/>
                <a:ea typeface="Ebrima" panose="02000000000000000000" pitchFamily="2" charset="0"/>
                <a:cs typeface="Ebrima" panose="02000000000000000000" pitchFamily="2" charset="0"/>
              </a:defRPr>
            </a:lvl1pPr>
          </a:lstStyle>
          <a:p>
            <a:pPr marL="9515" defTabSz="292916">
              <a:defRPr/>
            </a:pPr>
            <a:r>
              <a:rPr lang="en-IN" sz="1399">
                <a:solidFill>
                  <a:srgbClr val="00A3AE"/>
                </a:solidFill>
                <a:latin typeface="EYInterstate"/>
              </a:rPr>
              <a:t>Digitally savvy insurer – the future</a:t>
            </a:r>
          </a:p>
        </p:txBody>
      </p:sp>
      <p:sp>
        <p:nvSpPr>
          <p:cNvPr id="35" name="object 9">
            <a:extLst>
              <a:ext uri="{FF2B5EF4-FFF2-40B4-BE49-F238E27FC236}">
                <a16:creationId xmlns:a16="http://schemas.microsoft.com/office/drawing/2014/main" id="{92B8F74D-F1F6-4F28-A5D2-CCDC22A03454}"/>
              </a:ext>
            </a:extLst>
          </p:cNvPr>
          <p:cNvSpPr txBox="1"/>
          <p:nvPr/>
        </p:nvSpPr>
        <p:spPr>
          <a:xfrm>
            <a:off x="7874886" y="1214981"/>
            <a:ext cx="3027201" cy="226014"/>
          </a:xfrm>
          <a:prstGeom prst="rect">
            <a:avLst/>
          </a:prstGeom>
          <a:noFill/>
        </p:spPr>
        <p:txBody>
          <a:bodyPr vert="horz" wrap="square" lIns="0" tIns="10468" rIns="0" bIns="0" rtlCol="0">
            <a:spAutoFit/>
          </a:bodyPr>
          <a:lstStyle>
            <a:defPPr>
              <a:defRPr lang="en-US"/>
            </a:defPPr>
            <a:lvl1pPr marL="9520" marR="0" lvl="0" indent="0" defTabSz="293063" eaLnBrk="1" fontAlgn="auto" latinLnBrk="0" hangingPunct="1">
              <a:lnSpc>
                <a:spcPct val="100000"/>
              </a:lnSpc>
              <a:spcBef>
                <a:spcPts val="83"/>
              </a:spcBef>
              <a:spcAft>
                <a:spcPts val="0"/>
              </a:spcAft>
              <a:buClrTx/>
              <a:buSzTx/>
              <a:buFontTx/>
              <a:buNone/>
              <a:tabLst/>
              <a:defRPr kumimoji="0" sz="1400" b="1" i="0" u="none" strike="noStrike" cap="none" spc="-15" normalizeH="0" baseline="0">
                <a:ln>
                  <a:noFill/>
                </a:ln>
                <a:solidFill>
                  <a:schemeClr val="bg1"/>
                </a:solidFill>
                <a:effectLst/>
                <a:uLnTx/>
                <a:uFillTx/>
                <a:latin typeface="+mn-lt"/>
                <a:ea typeface="Ebrima" panose="02000000000000000000" pitchFamily="2" charset="0"/>
                <a:cs typeface="Ebrima" panose="02000000000000000000" pitchFamily="2" charset="0"/>
              </a:defRPr>
            </a:lvl1pPr>
          </a:lstStyle>
          <a:p>
            <a:pPr marL="9515" defTabSz="292916">
              <a:defRPr/>
            </a:pPr>
            <a:r>
              <a:rPr lang="en-IN" spc="-8" dirty="0">
                <a:solidFill>
                  <a:srgbClr val="FFC000"/>
                </a:solidFill>
                <a:latin typeface="EYInterstate"/>
                <a:cs typeface="Arial" charset="0"/>
              </a:rPr>
              <a:t>Sample Use-Cases</a:t>
            </a:r>
          </a:p>
        </p:txBody>
      </p:sp>
      <p:sp>
        <p:nvSpPr>
          <p:cNvPr id="43" name="object 9">
            <a:extLst>
              <a:ext uri="{FF2B5EF4-FFF2-40B4-BE49-F238E27FC236}">
                <a16:creationId xmlns:a16="http://schemas.microsoft.com/office/drawing/2014/main" id="{0973C0DA-1BCC-48DE-B3DC-68BC63BCB740}"/>
              </a:ext>
            </a:extLst>
          </p:cNvPr>
          <p:cNvSpPr txBox="1"/>
          <p:nvPr/>
        </p:nvSpPr>
        <p:spPr>
          <a:xfrm>
            <a:off x="7874886" y="1693695"/>
            <a:ext cx="3995661" cy="869139"/>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b="1" dirty="0">
                <a:solidFill>
                  <a:srgbClr val="FFC000"/>
                </a:solidFill>
              </a:rPr>
              <a:t>Mapping of customers to agents </a:t>
            </a:r>
            <a:r>
              <a:rPr lang="en-US" sz="1049" dirty="0">
                <a:solidFill>
                  <a:srgbClr val="646464"/>
                </a:solidFill>
              </a:rPr>
              <a:t>using advanced analytics, identifying peer similarity</a:t>
            </a:r>
          </a:p>
          <a:p>
            <a:pPr marL="42344" marR="493854" defTabSz="292916">
              <a:defRPr/>
            </a:pPr>
            <a:r>
              <a:rPr lang="en-US" sz="1049" b="1" dirty="0">
                <a:solidFill>
                  <a:srgbClr val="FFC000"/>
                </a:solidFill>
              </a:rPr>
              <a:t>Creating family tree</a:t>
            </a:r>
            <a:r>
              <a:rPr lang="en-US" sz="1049" dirty="0">
                <a:solidFill>
                  <a:srgbClr val="646464"/>
                </a:solidFill>
              </a:rPr>
              <a:t> for new and existing customers using network graph technology that can help to onboard &amp; identify potential prospects</a:t>
            </a:r>
          </a:p>
        </p:txBody>
      </p:sp>
      <p:sp>
        <p:nvSpPr>
          <p:cNvPr id="45" name="object 9">
            <a:extLst>
              <a:ext uri="{FF2B5EF4-FFF2-40B4-BE49-F238E27FC236}">
                <a16:creationId xmlns:a16="http://schemas.microsoft.com/office/drawing/2014/main" id="{91532C5A-67E1-432B-9D8D-DDAC94CD0F12}"/>
              </a:ext>
            </a:extLst>
          </p:cNvPr>
          <p:cNvSpPr txBox="1"/>
          <p:nvPr/>
        </p:nvSpPr>
        <p:spPr>
          <a:xfrm>
            <a:off x="7874887" y="3091593"/>
            <a:ext cx="4312053" cy="869332"/>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b="1" dirty="0">
                <a:solidFill>
                  <a:srgbClr val="FFC000"/>
                </a:solidFill>
              </a:rPr>
              <a:t>Tailored plans: </a:t>
            </a:r>
            <a:r>
              <a:rPr lang="en-US" sz="1049" dirty="0">
                <a:solidFill>
                  <a:srgbClr val="646464"/>
                </a:solidFill>
              </a:rPr>
              <a:t>Leverage on machine learning that analyses customers’ data to match insurance plans with customers’ profile &amp; behavior</a:t>
            </a:r>
          </a:p>
          <a:p>
            <a:pPr marL="42344" marR="493854" defTabSz="292916">
              <a:defRPr/>
            </a:pPr>
            <a:r>
              <a:rPr lang="en-US" sz="1049" b="1" dirty="0">
                <a:solidFill>
                  <a:srgbClr val="FFC000"/>
                </a:solidFill>
              </a:rPr>
              <a:t>Next best offer: </a:t>
            </a:r>
            <a:r>
              <a:rPr lang="en-US" sz="1049" dirty="0">
                <a:solidFill>
                  <a:srgbClr val="646464"/>
                </a:solidFill>
              </a:rPr>
              <a:t>Utilization of analytics to provide the next best offer to customers through different medias</a:t>
            </a:r>
          </a:p>
        </p:txBody>
      </p:sp>
      <p:sp>
        <p:nvSpPr>
          <p:cNvPr id="32" name="object 9">
            <a:extLst>
              <a:ext uri="{FF2B5EF4-FFF2-40B4-BE49-F238E27FC236}">
                <a16:creationId xmlns:a16="http://schemas.microsoft.com/office/drawing/2014/main" id="{8B750947-EE1D-4247-86AD-3F7A9448C6DB}"/>
              </a:ext>
            </a:extLst>
          </p:cNvPr>
          <p:cNvSpPr txBox="1"/>
          <p:nvPr/>
        </p:nvSpPr>
        <p:spPr>
          <a:xfrm>
            <a:off x="7874885" y="4101513"/>
            <a:ext cx="4491740" cy="708069"/>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b="1" dirty="0">
                <a:solidFill>
                  <a:srgbClr val="FFC000"/>
                </a:solidFill>
              </a:rPr>
              <a:t>Customized experience: </a:t>
            </a:r>
            <a:r>
              <a:rPr lang="en-US" dirty="0">
                <a:solidFill>
                  <a:srgbClr val="646464"/>
                </a:solidFill>
                <a:cs typeface="+mn-cs"/>
              </a:rPr>
              <a:t>Data and Analytics cases can be formed from the customers online and offline behavior to suggest different insurance options for agents to provide to the customer.</a:t>
            </a:r>
          </a:p>
          <a:p>
            <a:pPr marL="42344" marR="493854" defTabSz="292916">
              <a:defRPr/>
            </a:pPr>
            <a:endParaRPr lang="en-US" sz="1049" dirty="0">
              <a:solidFill>
                <a:srgbClr val="646464"/>
              </a:solidFill>
            </a:endParaRPr>
          </a:p>
        </p:txBody>
      </p:sp>
      <p:sp>
        <p:nvSpPr>
          <p:cNvPr id="34" name="object 9">
            <a:extLst>
              <a:ext uri="{FF2B5EF4-FFF2-40B4-BE49-F238E27FC236}">
                <a16:creationId xmlns:a16="http://schemas.microsoft.com/office/drawing/2014/main" id="{B5CC5564-37BE-42E5-825D-34B78C49AFCC}"/>
              </a:ext>
            </a:extLst>
          </p:cNvPr>
          <p:cNvSpPr txBox="1"/>
          <p:nvPr/>
        </p:nvSpPr>
        <p:spPr>
          <a:xfrm>
            <a:off x="7874887" y="4909557"/>
            <a:ext cx="3967099" cy="546334"/>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b="1" dirty="0">
                <a:solidFill>
                  <a:srgbClr val="FFC000"/>
                </a:solidFill>
              </a:rPr>
              <a:t>Automate process </a:t>
            </a:r>
            <a:r>
              <a:rPr lang="en-US" sz="1049" dirty="0">
                <a:solidFill>
                  <a:srgbClr val="646464"/>
                </a:solidFill>
              </a:rPr>
              <a:t>for assessors to review the submitted claims with proper diligence.</a:t>
            </a:r>
          </a:p>
          <a:p>
            <a:pPr marL="42344" marR="493854" defTabSz="292916">
              <a:defRPr/>
            </a:pPr>
            <a:r>
              <a:rPr lang="en-US" sz="1049" dirty="0">
                <a:solidFill>
                  <a:srgbClr val="646464"/>
                </a:solidFill>
              </a:rPr>
              <a:t>Leverage on machine learning to </a:t>
            </a:r>
            <a:r>
              <a:rPr lang="en-US" sz="1049" b="1" dirty="0">
                <a:solidFill>
                  <a:srgbClr val="FFC000"/>
                </a:solidFill>
              </a:rPr>
              <a:t>detect fraud claims</a:t>
            </a:r>
          </a:p>
        </p:txBody>
      </p:sp>
      <p:sp>
        <p:nvSpPr>
          <p:cNvPr id="46" name="object 9">
            <a:extLst>
              <a:ext uri="{FF2B5EF4-FFF2-40B4-BE49-F238E27FC236}">
                <a16:creationId xmlns:a16="http://schemas.microsoft.com/office/drawing/2014/main" id="{662F7C0B-BFDC-4666-A625-AE5AA1D689D0}"/>
              </a:ext>
            </a:extLst>
          </p:cNvPr>
          <p:cNvSpPr txBox="1"/>
          <p:nvPr/>
        </p:nvSpPr>
        <p:spPr>
          <a:xfrm>
            <a:off x="7874887" y="5934946"/>
            <a:ext cx="3967099" cy="333479"/>
          </a:xfrm>
          <a:prstGeom prst="rect">
            <a:avLst/>
          </a:prstGeom>
        </p:spPr>
        <p:txBody>
          <a:bodyPr vert="horz" wrap="square" lIns="0" tIns="10468" rIns="0" bIns="0" rtlCol="0">
            <a:spAutoFit/>
          </a:bodyPr>
          <a:lstStyle>
            <a:defPPr>
              <a:defRPr lang="en-US"/>
            </a:defPPr>
            <a:lvl1pPr marL="42365" marR="494101" lvl="0" indent="0" defTabSz="293063" eaLnBrk="1" fontAlgn="auto" latinLnBrk="0" hangingPunct="1">
              <a:lnSpc>
                <a:spcPct val="100000"/>
              </a:lnSpc>
              <a:spcBef>
                <a:spcPts val="405"/>
              </a:spcBef>
              <a:spcAft>
                <a:spcPts val="0"/>
              </a:spcAft>
              <a:buClrTx/>
              <a:buSzTx/>
              <a:buFontTx/>
              <a:buNone/>
              <a:tabLst/>
              <a:defRPr kumimoji="0" sz="1050" b="0" i="0" u="none" strike="noStrike" cap="none" spc="-8" normalizeH="0" baseline="0">
                <a:ln>
                  <a:noFill/>
                </a:ln>
                <a:solidFill>
                  <a:schemeClr val="bg1"/>
                </a:solidFill>
                <a:effectLst/>
                <a:uLnTx/>
                <a:uFillTx/>
                <a:latin typeface="EYInterstate Light" panose="02000506000000020004" pitchFamily="2" charset="0"/>
                <a:ea typeface="+mn-ea"/>
              </a:defRPr>
            </a:lvl1pPr>
          </a:lstStyle>
          <a:p>
            <a:pPr marL="42344" marR="493854" defTabSz="292916">
              <a:defRPr/>
            </a:pPr>
            <a:r>
              <a:rPr lang="en-US" sz="1049" b="1" dirty="0">
                <a:solidFill>
                  <a:srgbClr val="FFC000"/>
                </a:solidFill>
              </a:rPr>
              <a:t>Claim prediction: </a:t>
            </a:r>
            <a:r>
              <a:rPr lang="en-US" sz="1049" dirty="0">
                <a:solidFill>
                  <a:srgbClr val="646464"/>
                </a:solidFill>
              </a:rPr>
              <a:t>Leverage on AI/ML to predict claims and forecast solvency</a:t>
            </a:r>
          </a:p>
        </p:txBody>
      </p:sp>
      <p:cxnSp>
        <p:nvCxnSpPr>
          <p:cNvPr id="58" name="Straight Arrow Connector 57">
            <a:extLst>
              <a:ext uri="{FF2B5EF4-FFF2-40B4-BE49-F238E27FC236}">
                <a16:creationId xmlns:a16="http://schemas.microsoft.com/office/drawing/2014/main" id="{EA8C93E6-5D45-4F02-9164-933E6420C179}"/>
              </a:ext>
            </a:extLst>
          </p:cNvPr>
          <p:cNvCxnSpPr>
            <a:cxnSpLocks/>
          </p:cNvCxnSpPr>
          <p:nvPr/>
        </p:nvCxnSpPr>
        <p:spPr>
          <a:xfrm flipV="1">
            <a:off x="700821" y="2969682"/>
            <a:ext cx="11173847" cy="0"/>
          </a:xfrm>
          <a:prstGeom prst="straightConnector1">
            <a:avLst/>
          </a:prstGeom>
          <a:ln w="6350">
            <a:solidFill>
              <a:schemeClr val="bg1">
                <a:lumMod val="40000"/>
                <a:lumOff val="6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A6D63F5-C490-4523-B8F0-898048EFC672}"/>
              </a:ext>
            </a:extLst>
          </p:cNvPr>
          <p:cNvSpPr/>
          <p:nvPr/>
        </p:nvSpPr>
        <p:spPr>
          <a:xfrm>
            <a:off x="561894" y="2148349"/>
            <a:ext cx="1265558" cy="430663"/>
          </a:xfrm>
          <a:prstGeom prst="rect">
            <a:avLst/>
          </a:prstGeom>
        </p:spPr>
        <p:txBody>
          <a:bodyPr wrap="square">
            <a:spAutoFit/>
          </a:bodyPr>
          <a:lstStyle/>
          <a:p>
            <a:pPr marL="43770" algn="ctr" defTabSz="292916" eaLnBrk="1" fontAlgn="auto" hangingPunct="1">
              <a:spcBef>
                <a:spcPts val="1183"/>
              </a:spcBef>
              <a:spcAft>
                <a:spcPts val="0"/>
              </a:spcAft>
              <a:defRPr/>
            </a:pPr>
            <a:r>
              <a:rPr lang="en-US" sz="1099" b="1" spc="4">
                <a:solidFill>
                  <a:srgbClr val="000000"/>
                </a:solidFill>
                <a:latin typeface="EYInterstate"/>
                <a:ea typeface="+mn-ea"/>
              </a:rPr>
              <a:t>Product </a:t>
            </a:r>
            <a:r>
              <a:rPr lang="en-US" sz="1099" b="1" spc="11">
                <a:solidFill>
                  <a:srgbClr val="000000"/>
                </a:solidFill>
                <a:latin typeface="EYInterstate"/>
                <a:ea typeface="+mn-ea"/>
              </a:rPr>
              <a:t>&amp;</a:t>
            </a:r>
            <a:r>
              <a:rPr lang="en-US" sz="1099" b="1" spc="-56">
                <a:solidFill>
                  <a:srgbClr val="000000"/>
                </a:solidFill>
                <a:latin typeface="EYInterstate"/>
                <a:ea typeface="+mn-ea"/>
              </a:rPr>
              <a:t> </a:t>
            </a:r>
            <a:r>
              <a:rPr lang="en-US" sz="1099" b="1" spc="8">
                <a:solidFill>
                  <a:srgbClr val="000000"/>
                </a:solidFill>
                <a:latin typeface="EYInterstate"/>
                <a:ea typeface="+mn-ea"/>
              </a:rPr>
              <a:t>Underwriting</a:t>
            </a:r>
            <a:endParaRPr lang="en-US" sz="1099" b="1">
              <a:solidFill>
                <a:srgbClr val="000000"/>
              </a:solidFill>
              <a:latin typeface="EYInterstate"/>
              <a:ea typeface="+mn-ea"/>
            </a:endParaRPr>
          </a:p>
        </p:txBody>
      </p:sp>
      <p:grpSp>
        <p:nvGrpSpPr>
          <p:cNvPr id="14" name="Group 13">
            <a:extLst>
              <a:ext uri="{FF2B5EF4-FFF2-40B4-BE49-F238E27FC236}">
                <a16:creationId xmlns:a16="http://schemas.microsoft.com/office/drawing/2014/main" id="{286876E0-6661-4D10-BB03-54FF13515758}"/>
              </a:ext>
            </a:extLst>
          </p:cNvPr>
          <p:cNvGrpSpPr/>
          <p:nvPr/>
        </p:nvGrpSpPr>
        <p:grpSpPr>
          <a:xfrm>
            <a:off x="561894" y="3070674"/>
            <a:ext cx="1265558" cy="827715"/>
            <a:chOff x="481104" y="3274145"/>
            <a:chExt cx="1266217" cy="828146"/>
          </a:xfrm>
        </p:grpSpPr>
        <p:pic>
          <p:nvPicPr>
            <p:cNvPr id="95" name="Graphic 94">
              <a:extLst>
                <a:ext uri="{FF2B5EF4-FFF2-40B4-BE49-F238E27FC236}">
                  <a16:creationId xmlns:a16="http://schemas.microsoft.com/office/drawing/2014/main" id="{9B84FE55-0BE6-499B-9727-4599FF705C4D}"/>
                </a:ext>
              </a:extLst>
            </p:cNvPr>
            <p:cNvPicPr>
              <a:picLocks/>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1105" y="3274145"/>
              <a:ext cx="411480" cy="411480"/>
            </a:xfrm>
            <a:prstGeom prst="rect">
              <a:avLst/>
            </a:prstGeom>
          </p:spPr>
        </p:pic>
        <p:sp>
          <p:nvSpPr>
            <p:cNvPr id="38" name="Rectangle 37">
              <a:extLst>
                <a:ext uri="{FF2B5EF4-FFF2-40B4-BE49-F238E27FC236}">
                  <a16:creationId xmlns:a16="http://schemas.microsoft.com/office/drawing/2014/main" id="{26C0B3DB-7B43-437B-A8CB-1FDF567CDA56}"/>
                </a:ext>
              </a:extLst>
            </p:cNvPr>
            <p:cNvSpPr/>
            <p:nvPr/>
          </p:nvSpPr>
          <p:spPr>
            <a:xfrm>
              <a:off x="481104" y="3671404"/>
              <a:ext cx="1266217" cy="430887"/>
            </a:xfrm>
            <a:prstGeom prst="rect">
              <a:avLst/>
            </a:prstGeom>
          </p:spPr>
          <p:txBody>
            <a:bodyPr wrap="square">
              <a:spAutoFit/>
            </a:bodyPr>
            <a:lstStyle/>
            <a:p>
              <a:pPr marL="43770" algn="ctr" defTabSz="292916" eaLnBrk="1" fontAlgn="auto" hangingPunct="1">
                <a:spcBef>
                  <a:spcPts val="1183"/>
                </a:spcBef>
                <a:spcAft>
                  <a:spcPts val="0"/>
                </a:spcAft>
                <a:defRPr/>
              </a:pPr>
              <a:r>
                <a:rPr lang="en-US" sz="1099" b="1" spc="4">
                  <a:solidFill>
                    <a:srgbClr val="000000"/>
                  </a:solidFill>
                  <a:latin typeface="EYInterstate"/>
                  <a:ea typeface="+mn-ea"/>
                </a:rPr>
                <a:t>Marketing &amp; Distribution</a:t>
              </a:r>
            </a:p>
          </p:txBody>
        </p:sp>
      </p:grpSp>
      <p:grpSp>
        <p:nvGrpSpPr>
          <p:cNvPr id="15" name="Group 14">
            <a:extLst>
              <a:ext uri="{FF2B5EF4-FFF2-40B4-BE49-F238E27FC236}">
                <a16:creationId xmlns:a16="http://schemas.microsoft.com/office/drawing/2014/main" id="{AA2D715A-3AB4-418C-A4FD-DA3C5FC986DC}"/>
              </a:ext>
            </a:extLst>
          </p:cNvPr>
          <p:cNvGrpSpPr/>
          <p:nvPr/>
        </p:nvGrpSpPr>
        <p:grpSpPr>
          <a:xfrm>
            <a:off x="561894" y="4019476"/>
            <a:ext cx="1265558" cy="801686"/>
            <a:chOff x="440970" y="4670759"/>
            <a:chExt cx="1266217" cy="802104"/>
          </a:xfrm>
        </p:grpSpPr>
        <p:pic>
          <p:nvPicPr>
            <p:cNvPr id="98" name="Graphic 97">
              <a:extLst>
                <a:ext uri="{FF2B5EF4-FFF2-40B4-BE49-F238E27FC236}">
                  <a16:creationId xmlns:a16="http://schemas.microsoft.com/office/drawing/2014/main" id="{ABE424AE-1486-40EC-BFDF-CF8898035EEB}"/>
                </a:ext>
              </a:extLst>
            </p:cNvPr>
            <p:cNvPicPr>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8338" y="4670759"/>
              <a:ext cx="411480" cy="411480"/>
            </a:xfrm>
            <a:prstGeom prst="rect">
              <a:avLst/>
            </a:prstGeom>
          </p:spPr>
        </p:pic>
        <p:sp>
          <p:nvSpPr>
            <p:cNvPr id="39" name="Rectangle 38">
              <a:extLst>
                <a:ext uri="{FF2B5EF4-FFF2-40B4-BE49-F238E27FC236}">
                  <a16:creationId xmlns:a16="http://schemas.microsoft.com/office/drawing/2014/main" id="{0A0B45D6-04E0-486E-A48A-6069CAB3ADA1}"/>
                </a:ext>
              </a:extLst>
            </p:cNvPr>
            <p:cNvSpPr/>
            <p:nvPr/>
          </p:nvSpPr>
          <p:spPr>
            <a:xfrm>
              <a:off x="440970" y="5041976"/>
              <a:ext cx="1266217" cy="430887"/>
            </a:xfrm>
            <a:prstGeom prst="rect">
              <a:avLst/>
            </a:prstGeom>
          </p:spPr>
          <p:txBody>
            <a:bodyPr wrap="square">
              <a:spAutoFit/>
            </a:bodyPr>
            <a:lstStyle/>
            <a:p>
              <a:pPr marL="43770" algn="ctr" defTabSz="292916" eaLnBrk="1" fontAlgn="auto" hangingPunct="1">
                <a:spcBef>
                  <a:spcPts val="1183"/>
                </a:spcBef>
                <a:spcAft>
                  <a:spcPts val="0"/>
                </a:spcAft>
                <a:defRPr/>
              </a:pPr>
              <a:r>
                <a:rPr lang="en-US" sz="1099" b="1" spc="4">
                  <a:solidFill>
                    <a:srgbClr val="000000"/>
                  </a:solidFill>
                  <a:latin typeface="EYInterstate"/>
                  <a:ea typeface="+mn-ea"/>
                </a:rPr>
                <a:t>Servicing &amp; Operations</a:t>
              </a:r>
            </a:p>
          </p:txBody>
        </p:sp>
      </p:grpSp>
      <p:sp>
        <p:nvSpPr>
          <p:cNvPr id="41" name="Rectangle 40">
            <a:extLst>
              <a:ext uri="{FF2B5EF4-FFF2-40B4-BE49-F238E27FC236}">
                <a16:creationId xmlns:a16="http://schemas.microsoft.com/office/drawing/2014/main" id="{77A80D54-F75B-4171-82CE-23D4D9B7758E}"/>
              </a:ext>
            </a:extLst>
          </p:cNvPr>
          <p:cNvSpPr/>
          <p:nvPr/>
        </p:nvSpPr>
        <p:spPr>
          <a:xfrm>
            <a:off x="561894" y="6328566"/>
            <a:ext cx="1265558" cy="430663"/>
          </a:xfrm>
          <a:prstGeom prst="rect">
            <a:avLst/>
          </a:prstGeom>
        </p:spPr>
        <p:txBody>
          <a:bodyPr wrap="square">
            <a:spAutoFit/>
          </a:bodyPr>
          <a:lstStyle/>
          <a:p>
            <a:pPr marL="43770" algn="ctr" defTabSz="292916" eaLnBrk="1" fontAlgn="auto" hangingPunct="1">
              <a:spcBef>
                <a:spcPts val="1183"/>
              </a:spcBef>
              <a:spcAft>
                <a:spcPts val="0"/>
              </a:spcAft>
              <a:defRPr/>
            </a:pPr>
            <a:r>
              <a:rPr lang="en-US" sz="1099" b="1" spc="4">
                <a:solidFill>
                  <a:srgbClr val="000000"/>
                </a:solidFill>
                <a:latin typeface="EYInterstate"/>
                <a:ea typeface="+mn-ea"/>
              </a:rPr>
              <a:t>Risk Management</a:t>
            </a:r>
          </a:p>
        </p:txBody>
      </p:sp>
      <p:grpSp>
        <p:nvGrpSpPr>
          <p:cNvPr id="16" name="Group 15">
            <a:extLst>
              <a:ext uri="{FF2B5EF4-FFF2-40B4-BE49-F238E27FC236}">
                <a16:creationId xmlns:a16="http://schemas.microsoft.com/office/drawing/2014/main" id="{233EE43A-8287-4886-846F-47A907393DDA}"/>
              </a:ext>
            </a:extLst>
          </p:cNvPr>
          <p:cNvGrpSpPr/>
          <p:nvPr/>
        </p:nvGrpSpPr>
        <p:grpSpPr>
          <a:xfrm>
            <a:off x="529253" y="4954928"/>
            <a:ext cx="1265558" cy="674625"/>
            <a:chOff x="330553" y="5294421"/>
            <a:chExt cx="1266217" cy="674976"/>
          </a:xfrm>
        </p:grpSpPr>
        <p:pic>
          <p:nvPicPr>
            <p:cNvPr id="101" name="Graphic 100">
              <a:extLst>
                <a:ext uri="{FF2B5EF4-FFF2-40B4-BE49-F238E27FC236}">
                  <a16:creationId xmlns:a16="http://schemas.microsoft.com/office/drawing/2014/main" id="{618377CB-3AB6-486F-8A37-619374D92B65}"/>
                </a:ext>
              </a:extLst>
            </p:cNvPr>
            <p:cNvPicPr>
              <a:picLocks/>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0579" y="5294421"/>
              <a:ext cx="411480" cy="411480"/>
            </a:xfrm>
            <a:prstGeom prst="rect">
              <a:avLst/>
            </a:prstGeom>
          </p:spPr>
        </p:pic>
        <p:sp>
          <p:nvSpPr>
            <p:cNvPr id="42" name="Rectangle 41">
              <a:extLst>
                <a:ext uri="{FF2B5EF4-FFF2-40B4-BE49-F238E27FC236}">
                  <a16:creationId xmlns:a16="http://schemas.microsoft.com/office/drawing/2014/main" id="{69E5055A-78BF-4399-85B4-515D5A78EB3F}"/>
                </a:ext>
              </a:extLst>
            </p:cNvPr>
            <p:cNvSpPr/>
            <p:nvPr/>
          </p:nvSpPr>
          <p:spPr>
            <a:xfrm>
              <a:off x="330553" y="5707787"/>
              <a:ext cx="1266217" cy="261610"/>
            </a:xfrm>
            <a:prstGeom prst="rect">
              <a:avLst/>
            </a:prstGeom>
          </p:spPr>
          <p:txBody>
            <a:bodyPr wrap="square">
              <a:spAutoFit/>
            </a:bodyPr>
            <a:lstStyle/>
            <a:p>
              <a:pPr marL="43770" algn="ctr" defTabSz="292916" eaLnBrk="1" fontAlgn="auto" hangingPunct="1">
                <a:spcBef>
                  <a:spcPts val="1183"/>
                </a:spcBef>
                <a:spcAft>
                  <a:spcPts val="0"/>
                </a:spcAft>
                <a:defRPr/>
              </a:pPr>
              <a:r>
                <a:rPr lang="en-US" sz="1099" b="1" spc="4">
                  <a:solidFill>
                    <a:srgbClr val="000000"/>
                  </a:solidFill>
                  <a:latin typeface="EYInterstate"/>
                  <a:ea typeface="+mn-ea"/>
                </a:rPr>
                <a:t>Claims</a:t>
              </a:r>
            </a:p>
          </p:txBody>
        </p:sp>
      </p:grpSp>
      <p:cxnSp>
        <p:nvCxnSpPr>
          <p:cNvPr id="62" name="Straight Arrow Connector 61">
            <a:extLst>
              <a:ext uri="{FF2B5EF4-FFF2-40B4-BE49-F238E27FC236}">
                <a16:creationId xmlns:a16="http://schemas.microsoft.com/office/drawing/2014/main" id="{0109C41A-F1B4-4B31-883E-41A283B0915A}"/>
              </a:ext>
            </a:extLst>
          </p:cNvPr>
          <p:cNvCxnSpPr>
            <a:cxnSpLocks/>
          </p:cNvCxnSpPr>
          <p:nvPr/>
        </p:nvCxnSpPr>
        <p:spPr>
          <a:xfrm flipV="1">
            <a:off x="658005" y="3959316"/>
            <a:ext cx="11173847" cy="0"/>
          </a:xfrm>
          <a:prstGeom prst="straightConnector1">
            <a:avLst/>
          </a:prstGeom>
          <a:ln w="6350">
            <a:solidFill>
              <a:schemeClr val="bg1">
                <a:lumMod val="40000"/>
                <a:lumOff val="6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D332A028-2213-41D0-BDC3-597AE8D8F748}"/>
              </a:ext>
            </a:extLst>
          </p:cNvPr>
          <p:cNvCxnSpPr>
            <a:cxnSpLocks/>
          </p:cNvCxnSpPr>
          <p:nvPr/>
        </p:nvCxnSpPr>
        <p:spPr>
          <a:xfrm flipV="1">
            <a:off x="658005" y="4823953"/>
            <a:ext cx="11173847" cy="0"/>
          </a:xfrm>
          <a:prstGeom prst="straightConnector1">
            <a:avLst/>
          </a:prstGeom>
          <a:ln w="6350">
            <a:solidFill>
              <a:schemeClr val="bg1">
                <a:lumMod val="40000"/>
                <a:lumOff val="6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536D1D77-713B-44E8-8E88-DC049B1D592C}"/>
              </a:ext>
            </a:extLst>
          </p:cNvPr>
          <p:cNvCxnSpPr>
            <a:cxnSpLocks/>
          </p:cNvCxnSpPr>
          <p:nvPr/>
        </p:nvCxnSpPr>
        <p:spPr>
          <a:xfrm flipV="1">
            <a:off x="700820" y="5692006"/>
            <a:ext cx="11173847" cy="0"/>
          </a:xfrm>
          <a:prstGeom prst="straightConnector1">
            <a:avLst/>
          </a:prstGeom>
          <a:ln w="6350">
            <a:solidFill>
              <a:schemeClr val="bg1">
                <a:lumMod val="40000"/>
                <a:lumOff val="6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78747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E18547-CFF5-4113-9AF2-1BE93ACD31B1}"/>
              </a:ext>
            </a:extLst>
          </p:cNvPr>
          <p:cNvGraphicFramePr>
            <a:graphicFrameLocks noChangeAspect="1"/>
          </p:cNvGraphicFramePr>
          <p:nvPr>
            <p:custDataLst>
              <p:tags r:id="rId2"/>
            </p:custDataLst>
          </p:nvPr>
        </p:nvGraphicFramePr>
        <p:xfrm>
          <a:off x="1528763" y="1589"/>
          <a:ext cx="1588" cy="1588"/>
        </p:xfrm>
        <a:graphic>
          <a:graphicData uri="http://schemas.openxmlformats.org/presentationml/2006/ole">
            <mc:AlternateContent xmlns:mc="http://schemas.openxmlformats.org/markup-compatibility/2006">
              <mc:Choice xmlns:v="urn:schemas-microsoft-com:vml" Requires="v">
                <p:oleObj spid="_x0000_s231433" name="think-cell Slide" r:id="rId6" imgW="473" imgH="473" progId="TCLayout.ActiveDocument.1">
                  <p:embed/>
                </p:oleObj>
              </mc:Choice>
              <mc:Fallback>
                <p:oleObj name="think-cell Slide" r:id="rId6" imgW="473" imgH="473" progId="TCLayout.ActiveDocument.1">
                  <p:embed/>
                  <p:pic>
                    <p:nvPicPr>
                      <p:cNvPr id="5" name="Object 4" hidden="1">
                        <a:extLst>
                          <a:ext uri="{FF2B5EF4-FFF2-40B4-BE49-F238E27FC236}">
                            <a16:creationId xmlns:a16="http://schemas.microsoft.com/office/drawing/2014/main" id="{07E18547-CFF5-4113-9AF2-1BE93ACD31B1}"/>
                          </a:ext>
                        </a:extLst>
                      </p:cNvPr>
                      <p:cNvPicPr/>
                      <p:nvPr/>
                    </p:nvPicPr>
                    <p:blipFill>
                      <a:blip r:embed="rId7"/>
                      <a:stretch>
                        <a:fillRect/>
                      </a:stretch>
                    </p:blipFill>
                    <p:spPr>
                      <a:xfrm>
                        <a:off x="1528763" y="1589"/>
                        <a:ext cx="1588" cy="1588"/>
                      </a:xfrm>
                      <a:prstGeom prst="rect">
                        <a:avLst/>
                      </a:prstGeom>
                    </p:spPr>
                  </p:pic>
                </p:oleObj>
              </mc:Fallback>
            </mc:AlternateContent>
          </a:graphicData>
        </a:graphic>
      </p:graphicFrame>
      <p:sp>
        <p:nvSpPr>
          <p:cNvPr id="97" name="Rectangle 96" hidden="1">
            <a:extLst>
              <a:ext uri="{FF2B5EF4-FFF2-40B4-BE49-F238E27FC236}">
                <a16:creationId xmlns:a16="http://schemas.microsoft.com/office/drawing/2014/main" id="{89953834-FC86-40E6-AE0E-8430F4C7D839}"/>
              </a:ext>
            </a:extLst>
          </p:cNvPr>
          <p:cNvSpPr/>
          <p:nvPr>
            <p:custDataLst>
              <p:tags r:id="rId3"/>
            </p:custDataLst>
          </p:nvPr>
        </p:nvSpPr>
        <p:spPr>
          <a:xfrm>
            <a:off x="1527175" y="1"/>
            <a:ext cx="158750" cy="1587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70" rtl="0" eaLnBrk="1" fontAlgn="auto" latinLnBrk="0" hangingPunct="1">
              <a:lnSpc>
                <a:spcPts val="2400"/>
              </a:lnSpc>
              <a:spcBef>
                <a:spcPts val="0"/>
              </a:spcBef>
              <a:spcAft>
                <a:spcPts val="0"/>
              </a:spcAft>
              <a:buClrTx/>
              <a:buSzTx/>
              <a:buFontTx/>
              <a:buNone/>
              <a:tabLst/>
              <a:defRPr/>
            </a:pPr>
            <a:endParaRPr kumimoji="0" lang="en-US" sz="2177" b="1" i="0" u="none" strike="noStrike" kern="1200" cap="none" spc="0" normalizeH="0" baseline="0" noProof="0">
              <a:ln>
                <a:noFill/>
              </a:ln>
              <a:solidFill>
                <a:prstClr val="black"/>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276" name="Title 1">
            <a:extLst>
              <a:ext uri="{FF2B5EF4-FFF2-40B4-BE49-F238E27FC236}">
                <a16:creationId xmlns:a16="http://schemas.microsoft.com/office/drawing/2014/main" id="{7214BC5A-D7CD-48E8-AEC4-FCA640C239C7}"/>
              </a:ext>
            </a:extLst>
          </p:cNvPr>
          <p:cNvSpPr txBox="1">
            <a:spLocks/>
          </p:cNvSpPr>
          <p:nvPr/>
        </p:nvSpPr>
        <p:spPr>
          <a:xfrm>
            <a:off x="277429" y="84244"/>
            <a:ext cx="11700000" cy="354725"/>
          </a:xfrm>
          <a:prstGeom prst="rect">
            <a:avLst/>
          </a:prstGeom>
        </p:spPr>
        <p:txBody>
          <a:bodyPr vert="horz" lIns="0" tIns="0" rIns="0" bIns="0" rtlCol="0" anchor="t" anchorCtr="0">
            <a:noAutofit/>
          </a:bodyPr>
          <a:lstStyle>
            <a:lvl1pPr algn="l" defTabSz="1266737" rtl="0" eaLnBrk="1" latinLnBrk="0" hangingPunct="1">
              <a:lnSpc>
                <a:spcPct val="85000"/>
              </a:lnSpc>
              <a:spcBef>
                <a:spcPct val="0"/>
              </a:spcBef>
              <a:buNone/>
              <a:defRPr sz="2400" b="1" i="0" kern="1200">
                <a:solidFill>
                  <a:schemeClr val="bg1"/>
                </a:solidFill>
                <a:latin typeface="EYInterstate" panose="02000503020000020004" pitchFamily="2" charset="0"/>
                <a:ea typeface="+mj-ea"/>
                <a:cs typeface="Arial" pitchFamily="34" charset="0"/>
              </a:defRPr>
            </a:lvl1pPr>
          </a:lstStyle>
          <a:p>
            <a:pPr marL="0" marR="0" lvl="0" indent="0" algn="l" defTabSz="1266696" rtl="0" eaLnBrk="1" fontAlgn="auto" latinLnBrk="0" hangingPunct="1">
              <a:lnSpc>
                <a:spcPct val="85000"/>
              </a:lnSpc>
              <a:spcBef>
                <a:spcPct val="0"/>
              </a:spcBef>
              <a:spcAft>
                <a:spcPts val="0"/>
              </a:spcAft>
              <a:buClrTx/>
              <a:buSzTx/>
              <a:buFontTx/>
              <a:buNone/>
              <a:tabLst/>
              <a:defRPr/>
            </a:pPr>
            <a:endParaRPr kumimoji="0" lang="en-US" sz="1800" b="1" i="0" u="none" strike="noStrike" kern="1200" cap="none" spc="0" normalizeH="0" baseline="0" noProof="0">
              <a:ln>
                <a:noFill/>
              </a:ln>
              <a:solidFill>
                <a:srgbClr val="646464"/>
              </a:solidFill>
              <a:effectLst/>
              <a:uLnTx/>
              <a:uFillTx/>
              <a:latin typeface="EYInterstate" panose="02000503020000020004" pitchFamily="2" charset="0"/>
              <a:ea typeface="+mj-ea"/>
              <a:cs typeface="Arial" pitchFamily="34" charset="0"/>
            </a:endParaRPr>
          </a:p>
        </p:txBody>
      </p:sp>
      <p:sp>
        <p:nvSpPr>
          <p:cNvPr id="2" name="Title 1">
            <a:extLst>
              <a:ext uri="{FF2B5EF4-FFF2-40B4-BE49-F238E27FC236}">
                <a16:creationId xmlns:a16="http://schemas.microsoft.com/office/drawing/2014/main" id="{B91F41DB-6207-4DED-A3E7-DF69C27142FD}"/>
              </a:ext>
            </a:extLst>
          </p:cNvPr>
          <p:cNvSpPr>
            <a:spLocks noGrp="1"/>
          </p:cNvSpPr>
          <p:nvPr>
            <p:ph type="title"/>
          </p:nvPr>
        </p:nvSpPr>
        <p:spPr/>
        <p:txBody>
          <a:bodyPr/>
          <a:lstStyle/>
          <a:p>
            <a:pPr defTabSz="1266696"/>
            <a:r>
              <a:rPr lang="en-US"/>
              <a:t>Our guiding principles for identification &amp; prioritization of data related use-cases are robust, simple and maximize the value generated</a:t>
            </a:r>
            <a:endParaRPr lang="en-US">
              <a:solidFill>
                <a:srgbClr val="646464"/>
              </a:solidFill>
            </a:endParaRPr>
          </a:p>
        </p:txBody>
      </p:sp>
      <p:sp>
        <p:nvSpPr>
          <p:cNvPr id="65" name="Shape 19585">
            <a:extLst>
              <a:ext uri="{FF2B5EF4-FFF2-40B4-BE49-F238E27FC236}">
                <a16:creationId xmlns:a16="http://schemas.microsoft.com/office/drawing/2014/main" id="{5E36FB62-A7C6-47A7-BF58-49D108E17322}"/>
              </a:ext>
            </a:extLst>
          </p:cNvPr>
          <p:cNvSpPr/>
          <p:nvPr/>
        </p:nvSpPr>
        <p:spPr>
          <a:xfrm>
            <a:off x="858330" y="2698783"/>
            <a:ext cx="1960315" cy="3533048"/>
          </a:xfrm>
          <a:prstGeom prst="roundRect">
            <a:avLst/>
          </a:prstGeom>
          <a:noFill/>
          <a:ln w="19050" cap="flat">
            <a:solidFill>
              <a:srgbClr val="FFE600"/>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a:ln>
                <a:noFill/>
              </a:ln>
              <a:solidFill>
                <a:srgbClr val="000000"/>
              </a:solidFill>
              <a:effectLst/>
              <a:uLnTx/>
              <a:uFillTx/>
              <a:latin typeface="Lato Light" panose="020F0502020204030203" pitchFamily="34" charset="0"/>
              <a:ea typeface="+mn-ea"/>
              <a:cs typeface="Arial" charset="0"/>
            </a:endParaRPr>
          </a:p>
        </p:txBody>
      </p:sp>
      <p:sp>
        <p:nvSpPr>
          <p:cNvPr id="226" name="Rectangle 225">
            <a:extLst>
              <a:ext uri="{FF2B5EF4-FFF2-40B4-BE49-F238E27FC236}">
                <a16:creationId xmlns:a16="http://schemas.microsoft.com/office/drawing/2014/main" id="{304E1A2B-A634-46D4-8393-192A797B5585}"/>
              </a:ext>
            </a:extLst>
          </p:cNvPr>
          <p:cNvSpPr/>
          <p:nvPr/>
        </p:nvSpPr>
        <p:spPr>
          <a:xfrm>
            <a:off x="1017164" y="3155639"/>
            <a:ext cx="1527533" cy="2269852"/>
          </a:xfrm>
          <a:prstGeom prst="rect">
            <a:avLst/>
          </a:prstGeom>
        </p:spPr>
        <p:txBody>
          <a:bodyPr wrap="square">
            <a:spAutoFit/>
          </a:bodyPr>
          <a:lstStyle/>
          <a:p>
            <a:pPr lvl="0" defTabSz="829361" eaLnBrk="1" hangingPunct="1">
              <a:spcAft>
                <a:spcPts val="544"/>
              </a:spcAft>
              <a:buClr>
                <a:srgbClr val="FFE600"/>
              </a:buClr>
              <a:buSzPct val="80000"/>
            </a:pPr>
            <a:r>
              <a:rPr lang="en-US" sz="1179">
                <a:solidFill>
                  <a:srgbClr val="000000"/>
                </a:solidFill>
                <a:latin typeface="EYInterstate Light" pitchFamily="2" charset="0"/>
                <a:ea typeface="+mn-ea"/>
              </a:rPr>
              <a:t>By analyzing the user journey as a foundation through design thinking workshops, we would be able to understand, and advise on the prioritization of use cases from the customer’s point of view.</a:t>
            </a:r>
          </a:p>
        </p:txBody>
      </p:sp>
      <p:sp>
        <p:nvSpPr>
          <p:cNvPr id="4" name="Rectangle 3">
            <a:extLst>
              <a:ext uri="{FF2B5EF4-FFF2-40B4-BE49-F238E27FC236}">
                <a16:creationId xmlns:a16="http://schemas.microsoft.com/office/drawing/2014/main" id="{64C5AAC4-9D13-4231-A574-DF803CAA54AB}"/>
              </a:ext>
            </a:extLst>
          </p:cNvPr>
          <p:cNvSpPr/>
          <p:nvPr/>
        </p:nvSpPr>
        <p:spPr>
          <a:xfrm>
            <a:off x="1003851" y="2316269"/>
            <a:ext cx="1633694" cy="738664"/>
          </a:xfrm>
          <a:prstGeom prst="rect">
            <a:avLst/>
          </a:prstGeom>
          <a:solidFill>
            <a:schemeClr val="tx2"/>
          </a:solidFill>
        </p:spPr>
        <p:txBody>
          <a:bodyPr wrap="square">
            <a:spAutoFit/>
          </a:bodyPr>
          <a:lstStyle/>
          <a:p>
            <a:pPr lvl="0" algn="ctr" defTabSz="829361" eaLnBrk="1" hangingPunct="1">
              <a:spcAft>
                <a:spcPct val="50000"/>
              </a:spcAft>
              <a:buClr>
                <a:srgbClr val="FFE600"/>
              </a:buClr>
              <a:buSzPct val="80000"/>
            </a:pPr>
            <a:r>
              <a:rPr lang="en-US" sz="1400" b="1">
                <a:solidFill>
                  <a:srgbClr val="00A3AE"/>
                </a:solidFill>
                <a:latin typeface="EYInterstate Light" pitchFamily="2" charset="0"/>
                <a:ea typeface="+mn-ea"/>
              </a:rPr>
              <a:t>Design thinking and user journey driven</a:t>
            </a:r>
          </a:p>
        </p:txBody>
      </p:sp>
      <p:sp>
        <p:nvSpPr>
          <p:cNvPr id="40" name="Shape 19585">
            <a:extLst>
              <a:ext uri="{FF2B5EF4-FFF2-40B4-BE49-F238E27FC236}">
                <a16:creationId xmlns:a16="http://schemas.microsoft.com/office/drawing/2014/main" id="{3793AD7C-939A-49C0-BE44-2963AA1C023E}"/>
              </a:ext>
            </a:extLst>
          </p:cNvPr>
          <p:cNvSpPr/>
          <p:nvPr/>
        </p:nvSpPr>
        <p:spPr>
          <a:xfrm>
            <a:off x="2982296" y="2698783"/>
            <a:ext cx="2076087" cy="3533048"/>
          </a:xfrm>
          <a:prstGeom prst="roundRect">
            <a:avLst/>
          </a:prstGeom>
          <a:noFill/>
          <a:ln w="19050" cap="flat">
            <a:solidFill>
              <a:srgbClr val="FFE600"/>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a:ln>
                <a:noFill/>
              </a:ln>
              <a:solidFill>
                <a:srgbClr val="000000"/>
              </a:solidFill>
              <a:effectLst/>
              <a:uLnTx/>
              <a:uFillTx/>
              <a:latin typeface="Lato Light" panose="020F0502020204030203" pitchFamily="34" charset="0"/>
              <a:ea typeface="+mn-ea"/>
              <a:cs typeface="Arial" charset="0"/>
            </a:endParaRPr>
          </a:p>
        </p:txBody>
      </p:sp>
      <p:sp>
        <p:nvSpPr>
          <p:cNvPr id="41" name="Rectangle 40">
            <a:extLst>
              <a:ext uri="{FF2B5EF4-FFF2-40B4-BE49-F238E27FC236}">
                <a16:creationId xmlns:a16="http://schemas.microsoft.com/office/drawing/2014/main" id="{6E6FC238-B070-441A-9E31-F94EDDAA3BBE}"/>
              </a:ext>
            </a:extLst>
          </p:cNvPr>
          <p:cNvSpPr/>
          <p:nvPr/>
        </p:nvSpPr>
        <p:spPr>
          <a:xfrm>
            <a:off x="3141130" y="3155639"/>
            <a:ext cx="1801481" cy="1971052"/>
          </a:xfrm>
          <a:prstGeom prst="rect">
            <a:avLst/>
          </a:prstGeom>
        </p:spPr>
        <p:txBody>
          <a:bodyPr wrap="square">
            <a:spAutoFit/>
          </a:bodyPr>
          <a:lstStyle/>
          <a:p>
            <a:pPr lvl="0" defTabSz="829361" eaLnBrk="1" hangingPunct="1">
              <a:spcAft>
                <a:spcPts val="544"/>
              </a:spcAft>
              <a:buClr>
                <a:srgbClr val="FFE600"/>
              </a:buClr>
              <a:buSzPct val="80000"/>
            </a:pPr>
            <a:r>
              <a:rPr lang="en-US" sz="1179">
                <a:solidFill>
                  <a:srgbClr val="000000"/>
                </a:solidFill>
                <a:latin typeface="EYInterstate Light" pitchFamily="2" charset="0"/>
                <a:ea typeface="+mn-ea"/>
              </a:rPr>
              <a:t>Use cases that have a direct impact on business value through increased profitability or monetizing data assets, increased cross-sell/ up-sell etc.</a:t>
            </a:r>
          </a:p>
          <a:p>
            <a:pPr lvl="0" defTabSz="829361" eaLnBrk="1" hangingPunct="1">
              <a:spcAft>
                <a:spcPts val="544"/>
              </a:spcAft>
              <a:buClr>
                <a:srgbClr val="FFE600"/>
              </a:buClr>
              <a:buSzPct val="80000"/>
            </a:pPr>
            <a:r>
              <a:rPr lang="en-US" sz="1179">
                <a:solidFill>
                  <a:srgbClr val="000000"/>
                </a:solidFill>
                <a:latin typeface="EYInterstate Light" pitchFamily="2" charset="0"/>
                <a:ea typeface="+mn-ea"/>
              </a:rPr>
              <a:t>These can include the use cases with direct regulatory impact.</a:t>
            </a:r>
          </a:p>
        </p:txBody>
      </p:sp>
      <p:sp>
        <p:nvSpPr>
          <p:cNvPr id="42" name="Rectangle 41">
            <a:extLst>
              <a:ext uri="{FF2B5EF4-FFF2-40B4-BE49-F238E27FC236}">
                <a16:creationId xmlns:a16="http://schemas.microsoft.com/office/drawing/2014/main" id="{1130381E-C176-49B0-93DF-1A57BDB6077D}"/>
              </a:ext>
            </a:extLst>
          </p:cNvPr>
          <p:cNvSpPr/>
          <p:nvPr/>
        </p:nvSpPr>
        <p:spPr>
          <a:xfrm>
            <a:off x="3306223" y="2399171"/>
            <a:ext cx="1451563" cy="584775"/>
          </a:xfrm>
          <a:prstGeom prst="rect">
            <a:avLst/>
          </a:prstGeom>
          <a:solidFill>
            <a:schemeClr val="tx2"/>
          </a:solidFill>
        </p:spPr>
        <p:txBody>
          <a:bodyPr wrap="square">
            <a:spAutoFit/>
          </a:bodyPr>
          <a:lstStyle/>
          <a:p>
            <a:pPr lvl="0" algn="ctr" defTabSz="829361" eaLnBrk="1" hangingPunct="1">
              <a:spcAft>
                <a:spcPct val="50000"/>
              </a:spcAft>
              <a:buClr>
                <a:srgbClr val="FFE600"/>
              </a:buClr>
              <a:buSzPct val="80000"/>
            </a:pPr>
            <a:r>
              <a:rPr lang="en-US" sz="1600" b="1">
                <a:solidFill>
                  <a:srgbClr val="00A3AE"/>
                </a:solidFill>
                <a:latin typeface="EYInterstate Light" pitchFamily="2" charset="0"/>
                <a:ea typeface="+mn-ea"/>
              </a:rPr>
              <a:t>Business Value driven</a:t>
            </a:r>
          </a:p>
        </p:txBody>
      </p:sp>
      <p:sp>
        <p:nvSpPr>
          <p:cNvPr id="44" name="Shape 19585">
            <a:extLst>
              <a:ext uri="{FF2B5EF4-FFF2-40B4-BE49-F238E27FC236}">
                <a16:creationId xmlns:a16="http://schemas.microsoft.com/office/drawing/2014/main" id="{BD5CB004-BEF0-4694-BB0C-7B8D73138D84}"/>
              </a:ext>
            </a:extLst>
          </p:cNvPr>
          <p:cNvSpPr/>
          <p:nvPr/>
        </p:nvSpPr>
        <p:spPr>
          <a:xfrm>
            <a:off x="5183852" y="2698783"/>
            <a:ext cx="2151399" cy="3533048"/>
          </a:xfrm>
          <a:prstGeom prst="roundRect">
            <a:avLst>
              <a:gd name="adj" fmla="val 16667"/>
            </a:avLst>
          </a:prstGeom>
          <a:noFill/>
          <a:ln w="19050" cap="flat">
            <a:solidFill>
              <a:srgbClr val="FFE600"/>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a:ln>
                <a:noFill/>
              </a:ln>
              <a:solidFill>
                <a:srgbClr val="000000"/>
              </a:solidFill>
              <a:effectLst/>
              <a:uLnTx/>
              <a:uFillTx/>
              <a:latin typeface="Lato Light" panose="020F0502020204030203" pitchFamily="34" charset="0"/>
              <a:ea typeface="+mn-ea"/>
              <a:cs typeface="Arial" charset="0"/>
            </a:endParaRPr>
          </a:p>
        </p:txBody>
      </p:sp>
      <p:sp>
        <p:nvSpPr>
          <p:cNvPr id="45" name="Rectangle 44">
            <a:extLst>
              <a:ext uri="{FF2B5EF4-FFF2-40B4-BE49-F238E27FC236}">
                <a16:creationId xmlns:a16="http://schemas.microsoft.com/office/drawing/2014/main" id="{0F36AB51-67E9-4C60-97B0-10EDF5B1CB88}"/>
              </a:ext>
            </a:extLst>
          </p:cNvPr>
          <p:cNvSpPr/>
          <p:nvPr/>
        </p:nvSpPr>
        <p:spPr>
          <a:xfrm>
            <a:off x="5333189" y="3155639"/>
            <a:ext cx="1859725" cy="1544012"/>
          </a:xfrm>
          <a:prstGeom prst="rect">
            <a:avLst/>
          </a:prstGeom>
        </p:spPr>
        <p:txBody>
          <a:bodyPr wrap="square">
            <a:spAutoFit/>
          </a:bodyPr>
          <a:lstStyle/>
          <a:p>
            <a:pPr lvl="0" defTabSz="829361" eaLnBrk="1" hangingPunct="1">
              <a:spcAft>
                <a:spcPts val="544"/>
              </a:spcAft>
              <a:buClr>
                <a:srgbClr val="FFE600"/>
              </a:buClr>
              <a:buSzPct val="80000"/>
            </a:pPr>
            <a:r>
              <a:rPr lang="en-US" sz="1179">
                <a:solidFill>
                  <a:srgbClr val="000000"/>
                </a:solidFill>
                <a:latin typeface="EYInterstate Light" pitchFamily="2" charset="0"/>
                <a:ea typeface="+mn-ea"/>
              </a:rPr>
              <a:t>Use cases which have a significant impact on Customer experience, Customer or agent journeys, Customer retention and can be mapped to the overall journey.</a:t>
            </a:r>
          </a:p>
        </p:txBody>
      </p:sp>
      <p:sp>
        <p:nvSpPr>
          <p:cNvPr id="46" name="Rectangle 45">
            <a:extLst>
              <a:ext uri="{FF2B5EF4-FFF2-40B4-BE49-F238E27FC236}">
                <a16:creationId xmlns:a16="http://schemas.microsoft.com/office/drawing/2014/main" id="{9E29CE1C-8E38-44C0-9E4B-17DDC8942B0C}"/>
              </a:ext>
            </a:extLst>
          </p:cNvPr>
          <p:cNvSpPr/>
          <p:nvPr/>
        </p:nvSpPr>
        <p:spPr>
          <a:xfrm>
            <a:off x="5534835" y="2389706"/>
            <a:ext cx="1463040" cy="584775"/>
          </a:xfrm>
          <a:prstGeom prst="rect">
            <a:avLst/>
          </a:prstGeom>
          <a:solidFill>
            <a:schemeClr val="tx2"/>
          </a:solidFill>
        </p:spPr>
        <p:txBody>
          <a:bodyPr wrap="square">
            <a:spAutoFit/>
          </a:bodyPr>
          <a:lstStyle/>
          <a:p>
            <a:pPr lvl="0" algn="ctr" defTabSz="829361" eaLnBrk="1" hangingPunct="1">
              <a:spcAft>
                <a:spcPct val="50000"/>
              </a:spcAft>
              <a:buClr>
                <a:srgbClr val="FFE600"/>
              </a:buClr>
              <a:buSzPct val="80000"/>
            </a:pPr>
            <a:r>
              <a:rPr lang="en-US" sz="1600" b="1">
                <a:solidFill>
                  <a:srgbClr val="00A3AE"/>
                </a:solidFill>
                <a:latin typeface="EYInterstate Light" pitchFamily="2" charset="0"/>
                <a:ea typeface="+mn-ea"/>
              </a:rPr>
              <a:t>Customer Impacting</a:t>
            </a:r>
          </a:p>
        </p:txBody>
      </p:sp>
      <p:sp>
        <p:nvSpPr>
          <p:cNvPr id="48" name="Shape 19585">
            <a:extLst>
              <a:ext uri="{FF2B5EF4-FFF2-40B4-BE49-F238E27FC236}">
                <a16:creationId xmlns:a16="http://schemas.microsoft.com/office/drawing/2014/main" id="{075FE92C-ED05-413E-86A9-C2D9D6A283BA}"/>
              </a:ext>
            </a:extLst>
          </p:cNvPr>
          <p:cNvSpPr/>
          <p:nvPr/>
        </p:nvSpPr>
        <p:spPr>
          <a:xfrm>
            <a:off x="7453732" y="2698783"/>
            <a:ext cx="2040233" cy="3533048"/>
          </a:xfrm>
          <a:prstGeom prst="roundRect">
            <a:avLst/>
          </a:prstGeom>
          <a:noFill/>
          <a:ln w="19050" cap="flat">
            <a:solidFill>
              <a:srgbClr val="FFE600"/>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a:ln>
                <a:noFill/>
              </a:ln>
              <a:solidFill>
                <a:srgbClr val="000000"/>
              </a:solidFill>
              <a:effectLst/>
              <a:uLnTx/>
              <a:uFillTx/>
              <a:latin typeface="Lato Light" panose="020F0502020204030203" pitchFamily="34" charset="0"/>
              <a:ea typeface="+mn-ea"/>
              <a:cs typeface="Arial" charset="0"/>
            </a:endParaRPr>
          </a:p>
        </p:txBody>
      </p:sp>
      <p:sp>
        <p:nvSpPr>
          <p:cNvPr id="49" name="Rectangle 48">
            <a:extLst>
              <a:ext uri="{FF2B5EF4-FFF2-40B4-BE49-F238E27FC236}">
                <a16:creationId xmlns:a16="http://schemas.microsoft.com/office/drawing/2014/main" id="{F2B9853E-DFDA-4CA3-906F-CF49647181F5}"/>
              </a:ext>
            </a:extLst>
          </p:cNvPr>
          <p:cNvSpPr/>
          <p:nvPr/>
        </p:nvSpPr>
        <p:spPr>
          <a:xfrm>
            <a:off x="7603070" y="3155639"/>
            <a:ext cx="1852662" cy="2109937"/>
          </a:xfrm>
          <a:prstGeom prst="rect">
            <a:avLst/>
          </a:prstGeom>
        </p:spPr>
        <p:txBody>
          <a:bodyPr wrap="square">
            <a:spAutoFit/>
          </a:bodyPr>
          <a:lstStyle/>
          <a:p>
            <a:pPr lvl="0" defTabSz="946052" eaLnBrk="1" fontAlgn="auto" hangingPunct="1">
              <a:lnSpc>
                <a:spcPct val="85000"/>
              </a:lnSpc>
              <a:spcBef>
                <a:spcPts val="0"/>
              </a:spcBef>
              <a:spcAft>
                <a:spcPts val="544"/>
              </a:spcAft>
              <a:buClr>
                <a:srgbClr val="FFE600"/>
              </a:buClr>
              <a:buSzPct val="70000"/>
            </a:pPr>
            <a:r>
              <a:rPr lang="en-US" sz="1179">
                <a:solidFill>
                  <a:srgbClr val="000000"/>
                </a:solidFill>
                <a:latin typeface="EYInterstate Light" pitchFamily="2" charset="0"/>
                <a:ea typeface="+mn-ea"/>
              </a:rPr>
              <a:t>Use cases that optimize current set of business processes. Complexity can be defined on the basis of</a:t>
            </a:r>
          </a:p>
          <a:p>
            <a:pPr marL="171450" lvl="0" indent="-171450" defTabSz="946052" eaLnBrk="1" fontAlgn="auto" hangingPunct="1">
              <a:lnSpc>
                <a:spcPct val="85000"/>
              </a:lnSpc>
              <a:spcBef>
                <a:spcPts val="0"/>
              </a:spcBef>
              <a:spcAft>
                <a:spcPts val="544"/>
              </a:spcAft>
              <a:buClr>
                <a:srgbClr val="FFE600"/>
              </a:buClr>
              <a:buSzPct val="70000"/>
              <a:buFont typeface="Arial" panose="020B0604020202020204" pitchFamily="34" charset="0"/>
              <a:buChar char="•"/>
            </a:pPr>
            <a:r>
              <a:rPr lang="en-US" sz="1179">
                <a:solidFill>
                  <a:srgbClr val="000000"/>
                </a:solidFill>
                <a:latin typeface="EYInterstate Light" pitchFamily="2" charset="0"/>
                <a:ea typeface="+mn-ea"/>
              </a:rPr>
              <a:t># of processes &amp; sub-processes</a:t>
            </a:r>
          </a:p>
          <a:p>
            <a:pPr marL="171450" lvl="0" indent="-171450" defTabSz="946052" eaLnBrk="1" fontAlgn="auto" hangingPunct="1">
              <a:lnSpc>
                <a:spcPct val="85000"/>
              </a:lnSpc>
              <a:spcBef>
                <a:spcPts val="0"/>
              </a:spcBef>
              <a:spcAft>
                <a:spcPts val="544"/>
              </a:spcAft>
              <a:buClr>
                <a:srgbClr val="FFE600"/>
              </a:buClr>
              <a:buSzPct val="70000"/>
              <a:buFont typeface="Arial" panose="020B0604020202020204" pitchFamily="34" charset="0"/>
              <a:buChar char="•"/>
            </a:pPr>
            <a:r>
              <a:rPr lang="en-US" sz="1179">
                <a:solidFill>
                  <a:srgbClr val="000000"/>
                </a:solidFill>
                <a:latin typeface="EYInterstate Light" pitchFamily="2" charset="0"/>
                <a:ea typeface="+mn-ea"/>
              </a:rPr>
              <a:t># KDEs</a:t>
            </a:r>
          </a:p>
          <a:p>
            <a:pPr marL="171450" lvl="0" indent="-171450" defTabSz="946052" eaLnBrk="1" fontAlgn="auto" hangingPunct="1">
              <a:lnSpc>
                <a:spcPct val="85000"/>
              </a:lnSpc>
              <a:spcBef>
                <a:spcPts val="0"/>
              </a:spcBef>
              <a:spcAft>
                <a:spcPts val="544"/>
              </a:spcAft>
              <a:buClr>
                <a:srgbClr val="FFE600"/>
              </a:buClr>
              <a:buSzPct val="70000"/>
              <a:buFont typeface="Arial" panose="020B0604020202020204" pitchFamily="34" charset="0"/>
              <a:buChar char="•"/>
            </a:pPr>
            <a:r>
              <a:rPr lang="en-US" sz="1179">
                <a:solidFill>
                  <a:srgbClr val="000000"/>
                </a:solidFill>
                <a:latin typeface="EYInterstate Light" pitchFamily="2" charset="0"/>
                <a:ea typeface="+mn-ea"/>
              </a:rPr>
              <a:t># data domain</a:t>
            </a:r>
          </a:p>
          <a:p>
            <a:pPr marL="171450" lvl="0" indent="-171450" defTabSz="946052" eaLnBrk="1" fontAlgn="auto" hangingPunct="1">
              <a:lnSpc>
                <a:spcPct val="85000"/>
              </a:lnSpc>
              <a:spcBef>
                <a:spcPts val="0"/>
              </a:spcBef>
              <a:spcAft>
                <a:spcPts val="544"/>
              </a:spcAft>
              <a:buClr>
                <a:srgbClr val="FFE600"/>
              </a:buClr>
              <a:buSzPct val="70000"/>
              <a:buFont typeface="Arial" panose="020B0604020202020204" pitchFamily="34" charset="0"/>
              <a:buChar char="•"/>
            </a:pPr>
            <a:r>
              <a:rPr lang="en-US" sz="1179">
                <a:solidFill>
                  <a:srgbClr val="000000"/>
                </a:solidFill>
                <a:latin typeface="EYInterstate Light" pitchFamily="2" charset="0"/>
                <a:ea typeface="+mn-ea"/>
              </a:rPr>
              <a:t># data sources</a:t>
            </a:r>
          </a:p>
          <a:p>
            <a:pPr marL="171450" lvl="0" indent="-171450" defTabSz="946052" eaLnBrk="1" fontAlgn="auto" hangingPunct="1">
              <a:lnSpc>
                <a:spcPct val="85000"/>
              </a:lnSpc>
              <a:spcBef>
                <a:spcPts val="0"/>
              </a:spcBef>
              <a:spcAft>
                <a:spcPts val="544"/>
              </a:spcAft>
              <a:buClr>
                <a:srgbClr val="FFE600"/>
              </a:buClr>
              <a:buSzPct val="70000"/>
              <a:buFont typeface="Arial" panose="020B0604020202020204" pitchFamily="34" charset="0"/>
              <a:buChar char="•"/>
            </a:pPr>
            <a:r>
              <a:rPr lang="en-US" sz="1179">
                <a:solidFill>
                  <a:srgbClr val="000000"/>
                </a:solidFill>
                <a:latin typeface="EYInterstate Light" pitchFamily="2" charset="0"/>
                <a:ea typeface="+mn-ea"/>
              </a:rPr>
              <a:t># front end apps</a:t>
            </a:r>
          </a:p>
        </p:txBody>
      </p:sp>
      <p:sp>
        <p:nvSpPr>
          <p:cNvPr id="50" name="Rectangle 49">
            <a:extLst>
              <a:ext uri="{FF2B5EF4-FFF2-40B4-BE49-F238E27FC236}">
                <a16:creationId xmlns:a16="http://schemas.microsoft.com/office/drawing/2014/main" id="{2BE857C6-A9CE-41A1-B60E-F28E7EEDB4EE}"/>
              </a:ext>
            </a:extLst>
          </p:cNvPr>
          <p:cNvSpPr/>
          <p:nvPr/>
        </p:nvSpPr>
        <p:spPr>
          <a:xfrm>
            <a:off x="7744732" y="2375903"/>
            <a:ext cx="1459509" cy="584775"/>
          </a:xfrm>
          <a:prstGeom prst="rect">
            <a:avLst/>
          </a:prstGeom>
          <a:solidFill>
            <a:schemeClr val="tx2"/>
          </a:solidFill>
        </p:spPr>
        <p:txBody>
          <a:bodyPr wrap="square">
            <a:spAutoFit/>
          </a:bodyPr>
          <a:lstStyle/>
          <a:p>
            <a:pPr lvl="0" algn="ctr" defTabSz="829361" eaLnBrk="1" hangingPunct="1">
              <a:spcAft>
                <a:spcPct val="50000"/>
              </a:spcAft>
              <a:buClr>
                <a:srgbClr val="FFE600"/>
              </a:buClr>
              <a:buSzPct val="80000"/>
            </a:pPr>
            <a:r>
              <a:rPr lang="en-US" sz="1600" b="1">
                <a:solidFill>
                  <a:srgbClr val="00A3AE"/>
                </a:solidFill>
                <a:latin typeface="EYInterstate Light" pitchFamily="2" charset="0"/>
                <a:ea typeface="+mn-ea"/>
              </a:rPr>
              <a:t>Optimization &amp; Complexity</a:t>
            </a:r>
          </a:p>
        </p:txBody>
      </p:sp>
      <p:sp>
        <p:nvSpPr>
          <p:cNvPr id="52" name="Chevron 26">
            <a:extLst>
              <a:ext uri="{FF2B5EF4-FFF2-40B4-BE49-F238E27FC236}">
                <a16:creationId xmlns:a16="http://schemas.microsoft.com/office/drawing/2014/main" id="{4B7B0623-D838-44DA-A1CD-8423DC9ADDDF}"/>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646464"/>
                </a:solidFill>
                <a:effectLst/>
                <a:uLnTx/>
                <a:uFillTx/>
                <a:latin typeface="EYInterstate"/>
                <a:cs typeface="Arial" charset="0"/>
                <a:sym typeface="EYInterstate Light" panose="02000506000000020004" pitchFamily="2" charset="0"/>
              </a:rPr>
              <a:t>Guiding Principles</a:t>
            </a:r>
          </a:p>
        </p:txBody>
      </p:sp>
      <p:sp>
        <p:nvSpPr>
          <p:cNvPr id="58" name="Shape 19585">
            <a:extLst>
              <a:ext uri="{FF2B5EF4-FFF2-40B4-BE49-F238E27FC236}">
                <a16:creationId xmlns:a16="http://schemas.microsoft.com/office/drawing/2014/main" id="{FAABD820-A218-4DF7-BE70-DBDECB3E7A19}"/>
              </a:ext>
            </a:extLst>
          </p:cNvPr>
          <p:cNvSpPr/>
          <p:nvPr/>
        </p:nvSpPr>
        <p:spPr>
          <a:xfrm>
            <a:off x="9640556" y="2698783"/>
            <a:ext cx="2040233" cy="3533048"/>
          </a:xfrm>
          <a:prstGeom prst="roundRect">
            <a:avLst/>
          </a:prstGeom>
          <a:noFill/>
          <a:ln w="19050" cap="flat">
            <a:solidFill>
              <a:srgbClr val="FFE600"/>
            </a:solidFill>
            <a:prstDash val="dash"/>
            <a:miter lim="400000"/>
          </a:ln>
          <a:effectLst/>
        </p:spPr>
        <p:txBody>
          <a:bodyPr wrap="square" lIns="0" tIns="0" rIns="0" bIns="0" numCol="1" anchor="t">
            <a:no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sz="4592" b="0" i="0" u="none" strike="noStrike" kern="1200" cap="none" spc="0" normalizeH="0" baseline="0" noProof="0">
              <a:ln>
                <a:noFill/>
              </a:ln>
              <a:solidFill>
                <a:srgbClr val="000000"/>
              </a:solidFill>
              <a:effectLst/>
              <a:uLnTx/>
              <a:uFillTx/>
              <a:latin typeface="Lato Light" panose="020F0502020204030203" pitchFamily="34" charset="0"/>
              <a:ea typeface="+mn-ea"/>
              <a:cs typeface="Arial" charset="0"/>
            </a:endParaRPr>
          </a:p>
        </p:txBody>
      </p:sp>
      <p:sp>
        <p:nvSpPr>
          <p:cNvPr id="59" name="Rectangle 58">
            <a:extLst>
              <a:ext uri="{FF2B5EF4-FFF2-40B4-BE49-F238E27FC236}">
                <a16:creationId xmlns:a16="http://schemas.microsoft.com/office/drawing/2014/main" id="{789444C9-C8C2-4257-8997-5E58D43FD027}"/>
              </a:ext>
            </a:extLst>
          </p:cNvPr>
          <p:cNvSpPr/>
          <p:nvPr/>
        </p:nvSpPr>
        <p:spPr>
          <a:xfrm>
            <a:off x="9799391" y="3155639"/>
            <a:ext cx="1696574" cy="2316275"/>
          </a:xfrm>
          <a:prstGeom prst="rect">
            <a:avLst/>
          </a:prstGeom>
        </p:spPr>
        <p:txBody>
          <a:bodyPr wrap="square">
            <a:spAutoFit/>
          </a:bodyPr>
          <a:lstStyle/>
          <a:p>
            <a:pPr lvl="0" defTabSz="946052" eaLnBrk="1" fontAlgn="auto" hangingPunct="1">
              <a:lnSpc>
                <a:spcPct val="85000"/>
              </a:lnSpc>
              <a:spcBef>
                <a:spcPts val="0"/>
              </a:spcBef>
              <a:spcAft>
                <a:spcPts val="544"/>
              </a:spcAft>
              <a:buClr>
                <a:srgbClr val="FFE600"/>
              </a:buClr>
              <a:buSzPct val="70000"/>
            </a:pPr>
            <a:r>
              <a:rPr lang="en-US" sz="1179">
                <a:solidFill>
                  <a:srgbClr val="000000"/>
                </a:solidFill>
                <a:latin typeface="EYInterstate Light" pitchFamily="2" charset="0"/>
                <a:ea typeface="+mn-ea"/>
              </a:rPr>
              <a:t>Our team comprises of experts in business products, technology, campaign management, and data &amp; analytics, with experience ranging from strategy to execution. </a:t>
            </a:r>
          </a:p>
          <a:p>
            <a:pPr lvl="0" defTabSz="946052" eaLnBrk="1" fontAlgn="auto" hangingPunct="1">
              <a:lnSpc>
                <a:spcPct val="85000"/>
              </a:lnSpc>
              <a:spcBef>
                <a:spcPts val="0"/>
              </a:spcBef>
              <a:spcAft>
                <a:spcPts val="544"/>
              </a:spcAft>
              <a:buClr>
                <a:srgbClr val="FFE600"/>
              </a:buClr>
              <a:buSzPct val="70000"/>
            </a:pPr>
            <a:r>
              <a:rPr lang="en-US" sz="1179">
                <a:solidFill>
                  <a:srgbClr val="000000"/>
                </a:solidFill>
                <a:latin typeface="EYInterstate Light" pitchFamily="2" charset="0"/>
                <a:ea typeface="+mn-ea"/>
              </a:rPr>
              <a:t>Agile processes harness change for the customer's competitive advantage</a:t>
            </a:r>
          </a:p>
        </p:txBody>
      </p:sp>
      <p:sp>
        <p:nvSpPr>
          <p:cNvPr id="60" name="Rectangle 59">
            <a:extLst>
              <a:ext uri="{FF2B5EF4-FFF2-40B4-BE49-F238E27FC236}">
                <a16:creationId xmlns:a16="http://schemas.microsoft.com/office/drawing/2014/main" id="{AF8A3079-B12C-4877-B180-FF3EDE19E1D9}"/>
              </a:ext>
            </a:extLst>
          </p:cNvPr>
          <p:cNvSpPr/>
          <p:nvPr/>
        </p:nvSpPr>
        <p:spPr>
          <a:xfrm>
            <a:off x="9799391" y="2375903"/>
            <a:ext cx="1696574" cy="738664"/>
          </a:xfrm>
          <a:prstGeom prst="rect">
            <a:avLst/>
          </a:prstGeom>
          <a:solidFill>
            <a:schemeClr val="tx2"/>
          </a:solidFill>
        </p:spPr>
        <p:txBody>
          <a:bodyPr wrap="square">
            <a:spAutoFit/>
          </a:bodyPr>
          <a:lstStyle/>
          <a:p>
            <a:pPr lvl="0" algn="ctr" defTabSz="829361" eaLnBrk="1" hangingPunct="1">
              <a:spcAft>
                <a:spcPct val="50000"/>
              </a:spcAft>
              <a:buClr>
                <a:srgbClr val="FFE600"/>
              </a:buClr>
              <a:buSzPct val="80000"/>
            </a:pPr>
            <a:r>
              <a:rPr lang="en-US" sz="1400" b="1">
                <a:solidFill>
                  <a:srgbClr val="00A3AE"/>
                </a:solidFill>
                <a:latin typeface="EYInterstate Light" pitchFamily="2" charset="0"/>
                <a:ea typeface="+mn-ea"/>
              </a:rPr>
              <a:t>Agile Approach with Multi-disciplinary teams</a:t>
            </a:r>
          </a:p>
        </p:txBody>
      </p:sp>
      <p:pic>
        <p:nvPicPr>
          <p:cNvPr id="7" name="Graphic 6">
            <a:extLst>
              <a:ext uri="{FF2B5EF4-FFF2-40B4-BE49-F238E27FC236}">
                <a16:creationId xmlns:a16="http://schemas.microsoft.com/office/drawing/2014/main" id="{D98793EB-3A30-4882-B597-05DED01FCE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48071" y="1254500"/>
            <a:ext cx="822960" cy="822960"/>
          </a:xfrm>
          <a:prstGeom prst="rect">
            <a:avLst/>
          </a:prstGeom>
        </p:spPr>
      </p:pic>
      <p:pic>
        <p:nvPicPr>
          <p:cNvPr id="11" name="Graphic 10">
            <a:extLst>
              <a:ext uri="{FF2B5EF4-FFF2-40B4-BE49-F238E27FC236}">
                <a16:creationId xmlns:a16="http://schemas.microsoft.com/office/drawing/2014/main" id="{014179F3-B4FB-439F-84C3-748850FE48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39009" y="1273086"/>
            <a:ext cx="822960" cy="822960"/>
          </a:xfrm>
          <a:prstGeom prst="rect">
            <a:avLst/>
          </a:prstGeom>
        </p:spPr>
      </p:pic>
      <p:pic>
        <p:nvPicPr>
          <p:cNvPr id="15" name="Graphic 14">
            <a:extLst>
              <a:ext uri="{FF2B5EF4-FFF2-40B4-BE49-F238E27FC236}">
                <a16:creationId xmlns:a16="http://schemas.microsoft.com/office/drawing/2014/main" id="{2413914B-6847-4CDF-9190-DA622855EF8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49192" y="1254500"/>
            <a:ext cx="822960" cy="822960"/>
          </a:xfrm>
          <a:prstGeom prst="rect">
            <a:avLst/>
          </a:prstGeom>
        </p:spPr>
      </p:pic>
      <p:pic>
        <p:nvPicPr>
          <p:cNvPr id="17" name="Graphic 16">
            <a:extLst>
              <a:ext uri="{FF2B5EF4-FFF2-40B4-BE49-F238E27FC236}">
                <a16:creationId xmlns:a16="http://schemas.microsoft.com/office/drawing/2014/main" id="{86734F73-FA45-48DF-AE44-8E7A44F47FA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117921" y="1254500"/>
            <a:ext cx="822960" cy="822960"/>
          </a:xfrm>
          <a:prstGeom prst="rect">
            <a:avLst/>
          </a:prstGeom>
        </p:spPr>
      </p:pic>
      <p:pic>
        <p:nvPicPr>
          <p:cNvPr id="19" name="Graphic 18">
            <a:extLst>
              <a:ext uri="{FF2B5EF4-FFF2-40B4-BE49-F238E27FC236}">
                <a16:creationId xmlns:a16="http://schemas.microsoft.com/office/drawing/2014/main" id="{12790462-6D1D-43FB-8AE7-7C83C745B18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08859" y="1254500"/>
            <a:ext cx="822960" cy="822960"/>
          </a:xfrm>
          <a:prstGeom prst="rect">
            <a:avLst/>
          </a:prstGeom>
        </p:spPr>
      </p:pic>
    </p:spTree>
    <p:extLst>
      <p:ext uri="{BB962C8B-B14F-4D97-AF65-F5344CB8AC3E}">
        <p14:creationId xmlns:p14="http://schemas.microsoft.com/office/powerpoint/2010/main" val="36823306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33481"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GB"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417" y="552264"/>
            <a:ext cx="10954132" cy="672625"/>
          </a:xfrm>
        </p:spPr>
        <p:txBody>
          <a:bodyPr/>
          <a:lstStyle/>
          <a:p>
            <a:r>
              <a:rPr lang="en-GB"/>
              <a:t>Use-cases would be prioritised against the business importance and ease of implementation with customer at the centre</a:t>
            </a:r>
            <a:endParaRPr lang="en-US"/>
          </a:p>
        </p:txBody>
      </p:sp>
      <p:sp>
        <p:nvSpPr>
          <p:cNvPr id="66" name="Rectangle 65">
            <a:extLst>
              <a:ext uri="{FF2B5EF4-FFF2-40B4-BE49-F238E27FC236}">
                <a16:creationId xmlns:a16="http://schemas.microsoft.com/office/drawing/2014/main" id="{760CFA91-8C80-45E1-A88E-714C989FE9EC}"/>
              </a:ext>
            </a:extLst>
          </p:cNvPr>
          <p:cNvSpPr/>
          <p:nvPr/>
        </p:nvSpPr>
        <p:spPr bwMode="auto">
          <a:xfrm>
            <a:off x="2593212" y="1834281"/>
            <a:ext cx="2530653" cy="415136"/>
          </a:xfrm>
          <a:prstGeom prst="rect">
            <a:avLst/>
          </a:prstGeom>
          <a:noFill/>
          <a:ln>
            <a:noFill/>
            <a:prstDash val="sysDash"/>
          </a:ln>
        </p:spPr>
        <p:txBody>
          <a:bodyPr rot="0" spcFirstLastPara="0" vertOverflow="overflow" horzOverflow="overflow" vert="horz" wrap="square" lIns="97955" tIns="97955" rIns="32652" bIns="32652" numCol="1" spcCol="0" rtlCol="0" fromWordArt="0" anchor="t" anchorCtr="0" forceAA="0" compatLnSpc="1">
            <a:prstTxWarp prst="textNoShape">
              <a:avLst/>
            </a:prstTxWarp>
            <a:noAutofit/>
          </a:bodyPr>
          <a:lstStyle/>
          <a:p>
            <a:pPr marL="0" marR="0" lvl="0" indent="0" algn="l" defTabSz="1052540" rtl="0" eaLnBrk="0" fontAlgn="auto" latinLnBrk="0" hangingPunct="0">
              <a:lnSpc>
                <a:spcPct val="100000"/>
              </a:lnSpc>
              <a:spcBef>
                <a:spcPts val="0"/>
              </a:spcBef>
              <a:spcAft>
                <a:spcPts val="544"/>
              </a:spcAft>
              <a:buClr>
                <a:srgbClr val="442488"/>
              </a:buClr>
              <a:buSzTx/>
              <a:buFontTx/>
              <a:buNone/>
              <a:tabLst/>
              <a:defRPr/>
            </a:pPr>
            <a:r>
              <a:rPr kumimoji="0" lang="en-US" sz="1270"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Business Value – </a:t>
            </a:r>
            <a:r>
              <a:rPr kumimoji="0" lang="en-US" sz="1270" b="0" i="0" u="none" strike="noStrike" kern="0" cap="none" spc="0" normalizeH="0" baseline="0" noProof="0">
                <a:ln>
                  <a:noFill/>
                </a:ln>
                <a:solidFill>
                  <a:srgbClr val="646464"/>
                </a:solidFill>
                <a:effectLst/>
                <a:uLnTx/>
                <a:uFillTx/>
                <a:latin typeface="EYInterstate Light" pitchFamily="2" charset="0"/>
                <a:cs typeface="Arial" charset="0"/>
              </a:rPr>
              <a:t>revenue &amp; cost saving potential</a:t>
            </a:r>
          </a:p>
        </p:txBody>
      </p:sp>
      <p:sp>
        <p:nvSpPr>
          <p:cNvPr id="67" name="Rectangle 66">
            <a:extLst>
              <a:ext uri="{FF2B5EF4-FFF2-40B4-BE49-F238E27FC236}">
                <a16:creationId xmlns:a16="http://schemas.microsoft.com/office/drawing/2014/main" id="{733F4E4C-F7C1-4F27-83C1-4CC2B5EA3420}"/>
              </a:ext>
            </a:extLst>
          </p:cNvPr>
          <p:cNvSpPr/>
          <p:nvPr/>
        </p:nvSpPr>
        <p:spPr bwMode="auto">
          <a:xfrm>
            <a:off x="2593212" y="2617193"/>
            <a:ext cx="2530653" cy="480770"/>
          </a:xfrm>
          <a:prstGeom prst="rect">
            <a:avLst/>
          </a:prstGeom>
          <a:noFill/>
          <a:ln>
            <a:noFill/>
            <a:prstDash val="sysDash"/>
          </a:ln>
        </p:spPr>
        <p:txBody>
          <a:bodyPr rot="0" spcFirstLastPara="0" vertOverflow="overflow" horzOverflow="overflow" vert="horz" wrap="square" lIns="97955" tIns="97955" rIns="32652" bIns="32652" numCol="1" spcCol="0" rtlCol="0" fromWordArt="0" anchor="t" anchorCtr="0" forceAA="0" compatLnSpc="1">
            <a:prstTxWarp prst="textNoShape">
              <a:avLst/>
            </a:prstTxWarp>
            <a:noAutofit/>
          </a:bodyPr>
          <a:lstStyle/>
          <a:p>
            <a:pPr marL="0" marR="0" lvl="0" indent="0" algn="l" defTabSz="1052540" rtl="0" eaLnBrk="0" fontAlgn="auto" latinLnBrk="0" hangingPunct="0">
              <a:lnSpc>
                <a:spcPct val="100000"/>
              </a:lnSpc>
              <a:spcBef>
                <a:spcPts val="0"/>
              </a:spcBef>
              <a:spcAft>
                <a:spcPts val="544"/>
              </a:spcAft>
              <a:buClr>
                <a:srgbClr val="442488"/>
              </a:buClr>
              <a:buSzTx/>
              <a:buFontTx/>
              <a:buNone/>
              <a:tabLst/>
              <a:defRPr/>
            </a:pPr>
            <a:r>
              <a:rPr kumimoji="0" lang="en-US" sz="1270"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Volume – </a:t>
            </a:r>
            <a:r>
              <a:rPr kumimoji="0" lang="en-US" sz="1270" b="0" i="0" u="none" strike="noStrike" kern="0" cap="none" spc="0" normalizeH="0" baseline="0" noProof="0">
                <a:ln>
                  <a:noFill/>
                </a:ln>
                <a:solidFill>
                  <a:srgbClr val="646464"/>
                </a:solidFill>
                <a:effectLst/>
                <a:uLnTx/>
                <a:uFillTx/>
                <a:latin typeface="EYInterstate Light" pitchFamily="2" charset="0"/>
                <a:ea typeface="+mn-ea"/>
                <a:cs typeface="Arial"/>
              </a:rPr>
              <a:t>number of occurrences of the interaction</a:t>
            </a:r>
          </a:p>
        </p:txBody>
      </p:sp>
      <p:sp>
        <p:nvSpPr>
          <p:cNvPr id="68" name="Rectangle 67">
            <a:extLst>
              <a:ext uri="{FF2B5EF4-FFF2-40B4-BE49-F238E27FC236}">
                <a16:creationId xmlns:a16="http://schemas.microsoft.com/office/drawing/2014/main" id="{7696BD56-E02F-45C8-8A04-E762F5CCF941}"/>
              </a:ext>
            </a:extLst>
          </p:cNvPr>
          <p:cNvSpPr/>
          <p:nvPr/>
        </p:nvSpPr>
        <p:spPr bwMode="auto">
          <a:xfrm>
            <a:off x="2593212" y="3345430"/>
            <a:ext cx="2530653" cy="397749"/>
          </a:xfrm>
          <a:prstGeom prst="rect">
            <a:avLst/>
          </a:prstGeom>
          <a:noFill/>
          <a:ln>
            <a:noFill/>
            <a:prstDash val="sysDash"/>
          </a:ln>
        </p:spPr>
        <p:txBody>
          <a:bodyPr rot="0" spcFirstLastPara="0" vertOverflow="overflow" horzOverflow="overflow" vert="horz" wrap="square" lIns="97955" tIns="97955" rIns="32652" bIns="32652" numCol="1" spcCol="0" rtlCol="0" fromWordArt="0" anchor="t" anchorCtr="0" forceAA="0" compatLnSpc="1">
            <a:prstTxWarp prst="textNoShape">
              <a:avLst/>
            </a:prstTxWarp>
            <a:noAutofit/>
          </a:bodyPr>
          <a:lstStyle/>
          <a:p>
            <a:pPr marL="0" marR="0" lvl="0" indent="0" algn="l" defTabSz="1052540" rtl="0" eaLnBrk="0" fontAlgn="auto" latinLnBrk="0" hangingPunct="0">
              <a:lnSpc>
                <a:spcPct val="100000"/>
              </a:lnSpc>
              <a:spcBef>
                <a:spcPts val="0"/>
              </a:spcBef>
              <a:spcAft>
                <a:spcPts val="544"/>
              </a:spcAft>
              <a:buClr>
                <a:srgbClr val="442488"/>
              </a:buClr>
              <a:buSzTx/>
              <a:buFontTx/>
              <a:buNone/>
              <a:tabLst/>
              <a:defRPr/>
            </a:pPr>
            <a:r>
              <a:rPr kumimoji="0" lang="en-US" sz="1270"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Broken state - </a:t>
            </a:r>
            <a:r>
              <a:rPr kumimoji="0" lang="en-US" sz="1270" b="0" i="0" u="none" strike="noStrike" kern="0" cap="none" spc="0" normalizeH="0" baseline="0" noProof="0">
                <a:ln>
                  <a:noFill/>
                </a:ln>
                <a:solidFill>
                  <a:srgbClr val="646464"/>
                </a:solidFill>
                <a:effectLst/>
                <a:uLnTx/>
                <a:uFillTx/>
                <a:latin typeface="EYInterstate Light" pitchFamily="2" charset="0"/>
                <a:cs typeface="Arial" charset="0"/>
              </a:rPr>
              <a:t>how ‘broken’ is the interaction today</a:t>
            </a:r>
          </a:p>
        </p:txBody>
      </p:sp>
      <p:sp>
        <p:nvSpPr>
          <p:cNvPr id="69" name="Rectangle 68">
            <a:extLst>
              <a:ext uri="{FF2B5EF4-FFF2-40B4-BE49-F238E27FC236}">
                <a16:creationId xmlns:a16="http://schemas.microsoft.com/office/drawing/2014/main" id="{ADB94FF8-234D-491F-9AB2-7EF41E8CCC70}"/>
              </a:ext>
            </a:extLst>
          </p:cNvPr>
          <p:cNvSpPr/>
          <p:nvPr/>
        </p:nvSpPr>
        <p:spPr bwMode="auto">
          <a:xfrm>
            <a:off x="2593212" y="4083823"/>
            <a:ext cx="2530653" cy="706710"/>
          </a:xfrm>
          <a:prstGeom prst="rect">
            <a:avLst/>
          </a:prstGeom>
          <a:noFill/>
          <a:ln>
            <a:noFill/>
            <a:prstDash val="sysDash"/>
          </a:ln>
        </p:spPr>
        <p:txBody>
          <a:bodyPr rot="0" spcFirstLastPara="0" vertOverflow="overflow" horzOverflow="overflow" vert="horz" wrap="square" lIns="97955" tIns="97955" rIns="32652" bIns="32652" numCol="1" spcCol="0" rtlCol="0" fromWordArt="0" anchor="t" anchorCtr="0" forceAA="0" compatLnSpc="1">
            <a:prstTxWarp prst="textNoShape">
              <a:avLst/>
            </a:prstTxWarp>
            <a:noAutofit/>
          </a:bodyPr>
          <a:lstStyle/>
          <a:p>
            <a:pPr marL="0" marR="0" lvl="0" indent="0" algn="l" defTabSz="1052540" rtl="0" eaLnBrk="0" fontAlgn="auto" latinLnBrk="0" hangingPunct="0">
              <a:lnSpc>
                <a:spcPct val="100000"/>
              </a:lnSpc>
              <a:spcBef>
                <a:spcPts val="0"/>
              </a:spcBef>
              <a:spcAft>
                <a:spcPts val="544"/>
              </a:spcAft>
              <a:buClr>
                <a:srgbClr val="442488"/>
              </a:buClr>
              <a:buSzTx/>
              <a:buFontTx/>
              <a:buNone/>
              <a:tabLst/>
              <a:defRPr/>
            </a:pPr>
            <a:r>
              <a:rPr kumimoji="0" lang="en-US" sz="1270" b="1" i="0" u="none" strike="noStrike" kern="0" cap="none" spc="0" normalizeH="0" baseline="0" noProof="0">
                <a:ln>
                  <a:noFill/>
                </a:ln>
                <a:solidFill>
                  <a:srgbClr val="000000"/>
                </a:solidFill>
                <a:effectLst/>
                <a:uLnTx/>
                <a:uFillTx/>
                <a:latin typeface="EYInterstate" panose="02000503020000020004" pitchFamily="2" charset="0"/>
                <a:cs typeface="Arial" charset="0"/>
              </a:rPr>
              <a:t>Customer Impact - </a:t>
            </a:r>
            <a:r>
              <a:rPr kumimoji="0" lang="en-US" sz="1270" b="0" i="0" u="none" strike="noStrike" kern="0" cap="none" spc="0" normalizeH="0" baseline="0" noProof="0">
                <a:ln>
                  <a:noFill/>
                </a:ln>
                <a:solidFill>
                  <a:srgbClr val="646464"/>
                </a:solidFill>
                <a:effectLst/>
                <a:uLnTx/>
                <a:uFillTx/>
                <a:latin typeface="EYInterstate Light" pitchFamily="2" charset="0"/>
                <a:cs typeface="Arial" charset="0"/>
              </a:rPr>
              <a:t>importance of the interaction on customer experience</a:t>
            </a:r>
          </a:p>
        </p:txBody>
      </p:sp>
      <p:sp>
        <p:nvSpPr>
          <p:cNvPr id="70" name="Rectangle 69">
            <a:extLst>
              <a:ext uri="{FF2B5EF4-FFF2-40B4-BE49-F238E27FC236}">
                <a16:creationId xmlns:a16="http://schemas.microsoft.com/office/drawing/2014/main" id="{BAE9D2BA-8A28-459D-A439-CDF83F3DD21A}"/>
              </a:ext>
            </a:extLst>
          </p:cNvPr>
          <p:cNvSpPr/>
          <p:nvPr/>
        </p:nvSpPr>
        <p:spPr bwMode="auto">
          <a:xfrm>
            <a:off x="2593212" y="4992270"/>
            <a:ext cx="2530653" cy="487117"/>
          </a:xfrm>
          <a:prstGeom prst="rect">
            <a:avLst/>
          </a:prstGeom>
          <a:noFill/>
          <a:ln>
            <a:noFill/>
            <a:prstDash val="sysDash"/>
          </a:ln>
        </p:spPr>
        <p:txBody>
          <a:bodyPr rot="0" spcFirstLastPara="0" vertOverflow="overflow" horzOverflow="overflow" vert="horz" wrap="square" lIns="97955" tIns="97955" rIns="32652" bIns="32652" numCol="1" spcCol="0" rtlCol="0" fromWordArt="0" anchor="t" anchorCtr="0" forceAA="0" compatLnSpc="1">
            <a:prstTxWarp prst="textNoShape">
              <a:avLst/>
            </a:prstTxWarp>
            <a:noAutofit/>
          </a:bodyPr>
          <a:lstStyle/>
          <a:p>
            <a:pPr marL="0" marR="0" lvl="0" indent="0" algn="l" defTabSz="1052540" rtl="0" eaLnBrk="0" fontAlgn="auto" latinLnBrk="0" hangingPunct="0">
              <a:lnSpc>
                <a:spcPct val="100000"/>
              </a:lnSpc>
              <a:spcBef>
                <a:spcPts val="0"/>
              </a:spcBef>
              <a:spcAft>
                <a:spcPts val="544"/>
              </a:spcAft>
              <a:buClr>
                <a:srgbClr val="442488"/>
              </a:buClr>
              <a:buSzTx/>
              <a:buFontTx/>
              <a:buNone/>
              <a:tabLst/>
              <a:defRPr/>
            </a:pPr>
            <a:r>
              <a:rPr kumimoji="0" lang="en-US" sz="1270" b="1" i="0" u="none" strike="noStrike" kern="0" cap="none" spc="0" normalizeH="0" baseline="0" noProof="0">
                <a:ln>
                  <a:noFill/>
                </a:ln>
                <a:solidFill>
                  <a:srgbClr val="000000"/>
                </a:solidFill>
                <a:effectLst/>
                <a:uLnTx/>
                <a:uFillTx/>
                <a:latin typeface="EYInterstate" panose="02000503020000020004" pitchFamily="2" charset="0"/>
                <a:cs typeface="Arial" charset="0"/>
              </a:rPr>
              <a:t>Strategic intent – </a:t>
            </a:r>
            <a:r>
              <a:rPr kumimoji="0" lang="en-US" sz="1270" b="0" i="0" u="none" strike="noStrike" kern="0" cap="none" spc="0" normalizeH="0" baseline="0" noProof="0">
                <a:ln>
                  <a:noFill/>
                </a:ln>
                <a:solidFill>
                  <a:srgbClr val="646464"/>
                </a:solidFill>
                <a:effectLst/>
                <a:uLnTx/>
                <a:uFillTx/>
                <a:latin typeface="EYInterstate Light" pitchFamily="2" charset="0"/>
                <a:cs typeface="Arial" charset="0"/>
              </a:rPr>
              <a:t>alignment to the strategic themes</a:t>
            </a:r>
          </a:p>
        </p:txBody>
      </p:sp>
      <p:grpSp>
        <p:nvGrpSpPr>
          <p:cNvPr id="2" name="Group 1">
            <a:extLst>
              <a:ext uri="{FF2B5EF4-FFF2-40B4-BE49-F238E27FC236}">
                <a16:creationId xmlns:a16="http://schemas.microsoft.com/office/drawing/2014/main" id="{056E2935-B963-49FA-9B27-A9BA22D7DC68}"/>
              </a:ext>
            </a:extLst>
          </p:cNvPr>
          <p:cNvGrpSpPr/>
          <p:nvPr/>
        </p:nvGrpSpPr>
        <p:grpSpPr>
          <a:xfrm>
            <a:off x="1120204" y="1731060"/>
            <a:ext cx="1346876" cy="3929676"/>
            <a:chOff x="1231929" y="1908573"/>
            <a:chExt cx="1484993" cy="4332650"/>
          </a:xfrm>
        </p:grpSpPr>
        <p:sp>
          <p:nvSpPr>
            <p:cNvPr id="72" name="Right Bracket 71">
              <a:extLst>
                <a:ext uri="{FF2B5EF4-FFF2-40B4-BE49-F238E27FC236}">
                  <a16:creationId xmlns:a16="http://schemas.microsoft.com/office/drawing/2014/main" id="{7E5A27DD-6D79-4660-9DD7-34EB530B83A1}"/>
                </a:ext>
              </a:extLst>
            </p:cNvPr>
            <p:cNvSpPr/>
            <p:nvPr/>
          </p:nvSpPr>
          <p:spPr bwMode="auto">
            <a:xfrm>
              <a:off x="2559523" y="1908573"/>
              <a:ext cx="157399" cy="4332650"/>
            </a:xfrm>
            <a:prstGeom prst="rightBracket">
              <a:avLst/>
            </a:prstGeom>
            <a:noFill/>
            <a:ln w="3175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nchor="ctr"/>
            <a:lstStyle/>
            <a:p>
              <a:pPr marL="0" marR="0" lvl="0" indent="0" algn="ctr" defTabSz="829361" rtl="0" eaLnBrk="1" fontAlgn="auto" latinLnBrk="0" hangingPunct="1">
                <a:lnSpc>
                  <a:spcPct val="100000"/>
                </a:lnSpc>
                <a:spcBef>
                  <a:spcPts val="0"/>
                </a:spcBef>
                <a:spcAft>
                  <a:spcPts val="0"/>
                </a:spcAft>
                <a:buClr>
                  <a:srgbClr val="442488"/>
                </a:buClr>
                <a:buSzTx/>
                <a:buFontTx/>
                <a:buNone/>
                <a:tabLst/>
                <a:defRPr/>
              </a:pPr>
              <a:endParaRPr kumimoji="0" lang="en-GB" sz="1270" b="0" i="0" u="none" strike="noStrike" kern="0" cap="none" spc="0" normalizeH="0" baseline="0" noProof="0">
                <a:ln>
                  <a:noFill/>
                </a:ln>
                <a:solidFill>
                  <a:srgbClr val="646464"/>
                </a:solidFill>
                <a:effectLst/>
                <a:uLnTx/>
                <a:uFillTx/>
                <a:latin typeface="EYInterstate Light" pitchFamily="2" charset="0"/>
                <a:ea typeface="+mn-ea"/>
                <a:cs typeface="Arial" charset="0"/>
              </a:endParaRPr>
            </a:p>
          </p:txBody>
        </p:sp>
        <p:sp>
          <p:nvSpPr>
            <p:cNvPr id="73" name="Right Bracket 72">
              <a:extLst>
                <a:ext uri="{FF2B5EF4-FFF2-40B4-BE49-F238E27FC236}">
                  <a16:creationId xmlns:a16="http://schemas.microsoft.com/office/drawing/2014/main" id="{C2034E34-303E-476A-8D58-3FE9878D2FAB}"/>
                </a:ext>
              </a:extLst>
            </p:cNvPr>
            <p:cNvSpPr/>
            <p:nvPr/>
          </p:nvSpPr>
          <p:spPr bwMode="auto">
            <a:xfrm rot="10800000">
              <a:off x="1231929" y="1908573"/>
              <a:ext cx="157399" cy="4332650"/>
            </a:xfrm>
            <a:prstGeom prst="rightBracket">
              <a:avLst/>
            </a:prstGeom>
            <a:noFill/>
            <a:ln w="3175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nchor="ctr"/>
            <a:lstStyle/>
            <a:p>
              <a:pPr marL="0" marR="0" lvl="0" indent="0" algn="ctr" defTabSz="829361" rtl="0" eaLnBrk="1" fontAlgn="auto" latinLnBrk="0" hangingPunct="1">
                <a:lnSpc>
                  <a:spcPct val="100000"/>
                </a:lnSpc>
                <a:spcBef>
                  <a:spcPts val="0"/>
                </a:spcBef>
                <a:spcAft>
                  <a:spcPts val="0"/>
                </a:spcAft>
                <a:buClr>
                  <a:srgbClr val="442488"/>
                </a:buClr>
                <a:buSzTx/>
                <a:buFontTx/>
                <a:buNone/>
                <a:tabLst/>
                <a:defRPr/>
              </a:pPr>
              <a:endParaRPr kumimoji="0" lang="en-GB" sz="1270" b="0" i="0" u="none" strike="noStrike" kern="0" cap="none" spc="0" normalizeH="0" baseline="0" noProof="0">
                <a:ln>
                  <a:noFill/>
                </a:ln>
                <a:solidFill>
                  <a:srgbClr val="646464"/>
                </a:solidFill>
                <a:effectLst/>
                <a:uLnTx/>
                <a:uFillTx/>
                <a:latin typeface="EYInterstate Light" pitchFamily="2" charset="0"/>
                <a:ea typeface="+mn-ea"/>
                <a:cs typeface="Arial" charset="0"/>
              </a:endParaRPr>
            </a:p>
          </p:txBody>
        </p:sp>
      </p:grpSp>
      <p:sp>
        <p:nvSpPr>
          <p:cNvPr id="74" name="Rectangle 73">
            <a:extLst>
              <a:ext uri="{FF2B5EF4-FFF2-40B4-BE49-F238E27FC236}">
                <a16:creationId xmlns:a16="http://schemas.microsoft.com/office/drawing/2014/main" id="{83919A28-FC54-4CD3-921B-2BDFE3E416A2}"/>
              </a:ext>
            </a:extLst>
          </p:cNvPr>
          <p:cNvSpPr/>
          <p:nvPr/>
        </p:nvSpPr>
        <p:spPr>
          <a:xfrm>
            <a:off x="1269362" y="2144736"/>
            <a:ext cx="1061509" cy="231923"/>
          </a:xfrm>
          <a:prstGeom prst="rect">
            <a:avLst/>
          </a:prstGeom>
        </p:spPr>
        <p:txBody>
          <a:bodyPr wrap="none">
            <a:sp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907"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Business Value </a:t>
            </a:r>
            <a:endParaRPr kumimoji="0" lang="en-US" sz="907"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endParaRPr>
          </a:p>
        </p:txBody>
      </p:sp>
      <p:sp>
        <p:nvSpPr>
          <p:cNvPr id="75" name="Rectangle 74">
            <a:extLst>
              <a:ext uri="{FF2B5EF4-FFF2-40B4-BE49-F238E27FC236}">
                <a16:creationId xmlns:a16="http://schemas.microsoft.com/office/drawing/2014/main" id="{E54D9A9B-C99F-4D8D-B9B5-AB91BC3A3582}"/>
              </a:ext>
            </a:extLst>
          </p:cNvPr>
          <p:cNvSpPr/>
          <p:nvPr/>
        </p:nvSpPr>
        <p:spPr>
          <a:xfrm>
            <a:off x="1505622" y="2952229"/>
            <a:ext cx="596638" cy="231923"/>
          </a:xfrm>
          <a:prstGeom prst="rect">
            <a:avLst/>
          </a:prstGeom>
        </p:spPr>
        <p:txBody>
          <a:bodyPr wrap="none">
            <a:sp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907"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Volume</a:t>
            </a:r>
            <a:endParaRPr kumimoji="0" lang="en-US" sz="907"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endParaRPr>
          </a:p>
        </p:txBody>
      </p:sp>
      <p:sp>
        <p:nvSpPr>
          <p:cNvPr id="76" name="Rectangle 75">
            <a:extLst>
              <a:ext uri="{FF2B5EF4-FFF2-40B4-BE49-F238E27FC236}">
                <a16:creationId xmlns:a16="http://schemas.microsoft.com/office/drawing/2014/main" id="{7517EF16-CDF5-4B14-BF71-9E249F250FD9}"/>
              </a:ext>
            </a:extLst>
          </p:cNvPr>
          <p:cNvSpPr/>
          <p:nvPr/>
        </p:nvSpPr>
        <p:spPr>
          <a:xfrm>
            <a:off x="1344966" y="3759721"/>
            <a:ext cx="915635" cy="231923"/>
          </a:xfrm>
          <a:prstGeom prst="rect">
            <a:avLst/>
          </a:prstGeom>
        </p:spPr>
        <p:txBody>
          <a:bodyPr wrap="none">
            <a:sp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907"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Broken State</a:t>
            </a:r>
            <a:endParaRPr kumimoji="0" lang="en-US" sz="907"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endParaRPr>
          </a:p>
        </p:txBody>
      </p:sp>
      <p:sp>
        <p:nvSpPr>
          <p:cNvPr id="77" name="Rectangle 76">
            <a:extLst>
              <a:ext uri="{FF2B5EF4-FFF2-40B4-BE49-F238E27FC236}">
                <a16:creationId xmlns:a16="http://schemas.microsoft.com/office/drawing/2014/main" id="{5B0E78BA-031E-424B-95F0-A32237A647C5}"/>
              </a:ext>
            </a:extLst>
          </p:cNvPr>
          <p:cNvSpPr/>
          <p:nvPr/>
        </p:nvSpPr>
        <p:spPr>
          <a:xfrm>
            <a:off x="1232287" y="4567214"/>
            <a:ext cx="1143262" cy="231923"/>
          </a:xfrm>
          <a:prstGeom prst="rect">
            <a:avLst/>
          </a:prstGeom>
        </p:spPr>
        <p:txBody>
          <a:bodyPr wrap="none">
            <a:sp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907"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Customer Impact</a:t>
            </a:r>
            <a:endParaRPr kumimoji="0" lang="en-US" sz="907"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endParaRPr>
          </a:p>
        </p:txBody>
      </p:sp>
      <p:sp>
        <p:nvSpPr>
          <p:cNvPr id="78" name="Rectangle 77">
            <a:extLst>
              <a:ext uri="{FF2B5EF4-FFF2-40B4-BE49-F238E27FC236}">
                <a16:creationId xmlns:a16="http://schemas.microsoft.com/office/drawing/2014/main" id="{F187603A-7B4F-4EEF-99BC-8E06341B999A}"/>
              </a:ext>
            </a:extLst>
          </p:cNvPr>
          <p:cNvSpPr/>
          <p:nvPr/>
        </p:nvSpPr>
        <p:spPr>
          <a:xfrm>
            <a:off x="1265000" y="5374706"/>
            <a:ext cx="1074333" cy="231923"/>
          </a:xfrm>
          <a:prstGeom prst="rect">
            <a:avLst/>
          </a:prstGeom>
        </p:spPr>
        <p:txBody>
          <a:bodyPr wrap="none">
            <a:sp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907"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Strategic Intent</a:t>
            </a:r>
            <a:endParaRPr kumimoji="0" lang="en-US" sz="907"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endParaRPr>
          </a:p>
        </p:txBody>
      </p:sp>
      <p:sp>
        <p:nvSpPr>
          <p:cNvPr id="81" name="TextBox 80">
            <a:extLst>
              <a:ext uri="{FF2B5EF4-FFF2-40B4-BE49-F238E27FC236}">
                <a16:creationId xmlns:a16="http://schemas.microsoft.com/office/drawing/2014/main" id="{B8F9E928-00E1-4BC1-AB27-555800800E47}"/>
              </a:ext>
            </a:extLst>
          </p:cNvPr>
          <p:cNvSpPr txBox="1"/>
          <p:nvPr/>
        </p:nvSpPr>
        <p:spPr>
          <a:xfrm>
            <a:off x="1658027" y="2253766"/>
            <a:ext cx="271229" cy="259751"/>
          </a:xfrm>
          <a:prstGeom prst="rect">
            <a:avLst/>
          </a:prstGeom>
          <a:noFill/>
        </p:spPr>
        <p:txBody>
          <a:bodyPr wrap="none" rtlCol="0">
            <a:spAutoFit/>
          </a:bodyPr>
          <a:lstStyle/>
          <a:p>
            <a:pPr marL="0" marR="0" lvl="0" indent="0" algn="ctr" defTabSz="829361" rtl="0" eaLnBrk="1" fontAlgn="auto" latinLnBrk="0" hangingPunct="1">
              <a:lnSpc>
                <a:spcPct val="100000"/>
              </a:lnSpc>
              <a:spcBef>
                <a:spcPts val="0"/>
              </a:spcBef>
              <a:spcAft>
                <a:spcPts val="0"/>
              </a:spcAft>
              <a:buClr>
                <a:srgbClr val="442488"/>
              </a:buClr>
              <a:buSzTx/>
              <a:buFontTx/>
              <a:buNone/>
              <a:tabLst/>
              <a:defRPr/>
            </a:pPr>
            <a:r>
              <a:rPr kumimoji="0" lang="en-GB" sz="1088" b="0" i="0" u="none" strike="noStrike" kern="0" cap="none" spc="0" normalizeH="0" baseline="0" noProof="0">
                <a:ln>
                  <a:noFill/>
                </a:ln>
                <a:solidFill>
                  <a:srgbClr val="646464"/>
                </a:solidFill>
                <a:effectLst/>
                <a:uLnTx/>
                <a:uFillTx/>
                <a:latin typeface="EYInterstate Light" pitchFamily="2" charset="0"/>
                <a:ea typeface="+mn-ea"/>
                <a:cs typeface="Arial" charset="0"/>
              </a:rPr>
              <a:t>+</a:t>
            </a:r>
          </a:p>
        </p:txBody>
      </p:sp>
      <p:sp>
        <p:nvSpPr>
          <p:cNvPr id="83" name="TextBox 82">
            <a:extLst>
              <a:ext uri="{FF2B5EF4-FFF2-40B4-BE49-F238E27FC236}">
                <a16:creationId xmlns:a16="http://schemas.microsoft.com/office/drawing/2014/main" id="{F460422D-81C4-44EB-9CC1-5F19D5C00B77}"/>
              </a:ext>
            </a:extLst>
          </p:cNvPr>
          <p:cNvSpPr txBox="1"/>
          <p:nvPr/>
        </p:nvSpPr>
        <p:spPr>
          <a:xfrm>
            <a:off x="1658027" y="3081609"/>
            <a:ext cx="271229" cy="259751"/>
          </a:xfrm>
          <a:prstGeom prst="rect">
            <a:avLst/>
          </a:prstGeom>
          <a:noFill/>
        </p:spPr>
        <p:txBody>
          <a:bodyPr wrap="none" rtlCol="0">
            <a:spAutoFit/>
          </a:bodyPr>
          <a:lstStyle/>
          <a:p>
            <a:pPr marL="0" marR="0" lvl="0" indent="0" algn="ctr" defTabSz="829361" rtl="0" eaLnBrk="1" fontAlgn="auto" latinLnBrk="0" hangingPunct="1">
              <a:lnSpc>
                <a:spcPct val="100000"/>
              </a:lnSpc>
              <a:spcBef>
                <a:spcPts val="0"/>
              </a:spcBef>
              <a:spcAft>
                <a:spcPts val="0"/>
              </a:spcAft>
              <a:buClr>
                <a:srgbClr val="442488"/>
              </a:buClr>
              <a:buSzTx/>
              <a:buFontTx/>
              <a:buNone/>
              <a:tabLst/>
              <a:defRPr/>
            </a:pPr>
            <a:r>
              <a:rPr kumimoji="0" lang="en-GB" sz="1088" b="0" i="0" u="none" strike="noStrike" kern="0" cap="none" spc="0" normalizeH="0" baseline="0" noProof="0">
                <a:ln>
                  <a:noFill/>
                </a:ln>
                <a:solidFill>
                  <a:srgbClr val="646464"/>
                </a:solidFill>
                <a:effectLst/>
                <a:uLnTx/>
                <a:uFillTx/>
                <a:latin typeface="EYInterstate Light" pitchFamily="2" charset="0"/>
                <a:ea typeface="+mn-ea"/>
                <a:cs typeface="Arial" charset="0"/>
              </a:rPr>
              <a:t>+</a:t>
            </a:r>
          </a:p>
        </p:txBody>
      </p:sp>
      <p:sp>
        <p:nvSpPr>
          <p:cNvPr id="84" name="TextBox 83">
            <a:extLst>
              <a:ext uri="{FF2B5EF4-FFF2-40B4-BE49-F238E27FC236}">
                <a16:creationId xmlns:a16="http://schemas.microsoft.com/office/drawing/2014/main" id="{9ACEF282-D095-4C09-934A-3B4BFFAAEC5B}"/>
              </a:ext>
            </a:extLst>
          </p:cNvPr>
          <p:cNvSpPr txBox="1"/>
          <p:nvPr/>
        </p:nvSpPr>
        <p:spPr>
          <a:xfrm>
            <a:off x="1658027" y="3889103"/>
            <a:ext cx="271229" cy="259751"/>
          </a:xfrm>
          <a:prstGeom prst="rect">
            <a:avLst/>
          </a:prstGeom>
          <a:noFill/>
        </p:spPr>
        <p:txBody>
          <a:bodyPr wrap="none" rtlCol="0">
            <a:spAutoFit/>
          </a:bodyPr>
          <a:lstStyle/>
          <a:p>
            <a:pPr marL="0" marR="0" lvl="0" indent="0" algn="ctr" defTabSz="829361" rtl="0" eaLnBrk="1" fontAlgn="auto" latinLnBrk="0" hangingPunct="1">
              <a:lnSpc>
                <a:spcPct val="100000"/>
              </a:lnSpc>
              <a:spcBef>
                <a:spcPts val="0"/>
              </a:spcBef>
              <a:spcAft>
                <a:spcPts val="0"/>
              </a:spcAft>
              <a:buClr>
                <a:srgbClr val="442488"/>
              </a:buClr>
              <a:buSzTx/>
              <a:buFontTx/>
              <a:buNone/>
              <a:tabLst/>
              <a:defRPr/>
            </a:pPr>
            <a:r>
              <a:rPr kumimoji="0" lang="en-GB" sz="1088" b="0" i="0" u="none" strike="noStrike" kern="0" cap="none" spc="0" normalizeH="0" baseline="0" noProof="0">
                <a:ln>
                  <a:noFill/>
                </a:ln>
                <a:solidFill>
                  <a:srgbClr val="646464"/>
                </a:solidFill>
                <a:effectLst/>
                <a:uLnTx/>
                <a:uFillTx/>
                <a:latin typeface="EYInterstate Light" pitchFamily="2" charset="0"/>
                <a:ea typeface="+mn-ea"/>
                <a:cs typeface="Arial" charset="0"/>
              </a:rPr>
              <a:t>+</a:t>
            </a:r>
          </a:p>
        </p:txBody>
      </p:sp>
      <p:sp>
        <p:nvSpPr>
          <p:cNvPr id="85" name="TextBox 84">
            <a:extLst>
              <a:ext uri="{FF2B5EF4-FFF2-40B4-BE49-F238E27FC236}">
                <a16:creationId xmlns:a16="http://schemas.microsoft.com/office/drawing/2014/main" id="{2ACE7959-D998-4737-B26D-45DB663BCD21}"/>
              </a:ext>
            </a:extLst>
          </p:cNvPr>
          <p:cNvSpPr txBox="1"/>
          <p:nvPr/>
        </p:nvSpPr>
        <p:spPr>
          <a:xfrm>
            <a:off x="1658027" y="4671895"/>
            <a:ext cx="271229" cy="259751"/>
          </a:xfrm>
          <a:prstGeom prst="rect">
            <a:avLst/>
          </a:prstGeom>
          <a:noFill/>
        </p:spPr>
        <p:txBody>
          <a:bodyPr wrap="none" rtlCol="0">
            <a:spAutoFit/>
          </a:bodyPr>
          <a:lstStyle/>
          <a:p>
            <a:pPr marL="0" marR="0" lvl="0" indent="0" algn="ctr" defTabSz="829361" rtl="0" eaLnBrk="1" fontAlgn="auto" latinLnBrk="0" hangingPunct="1">
              <a:lnSpc>
                <a:spcPct val="100000"/>
              </a:lnSpc>
              <a:spcBef>
                <a:spcPts val="0"/>
              </a:spcBef>
              <a:spcAft>
                <a:spcPts val="0"/>
              </a:spcAft>
              <a:buClr>
                <a:srgbClr val="442488"/>
              </a:buClr>
              <a:buSzTx/>
              <a:buFontTx/>
              <a:buNone/>
              <a:tabLst/>
              <a:defRPr/>
            </a:pPr>
            <a:r>
              <a:rPr kumimoji="0" lang="en-GB" sz="1088" b="0" i="0" u="none" strike="noStrike" kern="0" cap="none" spc="0" normalizeH="0" baseline="0" noProof="0">
                <a:ln>
                  <a:noFill/>
                </a:ln>
                <a:solidFill>
                  <a:srgbClr val="646464"/>
                </a:solidFill>
                <a:effectLst/>
                <a:uLnTx/>
                <a:uFillTx/>
                <a:latin typeface="EYInterstate Light" pitchFamily="2" charset="0"/>
                <a:ea typeface="+mn-ea"/>
                <a:cs typeface="Arial" charset="0"/>
              </a:rPr>
              <a:t>+</a:t>
            </a:r>
          </a:p>
        </p:txBody>
      </p:sp>
      <p:sp>
        <p:nvSpPr>
          <p:cNvPr id="86" name="Freeform 133">
            <a:extLst>
              <a:ext uri="{FF2B5EF4-FFF2-40B4-BE49-F238E27FC236}">
                <a16:creationId xmlns:a16="http://schemas.microsoft.com/office/drawing/2014/main" id="{5120B416-EDFD-4CBF-9387-902591C63977}"/>
              </a:ext>
            </a:extLst>
          </p:cNvPr>
          <p:cNvSpPr>
            <a:spLocks noEditPoints="1"/>
          </p:cNvSpPr>
          <p:nvPr/>
        </p:nvSpPr>
        <p:spPr bwMode="auto">
          <a:xfrm>
            <a:off x="1620023" y="3442967"/>
            <a:ext cx="347239" cy="302312"/>
          </a:xfrm>
          <a:custGeom>
            <a:avLst/>
            <a:gdLst>
              <a:gd name="T0" fmla="*/ 9136 w 63"/>
              <a:gd name="T1" fmla="*/ 386643 h 63"/>
              <a:gd name="T2" fmla="*/ 9136 w 63"/>
              <a:gd name="T3" fmla="*/ 368232 h 63"/>
              <a:gd name="T4" fmla="*/ 127907 w 63"/>
              <a:gd name="T5" fmla="*/ 377438 h 63"/>
              <a:gd name="T6" fmla="*/ 274087 w 63"/>
              <a:gd name="T7" fmla="*/ 174910 h 63"/>
              <a:gd name="T8" fmla="*/ 155316 w 63"/>
              <a:gd name="T9" fmla="*/ 73646 h 63"/>
              <a:gd name="T10" fmla="*/ 82226 w 63"/>
              <a:gd name="T11" fmla="*/ 128881 h 63"/>
              <a:gd name="T12" fmla="*/ 82226 w 63"/>
              <a:gd name="T13" fmla="*/ 174910 h 63"/>
              <a:gd name="T14" fmla="*/ 164452 w 63"/>
              <a:gd name="T15" fmla="*/ 359026 h 63"/>
              <a:gd name="T16" fmla="*/ 36545 w 63"/>
              <a:gd name="T17" fmla="*/ 220939 h 63"/>
              <a:gd name="T18" fmla="*/ 36545 w 63"/>
              <a:gd name="T19" fmla="*/ 82852 h 63"/>
              <a:gd name="T20" fmla="*/ 155316 w 63"/>
              <a:gd name="T21" fmla="*/ 0 h 63"/>
              <a:gd name="T22" fmla="*/ 338041 w 63"/>
              <a:gd name="T23" fmla="*/ 147293 h 63"/>
              <a:gd name="T24" fmla="*/ 274087 w 63"/>
              <a:gd name="T25" fmla="*/ 174910 h 63"/>
              <a:gd name="T26" fmla="*/ 54817 w 63"/>
              <a:gd name="T27" fmla="*/ 533936 h 63"/>
              <a:gd name="T28" fmla="*/ 45681 w 63"/>
              <a:gd name="T29" fmla="*/ 515524 h 63"/>
              <a:gd name="T30" fmla="*/ 146180 w 63"/>
              <a:gd name="T31" fmla="*/ 423467 h 63"/>
              <a:gd name="T32" fmla="*/ 63954 w 63"/>
              <a:gd name="T33" fmla="*/ 533936 h 63"/>
              <a:gd name="T34" fmla="*/ 200997 w 63"/>
              <a:gd name="T35" fmla="*/ 579965 h 63"/>
              <a:gd name="T36" fmla="*/ 182725 w 63"/>
              <a:gd name="T37" fmla="*/ 451084 h 63"/>
              <a:gd name="T38" fmla="*/ 210133 w 63"/>
              <a:gd name="T39" fmla="*/ 451084 h 63"/>
              <a:gd name="T40" fmla="*/ 539038 w 63"/>
              <a:gd name="T41" fmla="*/ 497113 h 63"/>
              <a:gd name="T42" fmla="*/ 420267 w 63"/>
              <a:gd name="T43" fmla="*/ 570759 h 63"/>
              <a:gd name="T44" fmla="*/ 228406 w 63"/>
              <a:gd name="T45" fmla="*/ 423467 h 63"/>
              <a:gd name="T46" fmla="*/ 301496 w 63"/>
              <a:gd name="T47" fmla="*/ 395849 h 63"/>
              <a:gd name="T48" fmla="*/ 438539 w 63"/>
              <a:gd name="T49" fmla="*/ 497113 h 63"/>
              <a:gd name="T50" fmla="*/ 502493 w 63"/>
              <a:gd name="T51" fmla="*/ 423467 h 63"/>
              <a:gd name="T52" fmla="*/ 401994 w 63"/>
              <a:gd name="T53" fmla="*/ 303791 h 63"/>
              <a:gd name="T54" fmla="*/ 420267 w 63"/>
              <a:gd name="T55" fmla="*/ 230145 h 63"/>
              <a:gd name="T56" fmla="*/ 566447 w 63"/>
              <a:gd name="T57" fmla="*/ 423467 h 63"/>
              <a:gd name="T58" fmla="*/ 383722 w 63"/>
              <a:gd name="T59" fmla="*/ 119675 h 63"/>
              <a:gd name="T60" fmla="*/ 365450 w 63"/>
              <a:gd name="T61" fmla="*/ 119675 h 63"/>
              <a:gd name="T62" fmla="*/ 374586 w 63"/>
              <a:gd name="T63" fmla="*/ 0 h 63"/>
              <a:gd name="T64" fmla="*/ 383722 w 63"/>
              <a:gd name="T65" fmla="*/ 119675 h 63"/>
              <a:gd name="T66" fmla="*/ 429403 w 63"/>
              <a:gd name="T67" fmla="*/ 156498 h 63"/>
              <a:gd name="T68" fmla="*/ 420267 w 63"/>
              <a:gd name="T69" fmla="*/ 138087 h 63"/>
              <a:gd name="T70" fmla="*/ 529902 w 63"/>
              <a:gd name="T71" fmla="*/ 46029 h 63"/>
              <a:gd name="T72" fmla="*/ 438539 w 63"/>
              <a:gd name="T73" fmla="*/ 147293 h 63"/>
              <a:gd name="T74" fmla="*/ 456812 w 63"/>
              <a:gd name="T75" fmla="*/ 211733 h 63"/>
              <a:gd name="T76" fmla="*/ 456812 w 63"/>
              <a:gd name="T77" fmla="*/ 184116 h 63"/>
              <a:gd name="T78" fmla="*/ 575583 w 63"/>
              <a:gd name="T79" fmla="*/ 202527 h 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 h="63">
                <a:moveTo>
                  <a:pt x="13" y="42"/>
                </a:moveTo>
                <a:cubicBezTo>
                  <a:pt x="1" y="42"/>
                  <a:pt x="1" y="42"/>
                  <a:pt x="1" y="42"/>
                </a:cubicBezTo>
                <a:cubicBezTo>
                  <a:pt x="0" y="42"/>
                  <a:pt x="0" y="42"/>
                  <a:pt x="0" y="41"/>
                </a:cubicBezTo>
                <a:cubicBezTo>
                  <a:pt x="0" y="40"/>
                  <a:pt x="0" y="40"/>
                  <a:pt x="1" y="40"/>
                </a:cubicBezTo>
                <a:cubicBezTo>
                  <a:pt x="13" y="40"/>
                  <a:pt x="13" y="40"/>
                  <a:pt x="13" y="40"/>
                </a:cubicBezTo>
                <a:cubicBezTo>
                  <a:pt x="14" y="40"/>
                  <a:pt x="14" y="40"/>
                  <a:pt x="14" y="41"/>
                </a:cubicBezTo>
                <a:cubicBezTo>
                  <a:pt x="14" y="42"/>
                  <a:pt x="14" y="42"/>
                  <a:pt x="13" y="42"/>
                </a:cubicBezTo>
                <a:close/>
                <a:moveTo>
                  <a:pt x="30" y="19"/>
                </a:moveTo>
                <a:cubicBezTo>
                  <a:pt x="19" y="9"/>
                  <a:pt x="19" y="9"/>
                  <a:pt x="19" y="9"/>
                </a:cubicBezTo>
                <a:cubicBezTo>
                  <a:pt x="19" y="8"/>
                  <a:pt x="18" y="8"/>
                  <a:pt x="17" y="8"/>
                </a:cubicBezTo>
                <a:cubicBezTo>
                  <a:pt x="16" y="8"/>
                  <a:pt x="15" y="8"/>
                  <a:pt x="14" y="9"/>
                </a:cubicBezTo>
                <a:cubicBezTo>
                  <a:pt x="9" y="14"/>
                  <a:pt x="9" y="14"/>
                  <a:pt x="9" y="14"/>
                </a:cubicBezTo>
                <a:cubicBezTo>
                  <a:pt x="8" y="15"/>
                  <a:pt x="8" y="16"/>
                  <a:pt x="8" y="17"/>
                </a:cubicBezTo>
                <a:cubicBezTo>
                  <a:pt x="8" y="18"/>
                  <a:pt x="8" y="19"/>
                  <a:pt x="9" y="19"/>
                </a:cubicBezTo>
                <a:cubicBezTo>
                  <a:pt x="19" y="30"/>
                  <a:pt x="19" y="30"/>
                  <a:pt x="19" y="30"/>
                </a:cubicBezTo>
                <a:cubicBezTo>
                  <a:pt x="18" y="39"/>
                  <a:pt x="18" y="39"/>
                  <a:pt x="18" y="39"/>
                </a:cubicBezTo>
                <a:cubicBezTo>
                  <a:pt x="18" y="38"/>
                  <a:pt x="17" y="38"/>
                  <a:pt x="16" y="37"/>
                </a:cubicBezTo>
                <a:cubicBezTo>
                  <a:pt x="4" y="24"/>
                  <a:pt x="4" y="24"/>
                  <a:pt x="4" y="24"/>
                </a:cubicBezTo>
                <a:cubicBezTo>
                  <a:pt x="2" y="22"/>
                  <a:pt x="0" y="20"/>
                  <a:pt x="0" y="17"/>
                </a:cubicBezTo>
                <a:cubicBezTo>
                  <a:pt x="0" y="14"/>
                  <a:pt x="2" y="11"/>
                  <a:pt x="4" y="9"/>
                </a:cubicBezTo>
                <a:cubicBezTo>
                  <a:pt x="9" y="3"/>
                  <a:pt x="9" y="3"/>
                  <a:pt x="9" y="3"/>
                </a:cubicBezTo>
                <a:cubicBezTo>
                  <a:pt x="11" y="1"/>
                  <a:pt x="14" y="0"/>
                  <a:pt x="17" y="0"/>
                </a:cubicBezTo>
                <a:cubicBezTo>
                  <a:pt x="20" y="0"/>
                  <a:pt x="23" y="1"/>
                  <a:pt x="25" y="4"/>
                </a:cubicBezTo>
                <a:cubicBezTo>
                  <a:pt x="37" y="16"/>
                  <a:pt x="37" y="16"/>
                  <a:pt x="37" y="16"/>
                </a:cubicBezTo>
                <a:cubicBezTo>
                  <a:pt x="38" y="17"/>
                  <a:pt x="38" y="18"/>
                  <a:pt x="39" y="18"/>
                </a:cubicBezTo>
                <a:lnTo>
                  <a:pt x="30" y="19"/>
                </a:lnTo>
                <a:close/>
                <a:moveTo>
                  <a:pt x="7" y="58"/>
                </a:moveTo>
                <a:cubicBezTo>
                  <a:pt x="6" y="58"/>
                  <a:pt x="6" y="58"/>
                  <a:pt x="6" y="58"/>
                </a:cubicBezTo>
                <a:cubicBezTo>
                  <a:pt x="6" y="58"/>
                  <a:pt x="5" y="58"/>
                  <a:pt x="5" y="58"/>
                </a:cubicBezTo>
                <a:cubicBezTo>
                  <a:pt x="5" y="57"/>
                  <a:pt x="5" y="56"/>
                  <a:pt x="5" y="56"/>
                </a:cubicBezTo>
                <a:cubicBezTo>
                  <a:pt x="15" y="46"/>
                  <a:pt x="15" y="46"/>
                  <a:pt x="15" y="46"/>
                </a:cubicBezTo>
                <a:cubicBezTo>
                  <a:pt x="15" y="46"/>
                  <a:pt x="16" y="46"/>
                  <a:pt x="16" y="46"/>
                </a:cubicBezTo>
                <a:cubicBezTo>
                  <a:pt x="17" y="47"/>
                  <a:pt x="17" y="47"/>
                  <a:pt x="16" y="48"/>
                </a:cubicBezTo>
                <a:lnTo>
                  <a:pt x="7" y="58"/>
                </a:lnTo>
                <a:close/>
                <a:moveTo>
                  <a:pt x="23" y="62"/>
                </a:moveTo>
                <a:cubicBezTo>
                  <a:pt x="23" y="62"/>
                  <a:pt x="22" y="63"/>
                  <a:pt x="22" y="63"/>
                </a:cubicBezTo>
                <a:cubicBezTo>
                  <a:pt x="21" y="63"/>
                  <a:pt x="20" y="62"/>
                  <a:pt x="20" y="62"/>
                </a:cubicBezTo>
                <a:cubicBezTo>
                  <a:pt x="20" y="49"/>
                  <a:pt x="20" y="49"/>
                  <a:pt x="20" y="49"/>
                </a:cubicBezTo>
                <a:cubicBezTo>
                  <a:pt x="20" y="49"/>
                  <a:pt x="21" y="48"/>
                  <a:pt x="22" y="48"/>
                </a:cubicBezTo>
                <a:cubicBezTo>
                  <a:pt x="22" y="48"/>
                  <a:pt x="23" y="49"/>
                  <a:pt x="23" y="49"/>
                </a:cubicBezTo>
                <a:lnTo>
                  <a:pt x="23" y="62"/>
                </a:lnTo>
                <a:close/>
                <a:moveTo>
                  <a:pt x="59" y="54"/>
                </a:moveTo>
                <a:cubicBezTo>
                  <a:pt x="54" y="59"/>
                  <a:pt x="54" y="59"/>
                  <a:pt x="54" y="59"/>
                </a:cubicBezTo>
                <a:cubicBezTo>
                  <a:pt x="51" y="61"/>
                  <a:pt x="49" y="62"/>
                  <a:pt x="46" y="62"/>
                </a:cubicBezTo>
                <a:cubicBezTo>
                  <a:pt x="43" y="62"/>
                  <a:pt x="40" y="61"/>
                  <a:pt x="38" y="59"/>
                </a:cubicBezTo>
                <a:cubicBezTo>
                  <a:pt x="25" y="46"/>
                  <a:pt x="25" y="46"/>
                  <a:pt x="25" y="46"/>
                </a:cubicBezTo>
                <a:cubicBezTo>
                  <a:pt x="25" y="46"/>
                  <a:pt x="24" y="45"/>
                  <a:pt x="24" y="44"/>
                </a:cubicBezTo>
                <a:cubicBezTo>
                  <a:pt x="33" y="43"/>
                  <a:pt x="33" y="43"/>
                  <a:pt x="33" y="43"/>
                </a:cubicBezTo>
                <a:cubicBezTo>
                  <a:pt x="43" y="54"/>
                  <a:pt x="43" y="54"/>
                  <a:pt x="43" y="54"/>
                </a:cubicBezTo>
                <a:cubicBezTo>
                  <a:pt x="45" y="55"/>
                  <a:pt x="47" y="55"/>
                  <a:pt x="48" y="54"/>
                </a:cubicBezTo>
                <a:cubicBezTo>
                  <a:pt x="54" y="48"/>
                  <a:pt x="54" y="48"/>
                  <a:pt x="54" y="48"/>
                </a:cubicBezTo>
                <a:cubicBezTo>
                  <a:pt x="55" y="48"/>
                  <a:pt x="55" y="47"/>
                  <a:pt x="55" y="46"/>
                </a:cubicBezTo>
                <a:cubicBezTo>
                  <a:pt x="55" y="45"/>
                  <a:pt x="55" y="44"/>
                  <a:pt x="54" y="43"/>
                </a:cubicBezTo>
                <a:cubicBezTo>
                  <a:pt x="44" y="33"/>
                  <a:pt x="44" y="33"/>
                  <a:pt x="44" y="33"/>
                </a:cubicBezTo>
                <a:cubicBezTo>
                  <a:pt x="44" y="24"/>
                  <a:pt x="44" y="24"/>
                  <a:pt x="44" y="24"/>
                </a:cubicBezTo>
                <a:cubicBezTo>
                  <a:pt x="45" y="24"/>
                  <a:pt x="46" y="25"/>
                  <a:pt x="46" y="25"/>
                </a:cubicBezTo>
                <a:cubicBezTo>
                  <a:pt x="59" y="38"/>
                  <a:pt x="59" y="38"/>
                  <a:pt x="59" y="38"/>
                </a:cubicBezTo>
                <a:cubicBezTo>
                  <a:pt x="61" y="40"/>
                  <a:pt x="62" y="43"/>
                  <a:pt x="62" y="46"/>
                </a:cubicBezTo>
                <a:cubicBezTo>
                  <a:pt x="62" y="49"/>
                  <a:pt x="61" y="52"/>
                  <a:pt x="59" y="54"/>
                </a:cubicBezTo>
                <a:close/>
                <a:moveTo>
                  <a:pt x="42" y="13"/>
                </a:moveTo>
                <a:cubicBezTo>
                  <a:pt x="42" y="14"/>
                  <a:pt x="42" y="14"/>
                  <a:pt x="41" y="14"/>
                </a:cubicBezTo>
                <a:cubicBezTo>
                  <a:pt x="40" y="14"/>
                  <a:pt x="40" y="14"/>
                  <a:pt x="40" y="13"/>
                </a:cubicBezTo>
                <a:cubicBezTo>
                  <a:pt x="40" y="1"/>
                  <a:pt x="40" y="1"/>
                  <a:pt x="40" y="1"/>
                </a:cubicBezTo>
                <a:cubicBezTo>
                  <a:pt x="40" y="0"/>
                  <a:pt x="40" y="0"/>
                  <a:pt x="41" y="0"/>
                </a:cubicBezTo>
                <a:cubicBezTo>
                  <a:pt x="42" y="0"/>
                  <a:pt x="42" y="0"/>
                  <a:pt x="42" y="1"/>
                </a:cubicBezTo>
                <a:lnTo>
                  <a:pt x="42" y="13"/>
                </a:lnTo>
                <a:close/>
                <a:moveTo>
                  <a:pt x="48" y="16"/>
                </a:moveTo>
                <a:cubicBezTo>
                  <a:pt x="48" y="17"/>
                  <a:pt x="47" y="17"/>
                  <a:pt x="47" y="17"/>
                </a:cubicBezTo>
                <a:cubicBezTo>
                  <a:pt x="47" y="17"/>
                  <a:pt x="47" y="17"/>
                  <a:pt x="46" y="16"/>
                </a:cubicBezTo>
                <a:cubicBezTo>
                  <a:pt x="46" y="16"/>
                  <a:pt x="46" y="15"/>
                  <a:pt x="46" y="15"/>
                </a:cubicBezTo>
                <a:cubicBezTo>
                  <a:pt x="56" y="5"/>
                  <a:pt x="56" y="5"/>
                  <a:pt x="56" y="5"/>
                </a:cubicBezTo>
                <a:cubicBezTo>
                  <a:pt x="56" y="4"/>
                  <a:pt x="57" y="4"/>
                  <a:pt x="58" y="5"/>
                </a:cubicBezTo>
                <a:cubicBezTo>
                  <a:pt x="58" y="5"/>
                  <a:pt x="58" y="6"/>
                  <a:pt x="58" y="7"/>
                </a:cubicBezTo>
                <a:lnTo>
                  <a:pt x="48" y="16"/>
                </a:lnTo>
                <a:close/>
                <a:moveTo>
                  <a:pt x="62" y="23"/>
                </a:moveTo>
                <a:cubicBezTo>
                  <a:pt x="50" y="23"/>
                  <a:pt x="50" y="23"/>
                  <a:pt x="50" y="23"/>
                </a:cubicBezTo>
                <a:cubicBezTo>
                  <a:pt x="49" y="23"/>
                  <a:pt x="48" y="22"/>
                  <a:pt x="48" y="22"/>
                </a:cubicBezTo>
                <a:cubicBezTo>
                  <a:pt x="48" y="21"/>
                  <a:pt x="49" y="20"/>
                  <a:pt x="50" y="20"/>
                </a:cubicBezTo>
                <a:cubicBezTo>
                  <a:pt x="62" y="20"/>
                  <a:pt x="62" y="20"/>
                  <a:pt x="62" y="20"/>
                </a:cubicBezTo>
                <a:cubicBezTo>
                  <a:pt x="62" y="20"/>
                  <a:pt x="63" y="21"/>
                  <a:pt x="63" y="22"/>
                </a:cubicBezTo>
                <a:cubicBezTo>
                  <a:pt x="63" y="22"/>
                  <a:pt x="62" y="23"/>
                  <a:pt x="62" y="23"/>
                </a:cubicBezTo>
                <a:close/>
              </a:path>
            </a:pathLst>
          </a:custGeom>
          <a:solidFill>
            <a:schemeClr val="tx1"/>
          </a:solidFill>
          <a:ln>
            <a:noFill/>
          </a:ln>
        </p:spPr>
        <p:txBody>
          <a:bodyPr lIns="221122" tIns="110561" rIns="221122" bIns="110561"/>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87" name="Freeform 7">
            <a:extLst>
              <a:ext uri="{FF2B5EF4-FFF2-40B4-BE49-F238E27FC236}">
                <a16:creationId xmlns:a16="http://schemas.microsoft.com/office/drawing/2014/main" id="{C464A720-6A25-49D2-B933-6B83E40CC76D}"/>
              </a:ext>
            </a:extLst>
          </p:cNvPr>
          <p:cNvSpPr>
            <a:spLocks noEditPoints="1"/>
          </p:cNvSpPr>
          <p:nvPr/>
        </p:nvSpPr>
        <p:spPr bwMode="auto">
          <a:xfrm>
            <a:off x="1620854" y="2547800"/>
            <a:ext cx="345576" cy="385256"/>
          </a:xfrm>
          <a:custGeom>
            <a:avLst/>
            <a:gdLst>
              <a:gd name="T0" fmla="*/ 433350 w 56"/>
              <a:gd name="T1" fmla="*/ 651228 h 72"/>
              <a:gd name="T2" fmla="*/ 433350 w 56"/>
              <a:gd name="T3" fmla="*/ 660400 h 72"/>
              <a:gd name="T4" fmla="*/ 433350 w 56"/>
              <a:gd name="T5" fmla="*/ 660400 h 72"/>
              <a:gd name="T6" fmla="*/ 9220 w 56"/>
              <a:gd name="T7" fmla="*/ 660400 h 72"/>
              <a:gd name="T8" fmla="*/ 0 w 56"/>
              <a:gd name="T9" fmla="*/ 660400 h 72"/>
              <a:gd name="T10" fmla="*/ 0 w 56"/>
              <a:gd name="T11" fmla="*/ 660400 h 72"/>
              <a:gd name="T12" fmla="*/ 0 w 56"/>
              <a:gd name="T13" fmla="*/ 394406 h 72"/>
              <a:gd name="T14" fmla="*/ 46101 w 56"/>
              <a:gd name="T15" fmla="*/ 394406 h 72"/>
              <a:gd name="T16" fmla="*/ 46101 w 56"/>
              <a:gd name="T17" fmla="*/ 623711 h 72"/>
              <a:gd name="T18" fmla="*/ 387249 w 56"/>
              <a:gd name="T19" fmla="*/ 623711 h 72"/>
              <a:gd name="T20" fmla="*/ 387249 w 56"/>
              <a:gd name="T21" fmla="*/ 394406 h 72"/>
              <a:gd name="T22" fmla="*/ 433350 w 56"/>
              <a:gd name="T23" fmla="*/ 394406 h 72"/>
              <a:gd name="T24" fmla="*/ 433350 w 56"/>
              <a:gd name="T25" fmla="*/ 651228 h 72"/>
              <a:gd name="T26" fmla="*/ 341148 w 56"/>
              <a:gd name="T27" fmla="*/ 577850 h 72"/>
              <a:gd name="T28" fmla="*/ 82982 w 56"/>
              <a:gd name="T29" fmla="*/ 577850 h 72"/>
              <a:gd name="T30" fmla="*/ 82982 w 56"/>
              <a:gd name="T31" fmla="*/ 522817 h 72"/>
              <a:gd name="T32" fmla="*/ 341148 w 56"/>
              <a:gd name="T33" fmla="*/ 522817 h 72"/>
              <a:gd name="T34" fmla="*/ 341148 w 56"/>
              <a:gd name="T35" fmla="*/ 577850 h 72"/>
              <a:gd name="T36" fmla="*/ 350368 w 56"/>
              <a:gd name="T37" fmla="*/ 449439 h 72"/>
              <a:gd name="T38" fmla="*/ 341148 w 56"/>
              <a:gd name="T39" fmla="*/ 504472 h 72"/>
              <a:gd name="T40" fmla="*/ 82982 w 56"/>
              <a:gd name="T41" fmla="*/ 476956 h 72"/>
              <a:gd name="T42" fmla="*/ 82982 w 56"/>
              <a:gd name="T43" fmla="*/ 421922 h 72"/>
              <a:gd name="T44" fmla="*/ 350368 w 56"/>
              <a:gd name="T45" fmla="*/ 449439 h 72"/>
              <a:gd name="T46" fmla="*/ 368809 w 56"/>
              <a:gd name="T47" fmla="*/ 376061 h 72"/>
              <a:gd name="T48" fmla="*/ 350368 w 56"/>
              <a:gd name="T49" fmla="*/ 431094 h 72"/>
              <a:gd name="T50" fmla="*/ 101422 w 56"/>
              <a:gd name="T51" fmla="*/ 357717 h 72"/>
              <a:gd name="T52" fmla="*/ 110643 w 56"/>
              <a:gd name="T53" fmla="*/ 311856 h 72"/>
              <a:gd name="T54" fmla="*/ 368809 w 56"/>
              <a:gd name="T55" fmla="*/ 376061 h 72"/>
              <a:gd name="T56" fmla="*/ 396469 w 56"/>
              <a:gd name="T57" fmla="*/ 311856 h 72"/>
              <a:gd name="T58" fmla="*/ 368809 w 56"/>
              <a:gd name="T59" fmla="*/ 357717 h 72"/>
              <a:gd name="T60" fmla="*/ 147523 w 56"/>
              <a:gd name="T61" fmla="*/ 229306 h 72"/>
              <a:gd name="T62" fmla="*/ 175184 w 56"/>
              <a:gd name="T63" fmla="*/ 183444 h 72"/>
              <a:gd name="T64" fmla="*/ 396469 w 56"/>
              <a:gd name="T65" fmla="*/ 311856 h 72"/>
              <a:gd name="T66" fmla="*/ 451791 w 56"/>
              <a:gd name="T67" fmla="*/ 275167 h 72"/>
              <a:gd name="T68" fmla="*/ 405689 w 56"/>
              <a:gd name="T69" fmla="*/ 302683 h 72"/>
              <a:gd name="T70" fmla="*/ 258166 w 56"/>
              <a:gd name="T71" fmla="*/ 91722 h 72"/>
              <a:gd name="T72" fmla="*/ 304267 w 56"/>
              <a:gd name="T73" fmla="*/ 55033 h 72"/>
              <a:gd name="T74" fmla="*/ 451791 w 56"/>
              <a:gd name="T75" fmla="*/ 275167 h 72"/>
              <a:gd name="T76" fmla="*/ 516332 w 56"/>
              <a:gd name="T77" fmla="*/ 256822 h 72"/>
              <a:gd name="T78" fmla="*/ 461011 w 56"/>
              <a:gd name="T79" fmla="*/ 265994 h 72"/>
              <a:gd name="T80" fmla="*/ 414910 w 56"/>
              <a:gd name="T81" fmla="*/ 9172 h 72"/>
              <a:gd name="T82" fmla="*/ 470231 w 56"/>
              <a:gd name="T83" fmla="*/ 0 h 72"/>
              <a:gd name="T84" fmla="*/ 516332 w 56"/>
              <a:gd name="T85" fmla="*/ 256822 h 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6" h="72">
                <a:moveTo>
                  <a:pt x="47" y="71"/>
                </a:moveTo>
                <a:cubicBezTo>
                  <a:pt x="47" y="72"/>
                  <a:pt x="47" y="72"/>
                  <a:pt x="47" y="72"/>
                </a:cubicBezTo>
                <a:cubicBezTo>
                  <a:pt x="47" y="72"/>
                  <a:pt x="47" y="72"/>
                  <a:pt x="47" y="72"/>
                </a:cubicBezTo>
                <a:cubicBezTo>
                  <a:pt x="1" y="72"/>
                  <a:pt x="1" y="72"/>
                  <a:pt x="1" y="72"/>
                </a:cubicBezTo>
                <a:cubicBezTo>
                  <a:pt x="0" y="72"/>
                  <a:pt x="0" y="72"/>
                  <a:pt x="0" y="72"/>
                </a:cubicBezTo>
                <a:cubicBezTo>
                  <a:pt x="0" y="72"/>
                  <a:pt x="0" y="72"/>
                  <a:pt x="0" y="72"/>
                </a:cubicBezTo>
                <a:cubicBezTo>
                  <a:pt x="0" y="43"/>
                  <a:pt x="0" y="43"/>
                  <a:pt x="0" y="43"/>
                </a:cubicBezTo>
                <a:cubicBezTo>
                  <a:pt x="5" y="43"/>
                  <a:pt x="5" y="43"/>
                  <a:pt x="5" y="43"/>
                </a:cubicBezTo>
                <a:cubicBezTo>
                  <a:pt x="5" y="68"/>
                  <a:pt x="5" y="68"/>
                  <a:pt x="5" y="68"/>
                </a:cubicBezTo>
                <a:cubicBezTo>
                  <a:pt x="42" y="68"/>
                  <a:pt x="42" y="68"/>
                  <a:pt x="42" y="68"/>
                </a:cubicBezTo>
                <a:cubicBezTo>
                  <a:pt x="42" y="43"/>
                  <a:pt x="42" y="43"/>
                  <a:pt x="42" y="43"/>
                </a:cubicBezTo>
                <a:cubicBezTo>
                  <a:pt x="47" y="43"/>
                  <a:pt x="47" y="43"/>
                  <a:pt x="47" y="43"/>
                </a:cubicBezTo>
                <a:lnTo>
                  <a:pt x="47" y="71"/>
                </a:lnTo>
                <a:close/>
                <a:moveTo>
                  <a:pt x="37" y="63"/>
                </a:moveTo>
                <a:cubicBezTo>
                  <a:pt x="9" y="63"/>
                  <a:pt x="9" y="63"/>
                  <a:pt x="9" y="63"/>
                </a:cubicBezTo>
                <a:cubicBezTo>
                  <a:pt x="9" y="57"/>
                  <a:pt x="9" y="57"/>
                  <a:pt x="9" y="57"/>
                </a:cubicBezTo>
                <a:cubicBezTo>
                  <a:pt x="37" y="57"/>
                  <a:pt x="37" y="57"/>
                  <a:pt x="37" y="57"/>
                </a:cubicBezTo>
                <a:lnTo>
                  <a:pt x="37" y="63"/>
                </a:lnTo>
                <a:close/>
                <a:moveTo>
                  <a:pt x="38" y="49"/>
                </a:moveTo>
                <a:cubicBezTo>
                  <a:pt x="37" y="55"/>
                  <a:pt x="37" y="55"/>
                  <a:pt x="37" y="55"/>
                </a:cubicBezTo>
                <a:cubicBezTo>
                  <a:pt x="9" y="52"/>
                  <a:pt x="9" y="52"/>
                  <a:pt x="9" y="52"/>
                </a:cubicBezTo>
                <a:cubicBezTo>
                  <a:pt x="9" y="46"/>
                  <a:pt x="9" y="46"/>
                  <a:pt x="9" y="46"/>
                </a:cubicBezTo>
                <a:lnTo>
                  <a:pt x="38" y="49"/>
                </a:lnTo>
                <a:close/>
                <a:moveTo>
                  <a:pt x="40" y="41"/>
                </a:moveTo>
                <a:cubicBezTo>
                  <a:pt x="38" y="47"/>
                  <a:pt x="38" y="47"/>
                  <a:pt x="38" y="47"/>
                </a:cubicBezTo>
                <a:cubicBezTo>
                  <a:pt x="11" y="39"/>
                  <a:pt x="11" y="39"/>
                  <a:pt x="11" y="39"/>
                </a:cubicBezTo>
                <a:cubicBezTo>
                  <a:pt x="12" y="34"/>
                  <a:pt x="12" y="34"/>
                  <a:pt x="12" y="34"/>
                </a:cubicBezTo>
                <a:lnTo>
                  <a:pt x="40" y="41"/>
                </a:lnTo>
                <a:close/>
                <a:moveTo>
                  <a:pt x="43" y="34"/>
                </a:moveTo>
                <a:cubicBezTo>
                  <a:pt x="40" y="39"/>
                  <a:pt x="40" y="39"/>
                  <a:pt x="40" y="39"/>
                </a:cubicBezTo>
                <a:cubicBezTo>
                  <a:pt x="16" y="25"/>
                  <a:pt x="16" y="25"/>
                  <a:pt x="16" y="25"/>
                </a:cubicBezTo>
                <a:cubicBezTo>
                  <a:pt x="19" y="20"/>
                  <a:pt x="19" y="20"/>
                  <a:pt x="19" y="20"/>
                </a:cubicBezTo>
                <a:lnTo>
                  <a:pt x="43" y="34"/>
                </a:lnTo>
                <a:close/>
                <a:moveTo>
                  <a:pt x="49" y="30"/>
                </a:moveTo>
                <a:cubicBezTo>
                  <a:pt x="44" y="33"/>
                  <a:pt x="44" y="33"/>
                  <a:pt x="44" y="33"/>
                </a:cubicBezTo>
                <a:cubicBezTo>
                  <a:pt x="28" y="10"/>
                  <a:pt x="28" y="10"/>
                  <a:pt x="28" y="10"/>
                </a:cubicBezTo>
                <a:cubicBezTo>
                  <a:pt x="33" y="6"/>
                  <a:pt x="33" y="6"/>
                  <a:pt x="33" y="6"/>
                </a:cubicBezTo>
                <a:lnTo>
                  <a:pt x="49" y="30"/>
                </a:lnTo>
                <a:close/>
                <a:moveTo>
                  <a:pt x="56" y="28"/>
                </a:moveTo>
                <a:cubicBezTo>
                  <a:pt x="50" y="29"/>
                  <a:pt x="50" y="29"/>
                  <a:pt x="50" y="29"/>
                </a:cubicBezTo>
                <a:cubicBezTo>
                  <a:pt x="45" y="1"/>
                  <a:pt x="45" y="1"/>
                  <a:pt x="45" y="1"/>
                </a:cubicBezTo>
                <a:cubicBezTo>
                  <a:pt x="51" y="0"/>
                  <a:pt x="51" y="0"/>
                  <a:pt x="51" y="0"/>
                </a:cubicBezTo>
                <a:lnTo>
                  <a:pt x="56" y="28"/>
                </a:lnTo>
                <a:close/>
              </a:path>
            </a:pathLst>
          </a:custGeom>
          <a:solidFill>
            <a:schemeClr val="tx1"/>
          </a:solidFill>
          <a:ln>
            <a:noFill/>
          </a:ln>
        </p:spPr>
        <p:txBody>
          <a:bodyPr lIns="221122" tIns="110561" rIns="221122" bIns="110561"/>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grpSp>
        <p:nvGrpSpPr>
          <p:cNvPr id="88" name="Group 87">
            <a:extLst>
              <a:ext uri="{FF2B5EF4-FFF2-40B4-BE49-F238E27FC236}">
                <a16:creationId xmlns:a16="http://schemas.microsoft.com/office/drawing/2014/main" id="{3E2D4AD2-84D7-41EA-A0CA-F7F3F45C140D}"/>
              </a:ext>
            </a:extLst>
          </p:cNvPr>
          <p:cNvGrpSpPr/>
          <p:nvPr/>
        </p:nvGrpSpPr>
        <p:grpSpPr>
          <a:xfrm>
            <a:off x="1580622" y="4924741"/>
            <a:ext cx="426040" cy="430042"/>
            <a:chOff x="2046288" y="3759200"/>
            <a:chExt cx="296863" cy="271463"/>
          </a:xfrm>
          <a:solidFill>
            <a:schemeClr val="tx1"/>
          </a:solidFill>
        </p:grpSpPr>
        <p:sp>
          <p:nvSpPr>
            <p:cNvPr id="89" name="Rectangle 160">
              <a:extLst>
                <a:ext uri="{FF2B5EF4-FFF2-40B4-BE49-F238E27FC236}">
                  <a16:creationId xmlns:a16="http://schemas.microsoft.com/office/drawing/2014/main" id="{BE894E00-9559-4596-A000-6354C42379A6}"/>
                </a:ext>
              </a:extLst>
            </p:cNvPr>
            <p:cNvSpPr>
              <a:spLocks noChangeArrowheads="1"/>
            </p:cNvSpPr>
            <p:nvPr/>
          </p:nvSpPr>
          <p:spPr bwMode="auto">
            <a:xfrm>
              <a:off x="2065338" y="3973513"/>
              <a:ext cx="55563" cy="57150"/>
            </a:xfrm>
            <a:prstGeom prst="rect">
              <a:avLst/>
            </a:prstGeom>
            <a:grpFill/>
            <a:ln w="9525">
              <a:noFill/>
              <a:miter lim="800000"/>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90" name="Rectangle 161">
              <a:extLst>
                <a:ext uri="{FF2B5EF4-FFF2-40B4-BE49-F238E27FC236}">
                  <a16:creationId xmlns:a16="http://schemas.microsoft.com/office/drawing/2014/main" id="{DE08631D-3973-4462-86D6-EB35E9C9BE87}"/>
                </a:ext>
              </a:extLst>
            </p:cNvPr>
            <p:cNvSpPr>
              <a:spLocks noChangeArrowheads="1"/>
            </p:cNvSpPr>
            <p:nvPr/>
          </p:nvSpPr>
          <p:spPr bwMode="auto">
            <a:xfrm>
              <a:off x="2139950" y="3935413"/>
              <a:ext cx="55563" cy="95250"/>
            </a:xfrm>
            <a:prstGeom prst="rect">
              <a:avLst/>
            </a:prstGeom>
            <a:grpFill/>
            <a:ln w="9525">
              <a:noFill/>
              <a:miter lim="800000"/>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91" name="Rectangle 162">
              <a:extLst>
                <a:ext uri="{FF2B5EF4-FFF2-40B4-BE49-F238E27FC236}">
                  <a16:creationId xmlns:a16="http://schemas.microsoft.com/office/drawing/2014/main" id="{82DBB88E-F571-405A-92EF-DA679D9AC43E}"/>
                </a:ext>
              </a:extLst>
            </p:cNvPr>
            <p:cNvSpPr>
              <a:spLocks noChangeArrowheads="1"/>
            </p:cNvSpPr>
            <p:nvPr/>
          </p:nvSpPr>
          <p:spPr bwMode="auto">
            <a:xfrm>
              <a:off x="2212975" y="3898900"/>
              <a:ext cx="57150" cy="131763"/>
            </a:xfrm>
            <a:prstGeom prst="rect">
              <a:avLst/>
            </a:prstGeom>
            <a:grpFill/>
            <a:ln w="9525">
              <a:noFill/>
              <a:miter lim="800000"/>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92" name="Rectangle 163">
              <a:extLst>
                <a:ext uri="{FF2B5EF4-FFF2-40B4-BE49-F238E27FC236}">
                  <a16:creationId xmlns:a16="http://schemas.microsoft.com/office/drawing/2014/main" id="{0E06EE4C-C140-4703-BF1C-66A553885B10}"/>
                </a:ext>
              </a:extLst>
            </p:cNvPr>
            <p:cNvSpPr>
              <a:spLocks noChangeArrowheads="1"/>
            </p:cNvSpPr>
            <p:nvPr/>
          </p:nvSpPr>
          <p:spPr bwMode="auto">
            <a:xfrm>
              <a:off x="2287588" y="3860800"/>
              <a:ext cx="55563" cy="169863"/>
            </a:xfrm>
            <a:prstGeom prst="rect">
              <a:avLst/>
            </a:prstGeom>
            <a:grpFill/>
            <a:ln w="9525">
              <a:noFill/>
              <a:miter lim="800000"/>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96" name="Freeform 164">
              <a:extLst>
                <a:ext uri="{FF2B5EF4-FFF2-40B4-BE49-F238E27FC236}">
                  <a16:creationId xmlns:a16="http://schemas.microsoft.com/office/drawing/2014/main" id="{6A96F631-491D-409B-A15D-903A8D6C55A2}"/>
                </a:ext>
              </a:extLst>
            </p:cNvPr>
            <p:cNvSpPr>
              <a:spLocks/>
            </p:cNvSpPr>
            <p:nvPr/>
          </p:nvSpPr>
          <p:spPr bwMode="auto">
            <a:xfrm>
              <a:off x="2046288" y="3759200"/>
              <a:ext cx="296863" cy="176213"/>
            </a:xfrm>
            <a:custGeom>
              <a:avLst/>
              <a:gdLst/>
              <a:ahLst/>
              <a:cxnLst>
                <a:cxn ang="0">
                  <a:pos x="162" y="25"/>
                </a:cxn>
                <a:cxn ang="0">
                  <a:pos x="126" y="25"/>
                </a:cxn>
                <a:cxn ang="0">
                  <a:pos x="81" y="59"/>
                </a:cxn>
                <a:cxn ang="0">
                  <a:pos x="59" y="48"/>
                </a:cxn>
                <a:cxn ang="0">
                  <a:pos x="0" y="96"/>
                </a:cxn>
                <a:cxn ang="0">
                  <a:pos x="0" y="111"/>
                </a:cxn>
                <a:cxn ang="0">
                  <a:pos x="60" y="62"/>
                </a:cxn>
                <a:cxn ang="0">
                  <a:pos x="83" y="74"/>
                </a:cxn>
                <a:cxn ang="0">
                  <a:pos x="131" y="37"/>
                </a:cxn>
                <a:cxn ang="0">
                  <a:pos x="166" y="37"/>
                </a:cxn>
                <a:cxn ang="0">
                  <a:pos x="187" y="16"/>
                </a:cxn>
                <a:cxn ang="0">
                  <a:pos x="187" y="0"/>
                </a:cxn>
                <a:cxn ang="0">
                  <a:pos x="162" y="25"/>
                </a:cxn>
              </a:cxnLst>
              <a:rect l="0" t="0" r="r" b="b"/>
              <a:pathLst>
                <a:path w="187" h="111">
                  <a:moveTo>
                    <a:pt x="162" y="25"/>
                  </a:moveTo>
                  <a:lnTo>
                    <a:pt x="126" y="25"/>
                  </a:lnTo>
                  <a:lnTo>
                    <a:pt x="81" y="59"/>
                  </a:lnTo>
                  <a:lnTo>
                    <a:pt x="59" y="48"/>
                  </a:lnTo>
                  <a:lnTo>
                    <a:pt x="0" y="96"/>
                  </a:lnTo>
                  <a:lnTo>
                    <a:pt x="0" y="111"/>
                  </a:lnTo>
                  <a:lnTo>
                    <a:pt x="60" y="62"/>
                  </a:lnTo>
                  <a:lnTo>
                    <a:pt x="83" y="74"/>
                  </a:lnTo>
                  <a:lnTo>
                    <a:pt x="131" y="37"/>
                  </a:lnTo>
                  <a:lnTo>
                    <a:pt x="166" y="37"/>
                  </a:lnTo>
                  <a:lnTo>
                    <a:pt x="187" y="16"/>
                  </a:lnTo>
                  <a:lnTo>
                    <a:pt x="187" y="0"/>
                  </a:lnTo>
                  <a:lnTo>
                    <a:pt x="162" y="25"/>
                  </a:lnTo>
                  <a:close/>
                </a:path>
              </a:pathLst>
            </a:custGeom>
            <a:grpFill/>
            <a:ln w="9525">
              <a:noFill/>
              <a:round/>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grpSp>
      <p:grpSp>
        <p:nvGrpSpPr>
          <p:cNvPr id="100" name="Group 99">
            <a:extLst>
              <a:ext uri="{FF2B5EF4-FFF2-40B4-BE49-F238E27FC236}">
                <a16:creationId xmlns:a16="http://schemas.microsoft.com/office/drawing/2014/main" id="{5AC9CD52-9346-40DE-AC3E-D5AD3FEA087B}"/>
              </a:ext>
            </a:extLst>
          </p:cNvPr>
          <p:cNvGrpSpPr/>
          <p:nvPr/>
        </p:nvGrpSpPr>
        <p:grpSpPr>
          <a:xfrm>
            <a:off x="1588290" y="4159589"/>
            <a:ext cx="410704" cy="407303"/>
            <a:chOff x="8564563" y="2541588"/>
            <a:chExt cx="296863" cy="296863"/>
          </a:xfrm>
          <a:solidFill>
            <a:schemeClr val="tx1"/>
          </a:solidFill>
        </p:grpSpPr>
        <p:sp>
          <p:nvSpPr>
            <p:cNvPr id="103" name="Freeform 87">
              <a:extLst>
                <a:ext uri="{FF2B5EF4-FFF2-40B4-BE49-F238E27FC236}">
                  <a16:creationId xmlns:a16="http://schemas.microsoft.com/office/drawing/2014/main" id="{40121D6E-9B53-44B3-89A1-3DF50C3754AE}"/>
                </a:ext>
              </a:extLst>
            </p:cNvPr>
            <p:cNvSpPr>
              <a:spLocks noEditPoints="1"/>
            </p:cNvSpPr>
            <p:nvPr/>
          </p:nvSpPr>
          <p:spPr bwMode="auto">
            <a:xfrm>
              <a:off x="8564563" y="2541588"/>
              <a:ext cx="296863" cy="296863"/>
            </a:xfrm>
            <a:custGeom>
              <a:avLst/>
              <a:gdLst/>
              <a:ahLst/>
              <a:cxnLst>
                <a:cxn ang="0">
                  <a:pos x="58" y="0"/>
                </a:cxn>
                <a:cxn ang="0">
                  <a:pos x="0" y="58"/>
                </a:cxn>
                <a:cxn ang="0">
                  <a:pos x="58" y="116"/>
                </a:cxn>
                <a:cxn ang="0">
                  <a:pos x="116" y="58"/>
                </a:cxn>
                <a:cxn ang="0">
                  <a:pos x="58" y="0"/>
                </a:cxn>
                <a:cxn ang="0">
                  <a:pos x="58" y="109"/>
                </a:cxn>
                <a:cxn ang="0">
                  <a:pos x="7" y="58"/>
                </a:cxn>
                <a:cxn ang="0">
                  <a:pos x="58" y="7"/>
                </a:cxn>
                <a:cxn ang="0">
                  <a:pos x="109" y="58"/>
                </a:cxn>
                <a:cxn ang="0">
                  <a:pos x="58" y="109"/>
                </a:cxn>
              </a:cxnLst>
              <a:rect l="0" t="0" r="r" b="b"/>
              <a:pathLst>
                <a:path w="116" h="116">
                  <a:moveTo>
                    <a:pt x="58" y="0"/>
                  </a:moveTo>
                  <a:cubicBezTo>
                    <a:pt x="26" y="0"/>
                    <a:pt x="0" y="26"/>
                    <a:pt x="0" y="58"/>
                  </a:cubicBezTo>
                  <a:cubicBezTo>
                    <a:pt x="0" y="90"/>
                    <a:pt x="26" y="116"/>
                    <a:pt x="58" y="116"/>
                  </a:cubicBezTo>
                  <a:cubicBezTo>
                    <a:pt x="90" y="116"/>
                    <a:pt x="116" y="90"/>
                    <a:pt x="116" y="58"/>
                  </a:cubicBezTo>
                  <a:cubicBezTo>
                    <a:pt x="116" y="26"/>
                    <a:pt x="90" y="0"/>
                    <a:pt x="58" y="0"/>
                  </a:cubicBezTo>
                  <a:close/>
                  <a:moveTo>
                    <a:pt x="58" y="109"/>
                  </a:moveTo>
                  <a:cubicBezTo>
                    <a:pt x="30" y="109"/>
                    <a:pt x="7" y="86"/>
                    <a:pt x="7" y="58"/>
                  </a:cubicBezTo>
                  <a:cubicBezTo>
                    <a:pt x="7" y="30"/>
                    <a:pt x="30" y="7"/>
                    <a:pt x="58" y="7"/>
                  </a:cubicBezTo>
                  <a:cubicBezTo>
                    <a:pt x="86" y="7"/>
                    <a:pt x="109" y="30"/>
                    <a:pt x="109" y="58"/>
                  </a:cubicBezTo>
                  <a:cubicBezTo>
                    <a:pt x="109" y="86"/>
                    <a:pt x="86" y="109"/>
                    <a:pt x="58" y="109"/>
                  </a:cubicBezTo>
                  <a:close/>
                </a:path>
              </a:pathLst>
            </a:custGeom>
            <a:grpFill/>
            <a:ln w="9525">
              <a:noFill/>
              <a:round/>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104" name="Oval 88">
              <a:extLst>
                <a:ext uri="{FF2B5EF4-FFF2-40B4-BE49-F238E27FC236}">
                  <a16:creationId xmlns:a16="http://schemas.microsoft.com/office/drawing/2014/main" id="{4BB9FED0-8125-49E6-95CE-FD96B9D17784}"/>
                </a:ext>
              </a:extLst>
            </p:cNvPr>
            <p:cNvSpPr>
              <a:spLocks noChangeArrowheads="1"/>
            </p:cNvSpPr>
            <p:nvPr/>
          </p:nvSpPr>
          <p:spPr bwMode="auto">
            <a:xfrm>
              <a:off x="8656638" y="2616200"/>
              <a:ext cx="39688" cy="55563"/>
            </a:xfrm>
            <a:prstGeom prst="ellipse">
              <a:avLst/>
            </a:prstGeom>
            <a:grpFill/>
            <a:ln w="9525">
              <a:noFill/>
              <a:round/>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106" name="Freeform 89">
              <a:extLst>
                <a:ext uri="{FF2B5EF4-FFF2-40B4-BE49-F238E27FC236}">
                  <a16:creationId xmlns:a16="http://schemas.microsoft.com/office/drawing/2014/main" id="{E82B59B9-C328-41A0-8640-B9EE5297272C}"/>
                </a:ext>
              </a:extLst>
            </p:cNvPr>
            <p:cNvSpPr>
              <a:spLocks/>
            </p:cNvSpPr>
            <p:nvPr/>
          </p:nvSpPr>
          <p:spPr bwMode="auto">
            <a:xfrm>
              <a:off x="8639175" y="2708275"/>
              <a:ext cx="149225" cy="74613"/>
            </a:xfrm>
            <a:custGeom>
              <a:avLst/>
              <a:gdLst/>
              <a:ahLst/>
              <a:cxnLst>
                <a:cxn ang="0">
                  <a:pos x="29" y="15"/>
                </a:cxn>
                <a:cxn ang="0">
                  <a:pos x="0" y="0"/>
                </a:cxn>
                <a:cxn ang="0">
                  <a:pos x="0" y="0"/>
                </a:cxn>
                <a:cxn ang="0">
                  <a:pos x="29" y="29"/>
                </a:cxn>
                <a:cxn ang="0">
                  <a:pos x="58" y="0"/>
                </a:cxn>
                <a:cxn ang="0">
                  <a:pos x="58" y="0"/>
                </a:cxn>
                <a:cxn ang="0">
                  <a:pos x="29" y="15"/>
                </a:cxn>
              </a:cxnLst>
              <a:rect l="0" t="0" r="r" b="b"/>
              <a:pathLst>
                <a:path w="58" h="29">
                  <a:moveTo>
                    <a:pt x="29" y="15"/>
                  </a:moveTo>
                  <a:cubicBezTo>
                    <a:pt x="17" y="15"/>
                    <a:pt x="6" y="9"/>
                    <a:pt x="0" y="0"/>
                  </a:cubicBezTo>
                  <a:cubicBezTo>
                    <a:pt x="0" y="0"/>
                    <a:pt x="0" y="0"/>
                    <a:pt x="0" y="0"/>
                  </a:cubicBezTo>
                  <a:cubicBezTo>
                    <a:pt x="0" y="16"/>
                    <a:pt x="13" y="29"/>
                    <a:pt x="29" y="29"/>
                  </a:cubicBezTo>
                  <a:cubicBezTo>
                    <a:pt x="45" y="29"/>
                    <a:pt x="58" y="16"/>
                    <a:pt x="58" y="0"/>
                  </a:cubicBezTo>
                  <a:cubicBezTo>
                    <a:pt x="58" y="0"/>
                    <a:pt x="58" y="0"/>
                    <a:pt x="58" y="0"/>
                  </a:cubicBezTo>
                  <a:cubicBezTo>
                    <a:pt x="51" y="9"/>
                    <a:pt x="41" y="15"/>
                    <a:pt x="29" y="15"/>
                  </a:cubicBezTo>
                  <a:close/>
                </a:path>
              </a:pathLst>
            </a:custGeom>
            <a:grpFill/>
            <a:ln w="9525">
              <a:noFill/>
              <a:round/>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107" name="Rectangle 90">
              <a:extLst>
                <a:ext uri="{FF2B5EF4-FFF2-40B4-BE49-F238E27FC236}">
                  <a16:creationId xmlns:a16="http://schemas.microsoft.com/office/drawing/2014/main" id="{ACF5FD5F-3BDF-4F8B-B1DF-75B0A31D4703}"/>
                </a:ext>
              </a:extLst>
            </p:cNvPr>
            <p:cNvSpPr>
              <a:spLocks noChangeArrowheads="1"/>
            </p:cNvSpPr>
            <p:nvPr/>
          </p:nvSpPr>
          <p:spPr bwMode="auto">
            <a:xfrm>
              <a:off x="8731250" y="2633663"/>
              <a:ext cx="57150" cy="17463"/>
            </a:xfrm>
            <a:prstGeom prst="rect">
              <a:avLst/>
            </a:prstGeom>
            <a:grpFill/>
            <a:ln w="9525">
              <a:noFill/>
              <a:miter lim="800000"/>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grpSp>
      <p:grpSp>
        <p:nvGrpSpPr>
          <p:cNvPr id="110" name="Group 109">
            <a:extLst>
              <a:ext uri="{FF2B5EF4-FFF2-40B4-BE49-F238E27FC236}">
                <a16:creationId xmlns:a16="http://schemas.microsoft.com/office/drawing/2014/main" id="{13A02D29-FA24-40E2-BD9B-C616F7984156}"/>
              </a:ext>
            </a:extLst>
          </p:cNvPr>
          <p:cNvGrpSpPr/>
          <p:nvPr/>
        </p:nvGrpSpPr>
        <p:grpSpPr>
          <a:xfrm>
            <a:off x="1589398" y="1736378"/>
            <a:ext cx="408488" cy="405921"/>
            <a:chOff x="1497013" y="1843088"/>
            <a:chExt cx="276226" cy="292100"/>
          </a:xfrm>
          <a:solidFill>
            <a:schemeClr val="tx1"/>
          </a:solidFill>
        </p:grpSpPr>
        <p:sp>
          <p:nvSpPr>
            <p:cNvPr id="111" name="Freeform 23">
              <a:extLst>
                <a:ext uri="{FF2B5EF4-FFF2-40B4-BE49-F238E27FC236}">
                  <a16:creationId xmlns:a16="http://schemas.microsoft.com/office/drawing/2014/main" id="{9878D455-7E7B-4BD1-B17D-02FF3290E38A}"/>
                </a:ext>
              </a:extLst>
            </p:cNvPr>
            <p:cNvSpPr>
              <a:spLocks noEditPoints="1"/>
            </p:cNvSpPr>
            <p:nvPr/>
          </p:nvSpPr>
          <p:spPr bwMode="auto">
            <a:xfrm>
              <a:off x="1663701" y="1951038"/>
              <a:ext cx="109538" cy="184150"/>
            </a:xfrm>
            <a:custGeom>
              <a:avLst/>
              <a:gdLst/>
              <a:ahLst/>
              <a:cxnLst>
                <a:cxn ang="0">
                  <a:pos x="22" y="0"/>
                </a:cxn>
                <a:cxn ang="0">
                  <a:pos x="0" y="22"/>
                </a:cxn>
                <a:cxn ang="0">
                  <a:pos x="7" y="38"/>
                </a:cxn>
                <a:cxn ang="0">
                  <a:pos x="7" y="73"/>
                </a:cxn>
                <a:cxn ang="0">
                  <a:pos x="22" y="58"/>
                </a:cxn>
                <a:cxn ang="0">
                  <a:pos x="36" y="73"/>
                </a:cxn>
                <a:cxn ang="0">
                  <a:pos x="36" y="38"/>
                </a:cxn>
                <a:cxn ang="0">
                  <a:pos x="43" y="22"/>
                </a:cxn>
                <a:cxn ang="0">
                  <a:pos x="22" y="0"/>
                </a:cxn>
                <a:cxn ang="0">
                  <a:pos x="22" y="37"/>
                </a:cxn>
                <a:cxn ang="0">
                  <a:pos x="7" y="22"/>
                </a:cxn>
                <a:cxn ang="0">
                  <a:pos x="22" y="7"/>
                </a:cxn>
                <a:cxn ang="0">
                  <a:pos x="36" y="22"/>
                </a:cxn>
                <a:cxn ang="0">
                  <a:pos x="22" y="37"/>
                </a:cxn>
              </a:cxnLst>
              <a:rect l="0" t="0" r="r" b="b"/>
              <a:pathLst>
                <a:path w="43" h="73">
                  <a:moveTo>
                    <a:pt x="22" y="0"/>
                  </a:moveTo>
                  <a:cubicBezTo>
                    <a:pt x="10" y="0"/>
                    <a:pt x="0" y="10"/>
                    <a:pt x="0" y="22"/>
                  </a:cubicBezTo>
                  <a:cubicBezTo>
                    <a:pt x="0" y="28"/>
                    <a:pt x="3" y="34"/>
                    <a:pt x="7" y="38"/>
                  </a:cubicBezTo>
                  <a:cubicBezTo>
                    <a:pt x="7" y="73"/>
                    <a:pt x="7" y="73"/>
                    <a:pt x="7" y="73"/>
                  </a:cubicBezTo>
                  <a:cubicBezTo>
                    <a:pt x="22" y="58"/>
                    <a:pt x="22" y="58"/>
                    <a:pt x="22" y="58"/>
                  </a:cubicBezTo>
                  <a:cubicBezTo>
                    <a:pt x="36" y="73"/>
                    <a:pt x="36" y="73"/>
                    <a:pt x="36" y="73"/>
                  </a:cubicBezTo>
                  <a:cubicBezTo>
                    <a:pt x="36" y="38"/>
                    <a:pt x="36" y="38"/>
                    <a:pt x="36" y="38"/>
                  </a:cubicBezTo>
                  <a:cubicBezTo>
                    <a:pt x="40" y="34"/>
                    <a:pt x="43" y="28"/>
                    <a:pt x="43" y="22"/>
                  </a:cubicBezTo>
                  <a:cubicBezTo>
                    <a:pt x="43" y="10"/>
                    <a:pt x="34" y="0"/>
                    <a:pt x="22" y="0"/>
                  </a:cubicBezTo>
                  <a:close/>
                  <a:moveTo>
                    <a:pt x="22" y="37"/>
                  </a:moveTo>
                  <a:cubicBezTo>
                    <a:pt x="14" y="37"/>
                    <a:pt x="7" y="30"/>
                    <a:pt x="7" y="22"/>
                  </a:cubicBezTo>
                  <a:cubicBezTo>
                    <a:pt x="7" y="14"/>
                    <a:pt x="14" y="7"/>
                    <a:pt x="22" y="7"/>
                  </a:cubicBezTo>
                  <a:cubicBezTo>
                    <a:pt x="30" y="7"/>
                    <a:pt x="36" y="14"/>
                    <a:pt x="36" y="22"/>
                  </a:cubicBezTo>
                  <a:cubicBezTo>
                    <a:pt x="36" y="30"/>
                    <a:pt x="30" y="37"/>
                    <a:pt x="22" y="37"/>
                  </a:cubicBezTo>
                  <a:close/>
                </a:path>
              </a:pathLst>
            </a:custGeom>
            <a:grpFill/>
            <a:ln w="9525">
              <a:noFill/>
              <a:round/>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112" name="Freeform 24">
              <a:extLst>
                <a:ext uri="{FF2B5EF4-FFF2-40B4-BE49-F238E27FC236}">
                  <a16:creationId xmlns:a16="http://schemas.microsoft.com/office/drawing/2014/main" id="{D0433314-4B9D-4DB8-A416-0C115B62C41F}"/>
                </a:ext>
              </a:extLst>
            </p:cNvPr>
            <p:cNvSpPr>
              <a:spLocks/>
            </p:cNvSpPr>
            <p:nvPr/>
          </p:nvSpPr>
          <p:spPr bwMode="auto">
            <a:xfrm>
              <a:off x="1497013" y="1843088"/>
              <a:ext cx="239713" cy="292100"/>
            </a:xfrm>
            <a:custGeom>
              <a:avLst/>
              <a:gdLst/>
              <a:ahLst/>
              <a:cxnLst>
                <a:cxn ang="0">
                  <a:pos x="78" y="160"/>
                </a:cxn>
                <a:cxn ang="0">
                  <a:pos x="24" y="160"/>
                </a:cxn>
                <a:cxn ang="0">
                  <a:pos x="24" y="22"/>
                </a:cxn>
                <a:cxn ang="0">
                  <a:pos x="89" y="22"/>
                </a:cxn>
                <a:cxn ang="0">
                  <a:pos x="123" y="57"/>
                </a:cxn>
                <a:cxn ang="0">
                  <a:pos x="151" y="57"/>
                </a:cxn>
                <a:cxn ang="0">
                  <a:pos x="151" y="52"/>
                </a:cxn>
                <a:cxn ang="0">
                  <a:pos x="99" y="0"/>
                </a:cxn>
                <a:cxn ang="0">
                  <a:pos x="0" y="0"/>
                </a:cxn>
                <a:cxn ang="0">
                  <a:pos x="0" y="184"/>
                </a:cxn>
                <a:cxn ang="0">
                  <a:pos x="101" y="184"/>
                </a:cxn>
                <a:cxn ang="0">
                  <a:pos x="78" y="162"/>
                </a:cxn>
                <a:cxn ang="0">
                  <a:pos x="78" y="160"/>
                </a:cxn>
              </a:cxnLst>
              <a:rect l="0" t="0" r="r" b="b"/>
              <a:pathLst>
                <a:path w="151" h="184">
                  <a:moveTo>
                    <a:pt x="78" y="160"/>
                  </a:moveTo>
                  <a:lnTo>
                    <a:pt x="24" y="160"/>
                  </a:lnTo>
                  <a:lnTo>
                    <a:pt x="24" y="22"/>
                  </a:lnTo>
                  <a:lnTo>
                    <a:pt x="89" y="22"/>
                  </a:lnTo>
                  <a:lnTo>
                    <a:pt x="123" y="57"/>
                  </a:lnTo>
                  <a:lnTo>
                    <a:pt x="151" y="57"/>
                  </a:lnTo>
                  <a:lnTo>
                    <a:pt x="151" y="52"/>
                  </a:lnTo>
                  <a:lnTo>
                    <a:pt x="99" y="0"/>
                  </a:lnTo>
                  <a:lnTo>
                    <a:pt x="0" y="0"/>
                  </a:lnTo>
                  <a:lnTo>
                    <a:pt x="0" y="184"/>
                  </a:lnTo>
                  <a:lnTo>
                    <a:pt x="101" y="184"/>
                  </a:lnTo>
                  <a:lnTo>
                    <a:pt x="78" y="162"/>
                  </a:lnTo>
                  <a:lnTo>
                    <a:pt x="78" y="160"/>
                  </a:lnTo>
                  <a:close/>
                </a:path>
              </a:pathLst>
            </a:custGeom>
            <a:grpFill/>
            <a:ln w="9525">
              <a:noFill/>
              <a:round/>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113" name="Rectangle 25">
              <a:extLst>
                <a:ext uri="{FF2B5EF4-FFF2-40B4-BE49-F238E27FC236}">
                  <a16:creationId xmlns:a16="http://schemas.microsoft.com/office/drawing/2014/main" id="{9430EE3E-FD80-4066-AB66-36FC30CC66F4}"/>
                </a:ext>
              </a:extLst>
            </p:cNvPr>
            <p:cNvSpPr>
              <a:spLocks noChangeArrowheads="1"/>
            </p:cNvSpPr>
            <p:nvPr/>
          </p:nvSpPr>
          <p:spPr bwMode="auto">
            <a:xfrm>
              <a:off x="1552576" y="1933575"/>
              <a:ext cx="93663" cy="17463"/>
            </a:xfrm>
            <a:prstGeom prst="rect">
              <a:avLst/>
            </a:prstGeom>
            <a:grpFill/>
            <a:ln w="9525">
              <a:noFill/>
              <a:miter lim="800000"/>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114" name="Rectangle 26">
              <a:extLst>
                <a:ext uri="{FF2B5EF4-FFF2-40B4-BE49-F238E27FC236}">
                  <a16:creationId xmlns:a16="http://schemas.microsoft.com/office/drawing/2014/main" id="{478ADD09-EE8E-4D29-ABBD-A4C8B7CC3342}"/>
                </a:ext>
              </a:extLst>
            </p:cNvPr>
            <p:cNvSpPr>
              <a:spLocks noChangeArrowheads="1"/>
            </p:cNvSpPr>
            <p:nvPr/>
          </p:nvSpPr>
          <p:spPr bwMode="auto">
            <a:xfrm>
              <a:off x="1552576" y="1968500"/>
              <a:ext cx="93663" cy="20638"/>
            </a:xfrm>
            <a:prstGeom prst="rect">
              <a:avLst/>
            </a:prstGeom>
            <a:grpFill/>
            <a:ln w="9525">
              <a:noFill/>
              <a:miter lim="800000"/>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sp>
          <p:nvSpPr>
            <p:cNvPr id="115" name="Rectangle 27">
              <a:extLst>
                <a:ext uri="{FF2B5EF4-FFF2-40B4-BE49-F238E27FC236}">
                  <a16:creationId xmlns:a16="http://schemas.microsoft.com/office/drawing/2014/main" id="{26022350-DFC4-4A24-8F1B-B1E4A0FB5D67}"/>
                </a:ext>
              </a:extLst>
            </p:cNvPr>
            <p:cNvSpPr>
              <a:spLocks noChangeArrowheads="1"/>
            </p:cNvSpPr>
            <p:nvPr/>
          </p:nvSpPr>
          <p:spPr bwMode="auto">
            <a:xfrm>
              <a:off x="1552576" y="2006600"/>
              <a:ext cx="93663" cy="17463"/>
            </a:xfrm>
            <a:prstGeom prst="rect">
              <a:avLst/>
            </a:prstGeom>
            <a:grpFill/>
            <a:ln w="9525">
              <a:noFill/>
              <a:miter lim="800000"/>
              <a:headEnd/>
              <a:tailEnd/>
            </a:ln>
          </p:spPr>
          <p:txBody>
            <a:bodyPr/>
            <a:lstStyle/>
            <a:p>
              <a:pPr marL="0" marR="0" lvl="0" indent="0" algn="l" defTabSz="1105621" rtl="0" eaLnBrk="1" fontAlgn="auto" latinLnBrk="0" hangingPunct="1">
                <a:lnSpc>
                  <a:spcPct val="100000"/>
                </a:lnSpc>
                <a:spcBef>
                  <a:spcPts val="0"/>
                </a:spcBef>
                <a:spcAft>
                  <a:spcPts val="0"/>
                </a:spcAft>
                <a:buClr>
                  <a:srgbClr val="FFE600"/>
                </a:buClr>
                <a:buSzPct val="80000"/>
                <a:buFontTx/>
                <a:buNone/>
                <a:tabLst/>
                <a:defRPr/>
              </a:pPr>
              <a:endParaRPr kumimoji="0" lang="en-US" sz="816" b="0" i="0" u="none" strike="noStrike" kern="1200" cap="none" spc="0" normalizeH="0" baseline="0" noProof="0">
                <a:ln>
                  <a:noFill/>
                </a:ln>
                <a:solidFill>
                  <a:srgbClr val="646464"/>
                </a:solidFill>
                <a:effectLst/>
                <a:uLnTx/>
                <a:uFillTx/>
                <a:latin typeface="EYInterstate Light" pitchFamily="2" charset="0"/>
                <a:ea typeface="+mn-ea"/>
                <a:cs typeface="Arial" charset="0"/>
              </a:endParaRPr>
            </a:p>
          </p:txBody>
        </p:sp>
      </p:grpSp>
      <p:sp>
        <p:nvSpPr>
          <p:cNvPr id="93" name="TextBox 92">
            <a:extLst>
              <a:ext uri="{FF2B5EF4-FFF2-40B4-BE49-F238E27FC236}">
                <a16:creationId xmlns:a16="http://schemas.microsoft.com/office/drawing/2014/main" id="{8C5D4E31-5D56-48AC-AC83-A6E40E08DED6}"/>
              </a:ext>
            </a:extLst>
          </p:cNvPr>
          <p:cNvSpPr txBox="1"/>
          <p:nvPr/>
        </p:nvSpPr>
        <p:spPr>
          <a:xfrm rot="16200000">
            <a:off x="5085965" y="3488883"/>
            <a:ext cx="2143019" cy="259751"/>
          </a:xfrm>
          <a:prstGeom prst="rect">
            <a:avLst/>
          </a:prstGeom>
          <a:noFill/>
        </p:spPr>
        <p:txBody>
          <a:bodyPr wrap="square" rtlCol="0">
            <a:spAutoFit/>
          </a:bodyPr>
          <a:lstStyle/>
          <a:p>
            <a:pPr marL="0" marR="0" lvl="0" indent="0" algn="ctr" defTabSz="829361" rtl="0" eaLnBrk="1" fontAlgn="auto" latinLnBrk="0" hangingPunct="1">
              <a:lnSpc>
                <a:spcPct val="100000"/>
              </a:lnSpc>
              <a:spcBef>
                <a:spcPts val="0"/>
              </a:spcBef>
              <a:spcAft>
                <a:spcPts val="0"/>
              </a:spcAft>
              <a:buClr>
                <a:srgbClr val="442488"/>
              </a:buClr>
              <a:buSzTx/>
              <a:buFontTx/>
              <a:buNone/>
              <a:tabLst/>
              <a:defRPr/>
            </a:pPr>
            <a:r>
              <a:rPr kumimoji="0" lang="en-US" sz="1088" b="1" i="0" u="none" strike="noStrike" kern="0" cap="none" spc="0" normalizeH="0" baseline="0" noProof="0">
                <a:ln>
                  <a:noFill/>
                </a:ln>
                <a:solidFill>
                  <a:srgbClr val="00A3AE"/>
                </a:solidFill>
                <a:effectLst/>
                <a:uLnTx/>
                <a:uFillTx/>
                <a:latin typeface="EYInterstate" panose="02000503020000020004" pitchFamily="2" charset="0"/>
                <a:ea typeface="+mn-ea"/>
                <a:cs typeface="Arial" charset="0"/>
              </a:rPr>
              <a:t>Value to business</a:t>
            </a:r>
          </a:p>
        </p:txBody>
      </p:sp>
      <p:cxnSp>
        <p:nvCxnSpPr>
          <p:cNvPr id="94" name="Straight Arrow Connector 93">
            <a:extLst>
              <a:ext uri="{FF2B5EF4-FFF2-40B4-BE49-F238E27FC236}">
                <a16:creationId xmlns:a16="http://schemas.microsoft.com/office/drawing/2014/main" id="{37D1F6A0-7332-47EE-8D5D-A208D6FDC42E}"/>
              </a:ext>
            </a:extLst>
          </p:cNvPr>
          <p:cNvCxnSpPr/>
          <p:nvPr/>
        </p:nvCxnSpPr>
        <p:spPr bwMode="auto">
          <a:xfrm>
            <a:off x="6374365" y="5518111"/>
            <a:ext cx="5020456" cy="0"/>
          </a:xfrm>
          <a:prstGeom prst="straightConnector1">
            <a:avLst/>
          </a:prstGeom>
          <a:noFill/>
          <a:ln w="38100" cap="flat" cmpd="sng" algn="ctr">
            <a:solidFill>
              <a:schemeClr val="accent2"/>
            </a:solidFill>
            <a:prstDash val="solid"/>
            <a:round/>
            <a:headEnd type="diamond" w="med" len="med"/>
            <a:tailEnd type="triangl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5" name="Straight Arrow Connector 94">
            <a:extLst>
              <a:ext uri="{FF2B5EF4-FFF2-40B4-BE49-F238E27FC236}">
                <a16:creationId xmlns:a16="http://schemas.microsoft.com/office/drawing/2014/main" id="{55ADE39B-492E-469B-AC8A-42A689E04B06}"/>
              </a:ext>
            </a:extLst>
          </p:cNvPr>
          <p:cNvCxnSpPr/>
          <p:nvPr/>
        </p:nvCxnSpPr>
        <p:spPr bwMode="auto">
          <a:xfrm flipV="1">
            <a:off x="6365019" y="1610462"/>
            <a:ext cx="0" cy="3907649"/>
          </a:xfrm>
          <a:prstGeom prst="straightConnector1">
            <a:avLst/>
          </a:prstGeom>
          <a:noFill/>
          <a:ln w="38100" cap="flat" cmpd="sng" algn="ctr">
            <a:solidFill>
              <a:schemeClr val="accent2"/>
            </a:solidFill>
            <a:prstDash val="solid"/>
            <a:round/>
            <a:headEnd type="diamond" w="med" len="med"/>
            <a:tailEnd type="triangl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7" name="Rectangle 96">
            <a:extLst>
              <a:ext uri="{FF2B5EF4-FFF2-40B4-BE49-F238E27FC236}">
                <a16:creationId xmlns:a16="http://schemas.microsoft.com/office/drawing/2014/main" id="{D26828E0-4EF9-472C-B6A6-3DC842475C35}"/>
              </a:ext>
            </a:extLst>
          </p:cNvPr>
          <p:cNvSpPr/>
          <p:nvPr/>
        </p:nvSpPr>
        <p:spPr>
          <a:xfrm>
            <a:off x="6419151" y="1899063"/>
            <a:ext cx="2344417" cy="176737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326" rIns="0" bIns="16326"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270" b="1"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rPr>
              <a:t>High Value </a:t>
            </a:r>
            <a:br>
              <a:rPr kumimoji="0" lang="en-US" sz="127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br>
            <a:endParaRPr kumimoji="0" lang="en-US" sz="127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98" name="Rectangle 97">
            <a:extLst>
              <a:ext uri="{FF2B5EF4-FFF2-40B4-BE49-F238E27FC236}">
                <a16:creationId xmlns:a16="http://schemas.microsoft.com/office/drawing/2014/main" id="{5C41B9E3-9189-4E7D-AC34-56D1CF0C005E}"/>
              </a:ext>
            </a:extLst>
          </p:cNvPr>
          <p:cNvSpPr/>
          <p:nvPr/>
        </p:nvSpPr>
        <p:spPr>
          <a:xfrm>
            <a:off x="8804605" y="1899063"/>
            <a:ext cx="2344417" cy="1767371"/>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326" rIns="0" bIns="16326"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270" b="1"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rPr>
              <a:t>Rapid High Value </a:t>
            </a:r>
            <a:br>
              <a:rPr kumimoji="0" lang="en-US" sz="1270" b="1"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rPr>
            </a:br>
            <a:endParaRPr kumimoji="0" lang="en-US" sz="1270" b="1"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9" name="Rectangle 98">
            <a:extLst>
              <a:ext uri="{FF2B5EF4-FFF2-40B4-BE49-F238E27FC236}">
                <a16:creationId xmlns:a16="http://schemas.microsoft.com/office/drawing/2014/main" id="{7C7D10A4-A1B5-4EB3-B832-718C73860987}"/>
              </a:ext>
            </a:extLst>
          </p:cNvPr>
          <p:cNvSpPr/>
          <p:nvPr/>
        </p:nvSpPr>
        <p:spPr>
          <a:xfrm>
            <a:off x="6419151" y="3699057"/>
            <a:ext cx="2344417" cy="176737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326" rIns="0" bIns="16326"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270" b="1"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rPr>
              <a:t>Low Priority</a:t>
            </a:r>
          </a:p>
        </p:txBody>
      </p:sp>
      <p:sp>
        <p:nvSpPr>
          <p:cNvPr id="101" name="Rectangle 100">
            <a:extLst>
              <a:ext uri="{FF2B5EF4-FFF2-40B4-BE49-F238E27FC236}">
                <a16:creationId xmlns:a16="http://schemas.microsoft.com/office/drawing/2014/main" id="{42874F72-0C3E-43E2-AD62-24E69507FD6E}"/>
              </a:ext>
            </a:extLst>
          </p:cNvPr>
          <p:cNvSpPr/>
          <p:nvPr/>
        </p:nvSpPr>
        <p:spPr>
          <a:xfrm>
            <a:off x="8804605" y="3696668"/>
            <a:ext cx="2344417" cy="176737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326" rIns="0" bIns="16326"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270" b="1"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rPr>
              <a:t>Rapid Value</a:t>
            </a:r>
          </a:p>
        </p:txBody>
      </p:sp>
      <p:sp>
        <p:nvSpPr>
          <p:cNvPr id="102" name="Freeform: Shape 63">
            <a:extLst>
              <a:ext uri="{FF2B5EF4-FFF2-40B4-BE49-F238E27FC236}">
                <a16:creationId xmlns:a16="http://schemas.microsoft.com/office/drawing/2014/main" id="{8EDF493C-15D2-4783-9A75-8306DC8A9206}"/>
              </a:ext>
            </a:extLst>
          </p:cNvPr>
          <p:cNvSpPr/>
          <p:nvPr/>
        </p:nvSpPr>
        <p:spPr>
          <a:xfrm>
            <a:off x="7492019" y="2617193"/>
            <a:ext cx="2382006" cy="2181943"/>
          </a:xfrm>
          <a:custGeom>
            <a:avLst/>
            <a:gdLst>
              <a:gd name="connsiteX0" fmla="*/ 1114487 w 1115532"/>
              <a:gd name="connsiteY0" fmla="*/ 0 h 676626"/>
              <a:gd name="connsiteX1" fmla="*/ 219137 w 1115532"/>
              <a:gd name="connsiteY1" fmla="*/ 257175 h 676626"/>
              <a:gd name="connsiteX2" fmla="*/ 1114487 w 1115532"/>
              <a:gd name="connsiteY2" fmla="*/ 485775 h 676626"/>
              <a:gd name="connsiteX3" fmla="*/ 62 w 1115532"/>
              <a:gd name="connsiteY3" fmla="*/ 676275 h 676626"/>
            </a:gdLst>
            <a:ahLst/>
            <a:cxnLst>
              <a:cxn ang="0">
                <a:pos x="connsiteX0" y="connsiteY0"/>
              </a:cxn>
              <a:cxn ang="0">
                <a:pos x="connsiteX1" y="connsiteY1"/>
              </a:cxn>
              <a:cxn ang="0">
                <a:pos x="connsiteX2" y="connsiteY2"/>
              </a:cxn>
              <a:cxn ang="0">
                <a:pos x="connsiteX3" y="connsiteY3"/>
              </a:cxn>
            </a:cxnLst>
            <a:rect l="l" t="t" r="r" b="b"/>
            <a:pathLst>
              <a:path w="1115532" h="676626">
                <a:moveTo>
                  <a:pt x="1114487" y="0"/>
                </a:moveTo>
                <a:cubicBezTo>
                  <a:pt x="666812" y="88106"/>
                  <a:pt x="219137" y="176213"/>
                  <a:pt x="219137" y="257175"/>
                </a:cubicBezTo>
                <a:cubicBezTo>
                  <a:pt x="219137" y="338137"/>
                  <a:pt x="1151000" y="415925"/>
                  <a:pt x="1114487" y="485775"/>
                </a:cubicBezTo>
                <a:cubicBezTo>
                  <a:pt x="1077974" y="555625"/>
                  <a:pt x="-9463" y="684212"/>
                  <a:pt x="62" y="676275"/>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816"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105" name="Oval 104">
            <a:extLst>
              <a:ext uri="{FF2B5EF4-FFF2-40B4-BE49-F238E27FC236}">
                <a16:creationId xmlns:a16="http://schemas.microsoft.com/office/drawing/2014/main" id="{61256437-3BA8-4C10-AFF6-2B2C7D19BF2C}"/>
              </a:ext>
            </a:extLst>
          </p:cNvPr>
          <p:cNvSpPr/>
          <p:nvPr/>
        </p:nvSpPr>
        <p:spPr>
          <a:xfrm>
            <a:off x="9694288" y="2474298"/>
            <a:ext cx="220774" cy="22077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326" rIns="0" bIns="16326" rtlCol="0" anchor="ctr">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27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rPr>
              <a:t>1</a:t>
            </a:r>
          </a:p>
        </p:txBody>
      </p:sp>
      <p:sp>
        <p:nvSpPr>
          <p:cNvPr id="109" name="Oval 108">
            <a:extLst>
              <a:ext uri="{FF2B5EF4-FFF2-40B4-BE49-F238E27FC236}">
                <a16:creationId xmlns:a16="http://schemas.microsoft.com/office/drawing/2014/main" id="{A7FA7CB6-330C-49DC-9DA5-9F03BC2C6B0F}"/>
              </a:ext>
            </a:extLst>
          </p:cNvPr>
          <p:cNvSpPr/>
          <p:nvPr/>
        </p:nvSpPr>
        <p:spPr>
          <a:xfrm>
            <a:off x="7836510" y="3299075"/>
            <a:ext cx="220774" cy="22077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326" rIns="0" bIns="16326" rtlCol="0" anchor="ctr">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27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rPr>
              <a:t>2</a:t>
            </a:r>
          </a:p>
        </p:txBody>
      </p:sp>
      <p:sp>
        <p:nvSpPr>
          <p:cNvPr id="118" name="Oval 117">
            <a:extLst>
              <a:ext uri="{FF2B5EF4-FFF2-40B4-BE49-F238E27FC236}">
                <a16:creationId xmlns:a16="http://schemas.microsoft.com/office/drawing/2014/main" id="{6E5A97CE-E3E5-4ACB-B64D-1D5D81604969}"/>
              </a:ext>
            </a:extLst>
          </p:cNvPr>
          <p:cNvSpPr/>
          <p:nvPr/>
        </p:nvSpPr>
        <p:spPr>
          <a:xfrm>
            <a:off x="9756039" y="4070693"/>
            <a:ext cx="220774" cy="22077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326" rIns="0" bIns="16326" rtlCol="0" anchor="ctr">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27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rPr>
              <a:t>3</a:t>
            </a:r>
          </a:p>
        </p:txBody>
      </p:sp>
      <p:sp>
        <p:nvSpPr>
          <p:cNvPr id="122" name="Oval 121">
            <a:extLst>
              <a:ext uri="{FF2B5EF4-FFF2-40B4-BE49-F238E27FC236}">
                <a16:creationId xmlns:a16="http://schemas.microsoft.com/office/drawing/2014/main" id="{CF587359-5C8A-4534-9C5E-458B01E847D3}"/>
              </a:ext>
            </a:extLst>
          </p:cNvPr>
          <p:cNvSpPr/>
          <p:nvPr/>
        </p:nvSpPr>
        <p:spPr>
          <a:xfrm>
            <a:off x="7396755" y="4671895"/>
            <a:ext cx="220774" cy="22077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6326" rIns="0" bIns="16326" rtlCol="0" anchor="ctr">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127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rPr>
              <a:t>4</a:t>
            </a:r>
          </a:p>
        </p:txBody>
      </p:sp>
      <p:graphicFrame>
        <p:nvGraphicFramePr>
          <p:cNvPr id="129" name="Table 128">
            <a:extLst>
              <a:ext uri="{FF2B5EF4-FFF2-40B4-BE49-F238E27FC236}">
                <a16:creationId xmlns:a16="http://schemas.microsoft.com/office/drawing/2014/main" id="{EB848D61-9897-4482-8640-2A569983DF76}"/>
              </a:ext>
            </a:extLst>
          </p:cNvPr>
          <p:cNvGraphicFramePr>
            <a:graphicFrameLocks noGrp="1"/>
          </p:cNvGraphicFramePr>
          <p:nvPr/>
        </p:nvGraphicFramePr>
        <p:xfrm>
          <a:off x="6953703" y="5864844"/>
          <a:ext cx="3684465" cy="288379"/>
        </p:xfrm>
        <a:graphic>
          <a:graphicData uri="http://schemas.openxmlformats.org/drawingml/2006/table">
            <a:tbl>
              <a:tblPr/>
              <a:tblGrid>
                <a:gridCol w="1003474">
                  <a:extLst>
                    <a:ext uri="{9D8B030D-6E8A-4147-A177-3AD203B41FA5}">
                      <a16:colId xmlns:a16="http://schemas.microsoft.com/office/drawing/2014/main" val="20000"/>
                    </a:ext>
                  </a:extLst>
                </a:gridCol>
                <a:gridCol w="257197">
                  <a:extLst>
                    <a:ext uri="{9D8B030D-6E8A-4147-A177-3AD203B41FA5}">
                      <a16:colId xmlns:a16="http://schemas.microsoft.com/office/drawing/2014/main" val="20001"/>
                    </a:ext>
                  </a:extLst>
                </a:gridCol>
                <a:gridCol w="1003474">
                  <a:extLst>
                    <a:ext uri="{9D8B030D-6E8A-4147-A177-3AD203B41FA5}">
                      <a16:colId xmlns:a16="http://schemas.microsoft.com/office/drawing/2014/main" val="20002"/>
                    </a:ext>
                  </a:extLst>
                </a:gridCol>
                <a:gridCol w="257197">
                  <a:extLst>
                    <a:ext uri="{9D8B030D-6E8A-4147-A177-3AD203B41FA5}">
                      <a16:colId xmlns:a16="http://schemas.microsoft.com/office/drawing/2014/main" val="20003"/>
                    </a:ext>
                  </a:extLst>
                </a:gridCol>
                <a:gridCol w="1163123">
                  <a:extLst>
                    <a:ext uri="{9D8B030D-6E8A-4147-A177-3AD203B41FA5}">
                      <a16:colId xmlns:a16="http://schemas.microsoft.com/office/drawing/2014/main" val="20004"/>
                    </a:ext>
                  </a:extLst>
                </a:gridCol>
              </a:tblGrid>
              <a:tr h="288379">
                <a:tc>
                  <a:txBody>
                    <a:bodyPr/>
                    <a:lstStyle>
                      <a:lvl1pPr marL="0" algn="l" defTabSz="914466" rtl="0" eaLnBrk="1" latinLnBrk="0" hangingPunct="1">
                        <a:defRPr sz="1800" kern="1200">
                          <a:solidFill>
                            <a:schemeClr val="tx1"/>
                          </a:solidFill>
                          <a:latin typeface="Arial"/>
                          <a:ea typeface=""/>
                          <a:cs typeface=""/>
                        </a:defRPr>
                      </a:lvl1pPr>
                      <a:lvl2pPr marL="457232" algn="l" defTabSz="914466" rtl="0" eaLnBrk="1" latinLnBrk="0" hangingPunct="1">
                        <a:defRPr sz="1800" kern="1200">
                          <a:solidFill>
                            <a:schemeClr val="tx1"/>
                          </a:solidFill>
                          <a:latin typeface="Arial"/>
                          <a:ea typeface=""/>
                          <a:cs typeface=""/>
                        </a:defRPr>
                      </a:lvl2pPr>
                      <a:lvl3pPr marL="914466" algn="l" defTabSz="914466" rtl="0" eaLnBrk="1" latinLnBrk="0" hangingPunct="1">
                        <a:defRPr sz="1800" kern="1200">
                          <a:solidFill>
                            <a:schemeClr val="tx1"/>
                          </a:solidFill>
                          <a:latin typeface="Arial"/>
                          <a:ea typeface=""/>
                          <a:cs typeface=""/>
                        </a:defRPr>
                      </a:lvl3pPr>
                      <a:lvl4pPr marL="1371698" algn="l" defTabSz="914466" rtl="0" eaLnBrk="1" latinLnBrk="0" hangingPunct="1">
                        <a:defRPr sz="1800" kern="1200">
                          <a:solidFill>
                            <a:schemeClr val="tx1"/>
                          </a:solidFill>
                          <a:latin typeface="Arial"/>
                          <a:ea typeface=""/>
                          <a:cs typeface=""/>
                        </a:defRPr>
                      </a:lvl4pPr>
                      <a:lvl5pPr marL="1828931" algn="l" defTabSz="914466" rtl="0" eaLnBrk="1" latinLnBrk="0" hangingPunct="1">
                        <a:defRPr sz="1800" kern="1200">
                          <a:solidFill>
                            <a:schemeClr val="tx1"/>
                          </a:solidFill>
                          <a:latin typeface="Arial"/>
                          <a:ea typeface=""/>
                          <a:cs typeface=""/>
                        </a:defRPr>
                      </a:lvl5pPr>
                      <a:lvl6pPr marL="2286164" algn="l" defTabSz="914466" rtl="0" eaLnBrk="1" latinLnBrk="0" hangingPunct="1">
                        <a:defRPr sz="1800" kern="1200">
                          <a:solidFill>
                            <a:schemeClr val="tx1"/>
                          </a:solidFill>
                          <a:latin typeface="Arial"/>
                          <a:ea typeface=""/>
                          <a:cs typeface=""/>
                        </a:defRPr>
                      </a:lvl6pPr>
                      <a:lvl7pPr marL="2743397" algn="l" defTabSz="914466" rtl="0" eaLnBrk="1" latinLnBrk="0" hangingPunct="1">
                        <a:defRPr sz="1800" kern="1200">
                          <a:solidFill>
                            <a:schemeClr val="tx1"/>
                          </a:solidFill>
                          <a:latin typeface="Arial"/>
                          <a:ea typeface=""/>
                          <a:cs typeface=""/>
                        </a:defRPr>
                      </a:lvl7pPr>
                      <a:lvl8pPr marL="3200630" algn="l" defTabSz="914466" rtl="0" eaLnBrk="1" latinLnBrk="0" hangingPunct="1">
                        <a:defRPr sz="1800" kern="1200">
                          <a:solidFill>
                            <a:schemeClr val="tx1"/>
                          </a:solidFill>
                          <a:latin typeface="Arial"/>
                          <a:ea typeface=""/>
                          <a:cs typeface=""/>
                        </a:defRPr>
                      </a:lvl8pPr>
                      <a:lvl9pPr marL="3657863" algn="l" defTabSz="914466" rtl="0" eaLnBrk="1" latinLnBrk="0" hangingPunct="1">
                        <a:defRPr sz="1800" kern="1200">
                          <a:solidFill>
                            <a:schemeClr val="tx1"/>
                          </a:solidFill>
                          <a:latin typeface="Arial"/>
                          <a:ea typeface=""/>
                          <a:cs typeface=""/>
                        </a:defRPr>
                      </a:lvl9pPr>
                    </a:lstStyle>
                    <a:p>
                      <a:pPr marL="0" indent="0" algn="ctr" fontAlgn="ctr"/>
                      <a:r>
                        <a:rPr lang="en-US" sz="1100" b="1" i="0" u="none" strike="noStrike">
                          <a:solidFill>
                            <a:schemeClr val="bg1"/>
                          </a:solidFill>
                          <a:effectLst/>
                          <a:latin typeface="+mn-lt"/>
                        </a:rPr>
                        <a:t>Data </a:t>
                      </a:r>
                    </a:p>
                  </a:txBody>
                  <a:tcPr marL="0" marR="0" marT="23581" marB="11791"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66" rtl="0" eaLnBrk="1" latinLnBrk="0" hangingPunct="1">
                        <a:defRPr sz="1800" kern="1200">
                          <a:solidFill>
                            <a:schemeClr val="tx1"/>
                          </a:solidFill>
                          <a:latin typeface="Arial"/>
                          <a:ea typeface=""/>
                          <a:cs typeface=""/>
                        </a:defRPr>
                      </a:lvl1pPr>
                      <a:lvl2pPr marL="457232" algn="l" defTabSz="914466" rtl="0" eaLnBrk="1" latinLnBrk="0" hangingPunct="1">
                        <a:defRPr sz="1800" kern="1200">
                          <a:solidFill>
                            <a:schemeClr val="tx1"/>
                          </a:solidFill>
                          <a:latin typeface="Arial"/>
                          <a:ea typeface=""/>
                          <a:cs typeface=""/>
                        </a:defRPr>
                      </a:lvl2pPr>
                      <a:lvl3pPr marL="914466" algn="l" defTabSz="914466" rtl="0" eaLnBrk="1" latinLnBrk="0" hangingPunct="1">
                        <a:defRPr sz="1800" kern="1200">
                          <a:solidFill>
                            <a:schemeClr val="tx1"/>
                          </a:solidFill>
                          <a:latin typeface="Arial"/>
                          <a:ea typeface=""/>
                          <a:cs typeface=""/>
                        </a:defRPr>
                      </a:lvl3pPr>
                      <a:lvl4pPr marL="1371698" algn="l" defTabSz="914466" rtl="0" eaLnBrk="1" latinLnBrk="0" hangingPunct="1">
                        <a:defRPr sz="1800" kern="1200">
                          <a:solidFill>
                            <a:schemeClr val="tx1"/>
                          </a:solidFill>
                          <a:latin typeface="Arial"/>
                          <a:ea typeface=""/>
                          <a:cs typeface=""/>
                        </a:defRPr>
                      </a:lvl4pPr>
                      <a:lvl5pPr marL="1828931" algn="l" defTabSz="914466" rtl="0" eaLnBrk="1" latinLnBrk="0" hangingPunct="1">
                        <a:defRPr sz="1800" kern="1200">
                          <a:solidFill>
                            <a:schemeClr val="tx1"/>
                          </a:solidFill>
                          <a:latin typeface="Arial"/>
                          <a:ea typeface=""/>
                          <a:cs typeface=""/>
                        </a:defRPr>
                      </a:lvl5pPr>
                      <a:lvl6pPr marL="2286164" algn="l" defTabSz="914466" rtl="0" eaLnBrk="1" latinLnBrk="0" hangingPunct="1">
                        <a:defRPr sz="1800" kern="1200">
                          <a:solidFill>
                            <a:schemeClr val="tx1"/>
                          </a:solidFill>
                          <a:latin typeface="Arial"/>
                          <a:ea typeface=""/>
                          <a:cs typeface=""/>
                        </a:defRPr>
                      </a:lvl6pPr>
                      <a:lvl7pPr marL="2743397" algn="l" defTabSz="914466" rtl="0" eaLnBrk="1" latinLnBrk="0" hangingPunct="1">
                        <a:defRPr sz="1800" kern="1200">
                          <a:solidFill>
                            <a:schemeClr val="tx1"/>
                          </a:solidFill>
                          <a:latin typeface="Arial"/>
                          <a:ea typeface=""/>
                          <a:cs typeface=""/>
                        </a:defRPr>
                      </a:lvl7pPr>
                      <a:lvl8pPr marL="3200630" algn="l" defTabSz="914466" rtl="0" eaLnBrk="1" latinLnBrk="0" hangingPunct="1">
                        <a:defRPr sz="1800" kern="1200">
                          <a:solidFill>
                            <a:schemeClr val="tx1"/>
                          </a:solidFill>
                          <a:latin typeface="Arial"/>
                          <a:ea typeface=""/>
                          <a:cs typeface=""/>
                        </a:defRPr>
                      </a:lvl8pPr>
                      <a:lvl9pPr marL="3657863" algn="l" defTabSz="914466" rtl="0" eaLnBrk="1" latinLnBrk="0" hangingPunct="1">
                        <a:defRPr sz="1800" kern="1200">
                          <a:solidFill>
                            <a:schemeClr val="tx1"/>
                          </a:solidFill>
                          <a:latin typeface="Arial"/>
                          <a:ea typeface=""/>
                          <a:cs typeface=""/>
                        </a:defRPr>
                      </a:lvl9pPr>
                    </a:lstStyle>
                    <a:p>
                      <a:pPr marL="0" indent="0" algn="ctr" fontAlgn="ctr">
                        <a:buFont typeface="Arial" charset="0"/>
                        <a:buNone/>
                      </a:pPr>
                      <a:r>
                        <a:rPr lang="en-US" sz="1100" b="1" i="0" u="none" strike="noStrike">
                          <a:solidFill>
                            <a:schemeClr val="bg1"/>
                          </a:solidFill>
                          <a:effectLst/>
                          <a:latin typeface="+mn-lt"/>
                        </a:rPr>
                        <a:t>+</a:t>
                      </a:r>
                    </a:p>
                  </a:txBody>
                  <a:tcPr marL="0" marR="0" marT="23581" marB="11791" anchor="ctr">
                    <a:lnL w="1270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6" rtl="0" eaLnBrk="1" latinLnBrk="0" hangingPunct="1">
                        <a:defRPr sz="1800" kern="1200">
                          <a:solidFill>
                            <a:schemeClr val="tx1"/>
                          </a:solidFill>
                          <a:latin typeface="Arial"/>
                          <a:ea typeface=""/>
                          <a:cs typeface=""/>
                        </a:defRPr>
                      </a:lvl1pPr>
                      <a:lvl2pPr marL="457232" algn="l" defTabSz="914466" rtl="0" eaLnBrk="1" latinLnBrk="0" hangingPunct="1">
                        <a:defRPr sz="1800" kern="1200">
                          <a:solidFill>
                            <a:schemeClr val="tx1"/>
                          </a:solidFill>
                          <a:latin typeface="Arial"/>
                          <a:ea typeface=""/>
                          <a:cs typeface=""/>
                        </a:defRPr>
                      </a:lvl2pPr>
                      <a:lvl3pPr marL="914466" algn="l" defTabSz="914466" rtl="0" eaLnBrk="1" latinLnBrk="0" hangingPunct="1">
                        <a:defRPr sz="1800" kern="1200">
                          <a:solidFill>
                            <a:schemeClr val="tx1"/>
                          </a:solidFill>
                          <a:latin typeface="Arial"/>
                          <a:ea typeface=""/>
                          <a:cs typeface=""/>
                        </a:defRPr>
                      </a:lvl3pPr>
                      <a:lvl4pPr marL="1371698" algn="l" defTabSz="914466" rtl="0" eaLnBrk="1" latinLnBrk="0" hangingPunct="1">
                        <a:defRPr sz="1800" kern="1200">
                          <a:solidFill>
                            <a:schemeClr val="tx1"/>
                          </a:solidFill>
                          <a:latin typeface="Arial"/>
                          <a:ea typeface=""/>
                          <a:cs typeface=""/>
                        </a:defRPr>
                      </a:lvl4pPr>
                      <a:lvl5pPr marL="1828931" algn="l" defTabSz="914466" rtl="0" eaLnBrk="1" latinLnBrk="0" hangingPunct="1">
                        <a:defRPr sz="1800" kern="1200">
                          <a:solidFill>
                            <a:schemeClr val="tx1"/>
                          </a:solidFill>
                          <a:latin typeface="Arial"/>
                          <a:ea typeface=""/>
                          <a:cs typeface=""/>
                        </a:defRPr>
                      </a:lvl5pPr>
                      <a:lvl6pPr marL="2286164" algn="l" defTabSz="914466" rtl="0" eaLnBrk="1" latinLnBrk="0" hangingPunct="1">
                        <a:defRPr sz="1800" kern="1200">
                          <a:solidFill>
                            <a:schemeClr val="tx1"/>
                          </a:solidFill>
                          <a:latin typeface="Arial"/>
                          <a:ea typeface=""/>
                          <a:cs typeface=""/>
                        </a:defRPr>
                      </a:lvl6pPr>
                      <a:lvl7pPr marL="2743397" algn="l" defTabSz="914466" rtl="0" eaLnBrk="1" latinLnBrk="0" hangingPunct="1">
                        <a:defRPr sz="1800" kern="1200">
                          <a:solidFill>
                            <a:schemeClr val="tx1"/>
                          </a:solidFill>
                          <a:latin typeface="Arial"/>
                          <a:ea typeface=""/>
                          <a:cs typeface=""/>
                        </a:defRPr>
                      </a:lvl7pPr>
                      <a:lvl8pPr marL="3200630" algn="l" defTabSz="914466" rtl="0" eaLnBrk="1" latinLnBrk="0" hangingPunct="1">
                        <a:defRPr sz="1800" kern="1200">
                          <a:solidFill>
                            <a:schemeClr val="tx1"/>
                          </a:solidFill>
                          <a:latin typeface="Arial"/>
                          <a:ea typeface=""/>
                          <a:cs typeface=""/>
                        </a:defRPr>
                      </a:lvl8pPr>
                      <a:lvl9pPr marL="3657863" algn="l" defTabSz="914466" rtl="0" eaLnBrk="1" latinLnBrk="0" hangingPunct="1">
                        <a:defRPr sz="1800" kern="1200">
                          <a:solidFill>
                            <a:schemeClr val="tx1"/>
                          </a:solidFill>
                          <a:latin typeface="Arial"/>
                          <a:ea typeface=""/>
                          <a:cs typeface=""/>
                        </a:defRPr>
                      </a:lvl9pPr>
                    </a:lstStyle>
                    <a:p>
                      <a:pPr marL="0" marR="0" indent="0" algn="ctr" defTabSz="914400" rtl="0" eaLnBrk="1" fontAlgn="ctr" latinLnBrk="0" hangingPunct="1">
                        <a:lnSpc>
                          <a:spcPct val="100000"/>
                        </a:lnSpc>
                        <a:spcBef>
                          <a:spcPts val="0"/>
                        </a:spcBef>
                        <a:spcAft>
                          <a:spcPts val="0"/>
                        </a:spcAft>
                        <a:buClrTx/>
                        <a:buSzTx/>
                        <a:buFont typeface="Arial" charset="0"/>
                        <a:buNone/>
                        <a:tabLst/>
                        <a:defRPr/>
                      </a:pPr>
                      <a:r>
                        <a:rPr lang="en-US" sz="1100" b="1" i="0" u="none" strike="noStrike">
                          <a:solidFill>
                            <a:schemeClr val="bg1"/>
                          </a:solidFill>
                          <a:effectLst/>
                          <a:latin typeface="+mn-lt"/>
                        </a:rPr>
                        <a:t>Technology</a:t>
                      </a:r>
                    </a:p>
                  </a:txBody>
                  <a:tcPr marL="0" marR="0" marT="23581" marB="117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6" rtl="0" eaLnBrk="1" latinLnBrk="0" hangingPunct="1">
                        <a:defRPr sz="1800" kern="1200">
                          <a:solidFill>
                            <a:schemeClr val="tx1"/>
                          </a:solidFill>
                          <a:latin typeface="Arial"/>
                          <a:ea typeface=""/>
                          <a:cs typeface=""/>
                        </a:defRPr>
                      </a:lvl1pPr>
                      <a:lvl2pPr marL="457232" algn="l" defTabSz="914466" rtl="0" eaLnBrk="1" latinLnBrk="0" hangingPunct="1">
                        <a:defRPr sz="1800" kern="1200">
                          <a:solidFill>
                            <a:schemeClr val="tx1"/>
                          </a:solidFill>
                          <a:latin typeface="Arial"/>
                          <a:ea typeface=""/>
                          <a:cs typeface=""/>
                        </a:defRPr>
                      </a:lvl2pPr>
                      <a:lvl3pPr marL="914466" algn="l" defTabSz="914466" rtl="0" eaLnBrk="1" latinLnBrk="0" hangingPunct="1">
                        <a:defRPr sz="1800" kern="1200">
                          <a:solidFill>
                            <a:schemeClr val="tx1"/>
                          </a:solidFill>
                          <a:latin typeface="Arial"/>
                          <a:ea typeface=""/>
                          <a:cs typeface=""/>
                        </a:defRPr>
                      </a:lvl3pPr>
                      <a:lvl4pPr marL="1371698" algn="l" defTabSz="914466" rtl="0" eaLnBrk="1" latinLnBrk="0" hangingPunct="1">
                        <a:defRPr sz="1800" kern="1200">
                          <a:solidFill>
                            <a:schemeClr val="tx1"/>
                          </a:solidFill>
                          <a:latin typeface="Arial"/>
                          <a:ea typeface=""/>
                          <a:cs typeface=""/>
                        </a:defRPr>
                      </a:lvl4pPr>
                      <a:lvl5pPr marL="1828931" algn="l" defTabSz="914466" rtl="0" eaLnBrk="1" latinLnBrk="0" hangingPunct="1">
                        <a:defRPr sz="1800" kern="1200">
                          <a:solidFill>
                            <a:schemeClr val="tx1"/>
                          </a:solidFill>
                          <a:latin typeface="Arial"/>
                          <a:ea typeface=""/>
                          <a:cs typeface=""/>
                        </a:defRPr>
                      </a:lvl5pPr>
                      <a:lvl6pPr marL="2286164" algn="l" defTabSz="914466" rtl="0" eaLnBrk="1" latinLnBrk="0" hangingPunct="1">
                        <a:defRPr sz="1800" kern="1200">
                          <a:solidFill>
                            <a:schemeClr val="tx1"/>
                          </a:solidFill>
                          <a:latin typeface="Arial"/>
                          <a:ea typeface=""/>
                          <a:cs typeface=""/>
                        </a:defRPr>
                      </a:lvl6pPr>
                      <a:lvl7pPr marL="2743397" algn="l" defTabSz="914466" rtl="0" eaLnBrk="1" latinLnBrk="0" hangingPunct="1">
                        <a:defRPr sz="1800" kern="1200">
                          <a:solidFill>
                            <a:schemeClr val="tx1"/>
                          </a:solidFill>
                          <a:latin typeface="Arial"/>
                          <a:ea typeface=""/>
                          <a:cs typeface=""/>
                        </a:defRPr>
                      </a:lvl7pPr>
                      <a:lvl8pPr marL="3200630" algn="l" defTabSz="914466" rtl="0" eaLnBrk="1" latinLnBrk="0" hangingPunct="1">
                        <a:defRPr sz="1800" kern="1200">
                          <a:solidFill>
                            <a:schemeClr val="tx1"/>
                          </a:solidFill>
                          <a:latin typeface="Arial"/>
                          <a:ea typeface=""/>
                          <a:cs typeface=""/>
                        </a:defRPr>
                      </a:lvl8pPr>
                      <a:lvl9pPr marL="3657863" algn="l" defTabSz="914466" rtl="0" eaLnBrk="1" latinLnBrk="0" hangingPunct="1">
                        <a:defRPr sz="1800" kern="1200">
                          <a:solidFill>
                            <a:schemeClr val="tx1"/>
                          </a:solidFill>
                          <a:latin typeface="Arial"/>
                          <a:ea typeface=""/>
                          <a:cs typeface=""/>
                        </a:defRPr>
                      </a:lvl9pPr>
                    </a:lstStyle>
                    <a:p>
                      <a:pPr marL="0" marR="0" indent="0" algn="ctr" defTabSz="914400" rtl="0" eaLnBrk="1" fontAlgn="ctr" latinLnBrk="0" hangingPunct="1">
                        <a:lnSpc>
                          <a:spcPct val="100000"/>
                        </a:lnSpc>
                        <a:spcBef>
                          <a:spcPts val="0"/>
                        </a:spcBef>
                        <a:spcAft>
                          <a:spcPts val="0"/>
                        </a:spcAft>
                        <a:buClrTx/>
                        <a:buSzTx/>
                        <a:buFont typeface="Arial" charset="0"/>
                        <a:buNone/>
                        <a:tabLst/>
                        <a:defRPr/>
                      </a:pPr>
                      <a:r>
                        <a:rPr lang="en-US" sz="1100" b="1" i="0" u="none" strike="noStrike">
                          <a:solidFill>
                            <a:schemeClr val="bg1"/>
                          </a:solidFill>
                          <a:effectLst/>
                          <a:latin typeface="+mn-lt"/>
                        </a:rPr>
                        <a:t>+</a:t>
                      </a:r>
                    </a:p>
                  </a:txBody>
                  <a:tcPr marL="0" marR="0" marT="23581" marB="117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66" rtl="0" eaLnBrk="1" latinLnBrk="0" hangingPunct="1">
                        <a:defRPr sz="1800" kern="1200">
                          <a:solidFill>
                            <a:schemeClr val="tx1"/>
                          </a:solidFill>
                          <a:latin typeface="Arial"/>
                          <a:ea typeface=""/>
                          <a:cs typeface=""/>
                        </a:defRPr>
                      </a:lvl1pPr>
                      <a:lvl2pPr marL="457232" algn="l" defTabSz="914466" rtl="0" eaLnBrk="1" latinLnBrk="0" hangingPunct="1">
                        <a:defRPr sz="1800" kern="1200">
                          <a:solidFill>
                            <a:schemeClr val="tx1"/>
                          </a:solidFill>
                          <a:latin typeface="Arial"/>
                          <a:ea typeface=""/>
                          <a:cs typeface=""/>
                        </a:defRPr>
                      </a:lvl2pPr>
                      <a:lvl3pPr marL="914466" algn="l" defTabSz="914466" rtl="0" eaLnBrk="1" latinLnBrk="0" hangingPunct="1">
                        <a:defRPr sz="1800" kern="1200">
                          <a:solidFill>
                            <a:schemeClr val="tx1"/>
                          </a:solidFill>
                          <a:latin typeface="Arial"/>
                          <a:ea typeface=""/>
                          <a:cs typeface=""/>
                        </a:defRPr>
                      </a:lvl3pPr>
                      <a:lvl4pPr marL="1371698" algn="l" defTabSz="914466" rtl="0" eaLnBrk="1" latinLnBrk="0" hangingPunct="1">
                        <a:defRPr sz="1800" kern="1200">
                          <a:solidFill>
                            <a:schemeClr val="tx1"/>
                          </a:solidFill>
                          <a:latin typeface="Arial"/>
                          <a:ea typeface=""/>
                          <a:cs typeface=""/>
                        </a:defRPr>
                      </a:lvl4pPr>
                      <a:lvl5pPr marL="1828931" algn="l" defTabSz="914466" rtl="0" eaLnBrk="1" latinLnBrk="0" hangingPunct="1">
                        <a:defRPr sz="1800" kern="1200">
                          <a:solidFill>
                            <a:schemeClr val="tx1"/>
                          </a:solidFill>
                          <a:latin typeface="Arial"/>
                          <a:ea typeface=""/>
                          <a:cs typeface=""/>
                        </a:defRPr>
                      </a:lvl5pPr>
                      <a:lvl6pPr marL="2286164" algn="l" defTabSz="914466" rtl="0" eaLnBrk="1" latinLnBrk="0" hangingPunct="1">
                        <a:defRPr sz="1800" kern="1200">
                          <a:solidFill>
                            <a:schemeClr val="tx1"/>
                          </a:solidFill>
                          <a:latin typeface="Arial"/>
                          <a:ea typeface=""/>
                          <a:cs typeface=""/>
                        </a:defRPr>
                      </a:lvl6pPr>
                      <a:lvl7pPr marL="2743397" algn="l" defTabSz="914466" rtl="0" eaLnBrk="1" latinLnBrk="0" hangingPunct="1">
                        <a:defRPr sz="1800" kern="1200">
                          <a:solidFill>
                            <a:schemeClr val="tx1"/>
                          </a:solidFill>
                          <a:latin typeface="Arial"/>
                          <a:ea typeface=""/>
                          <a:cs typeface=""/>
                        </a:defRPr>
                      </a:lvl7pPr>
                      <a:lvl8pPr marL="3200630" algn="l" defTabSz="914466" rtl="0" eaLnBrk="1" latinLnBrk="0" hangingPunct="1">
                        <a:defRPr sz="1800" kern="1200">
                          <a:solidFill>
                            <a:schemeClr val="tx1"/>
                          </a:solidFill>
                          <a:latin typeface="Arial"/>
                          <a:ea typeface=""/>
                          <a:cs typeface=""/>
                        </a:defRPr>
                      </a:lvl8pPr>
                      <a:lvl9pPr marL="3657863" algn="l" defTabSz="914466" rtl="0" eaLnBrk="1" latinLnBrk="0" hangingPunct="1">
                        <a:defRPr sz="1800" kern="1200">
                          <a:solidFill>
                            <a:schemeClr val="tx1"/>
                          </a:solidFill>
                          <a:latin typeface="Arial"/>
                          <a:ea typeface=""/>
                          <a:cs typeface=""/>
                        </a:defRPr>
                      </a:lvl9pPr>
                    </a:lstStyle>
                    <a:p>
                      <a:pPr marL="0" marR="0" lvl="0" indent="0" algn="ctr" defTabSz="914400" rtl="0" eaLnBrk="1" fontAlgn="ctr" latinLnBrk="0" hangingPunct="1">
                        <a:lnSpc>
                          <a:spcPct val="100000"/>
                        </a:lnSpc>
                        <a:spcBef>
                          <a:spcPts val="0"/>
                        </a:spcBef>
                        <a:spcAft>
                          <a:spcPts val="0"/>
                        </a:spcAft>
                        <a:buClrTx/>
                        <a:buSzTx/>
                        <a:buFont typeface="Arial" charset="0"/>
                        <a:buNone/>
                        <a:tabLst/>
                        <a:defRPr/>
                      </a:pPr>
                      <a:r>
                        <a:rPr kumimoji="0" lang="en-US" sz="1100" b="1" i="0" u="none" strike="noStrike" kern="1200" cap="none" spc="0" normalizeH="0" baseline="0" noProof="0">
                          <a:ln>
                            <a:noFill/>
                          </a:ln>
                          <a:solidFill>
                            <a:schemeClr val="bg1"/>
                          </a:solidFill>
                          <a:effectLst/>
                          <a:uLnTx/>
                          <a:uFillTx/>
                          <a:latin typeface="+mn-lt"/>
                          <a:ea typeface="+mn-ea"/>
                          <a:cs typeface="+mn-cs"/>
                        </a:rPr>
                        <a:t>Process</a:t>
                      </a:r>
                    </a:p>
                  </a:txBody>
                  <a:tcPr marL="0" marR="0" marT="23581" marB="1179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3" name="TextBox 132">
            <a:extLst>
              <a:ext uri="{FF2B5EF4-FFF2-40B4-BE49-F238E27FC236}">
                <a16:creationId xmlns:a16="http://schemas.microsoft.com/office/drawing/2014/main" id="{1419C93C-0BA9-418B-A523-CD9D647B8B50}"/>
              </a:ext>
            </a:extLst>
          </p:cNvPr>
          <p:cNvSpPr txBox="1"/>
          <p:nvPr/>
        </p:nvSpPr>
        <p:spPr>
          <a:xfrm>
            <a:off x="6272599" y="5540077"/>
            <a:ext cx="4981936" cy="259751"/>
          </a:xfrm>
          <a:prstGeom prst="rect">
            <a:avLst/>
          </a:prstGeom>
          <a:noFill/>
        </p:spPr>
        <p:txBody>
          <a:bodyPr wrap="square" rtlCol="0">
            <a:spAutoFit/>
          </a:bodyPr>
          <a:lstStyle/>
          <a:p>
            <a:pPr marL="0" marR="0" lvl="0" indent="0" algn="ctr" defTabSz="829361" rtl="0" eaLnBrk="1" fontAlgn="auto" latinLnBrk="0" hangingPunct="1">
              <a:lnSpc>
                <a:spcPct val="100000"/>
              </a:lnSpc>
              <a:spcBef>
                <a:spcPts val="0"/>
              </a:spcBef>
              <a:spcAft>
                <a:spcPts val="0"/>
              </a:spcAft>
              <a:buClr>
                <a:srgbClr val="442488"/>
              </a:buClr>
              <a:buSzTx/>
              <a:buFontTx/>
              <a:buNone/>
              <a:tabLst/>
              <a:defRPr/>
            </a:pPr>
            <a:r>
              <a:rPr kumimoji="0" lang="en-US" sz="1088" b="1" i="0" u="none" strike="noStrike" kern="0" cap="none" spc="0" normalizeH="0" baseline="0" noProof="0">
                <a:ln>
                  <a:noFill/>
                </a:ln>
                <a:solidFill>
                  <a:srgbClr val="00A3AE"/>
                </a:solidFill>
                <a:effectLst/>
                <a:uLnTx/>
                <a:uFillTx/>
                <a:latin typeface="EYInterstate" panose="02000503020000020004" pitchFamily="2" charset="0"/>
                <a:ea typeface="+mn-ea"/>
                <a:cs typeface="Arial" charset="0"/>
              </a:rPr>
              <a:t>Ease of Implementation</a:t>
            </a:r>
          </a:p>
        </p:txBody>
      </p:sp>
      <p:sp>
        <p:nvSpPr>
          <p:cNvPr id="134" name="Right Brace 133">
            <a:extLst>
              <a:ext uri="{FF2B5EF4-FFF2-40B4-BE49-F238E27FC236}">
                <a16:creationId xmlns:a16="http://schemas.microsoft.com/office/drawing/2014/main" id="{07588366-341B-4CD4-ACDC-0041A69E4A2E}"/>
              </a:ext>
            </a:extLst>
          </p:cNvPr>
          <p:cNvSpPr/>
          <p:nvPr/>
        </p:nvSpPr>
        <p:spPr bwMode="auto">
          <a:xfrm rot="16200000">
            <a:off x="8690683" y="3969059"/>
            <a:ext cx="145767" cy="3781705"/>
          </a:xfrm>
          <a:prstGeom prst="rightBrace">
            <a:avLst>
              <a:gd name="adj1" fmla="val 93676"/>
              <a:gd name="adj2" fmla="val 50464"/>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nchor="ctr"/>
          <a:lstStyle/>
          <a:p>
            <a:pPr marL="0" marR="0" lvl="0" indent="0" algn="ctr" defTabSz="829361" rtl="0" eaLnBrk="1" fontAlgn="auto" latinLnBrk="0" hangingPunct="1">
              <a:lnSpc>
                <a:spcPct val="100000"/>
              </a:lnSpc>
              <a:spcBef>
                <a:spcPts val="0"/>
              </a:spcBef>
              <a:spcAft>
                <a:spcPts val="0"/>
              </a:spcAft>
              <a:buClr>
                <a:srgbClr val="442488"/>
              </a:buClr>
              <a:buSzTx/>
              <a:buFontTx/>
              <a:buNone/>
              <a:tabLst/>
              <a:defRPr/>
            </a:pPr>
            <a:endParaRPr kumimoji="0" lang="en-GB" sz="1270" b="0" i="0" u="none" strike="noStrike" kern="0" cap="none" spc="0" normalizeH="0" baseline="0" noProof="0">
              <a:ln>
                <a:noFill/>
              </a:ln>
              <a:solidFill>
                <a:srgbClr val="000000"/>
              </a:solidFill>
              <a:effectLst/>
              <a:uLnTx/>
              <a:uFillTx/>
              <a:latin typeface="EYInterstate Light" pitchFamily="2" charset="0"/>
              <a:ea typeface="+mn-ea"/>
              <a:cs typeface="Arial" charset="0"/>
            </a:endParaRPr>
          </a:p>
        </p:txBody>
      </p:sp>
      <p:sp>
        <p:nvSpPr>
          <p:cNvPr id="135" name="TextBox 134">
            <a:extLst>
              <a:ext uri="{FF2B5EF4-FFF2-40B4-BE49-F238E27FC236}">
                <a16:creationId xmlns:a16="http://schemas.microsoft.com/office/drawing/2014/main" id="{3222A94C-7A05-4211-A8A0-0E6C3C11DC6E}"/>
              </a:ext>
            </a:extLst>
          </p:cNvPr>
          <p:cNvSpPr txBox="1"/>
          <p:nvPr/>
        </p:nvSpPr>
        <p:spPr>
          <a:xfrm>
            <a:off x="5600526" y="5795727"/>
            <a:ext cx="1113897" cy="367950"/>
          </a:xfrm>
          <a:prstGeom prst="rect">
            <a:avLst/>
          </a:prstGeom>
          <a:noFill/>
        </p:spPr>
        <p:txBody>
          <a:bodyPr wrap="square" lIns="0" tIns="16326" rIns="0" bIns="16326" rtlCol="0">
            <a:noAutofit/>
          </a:bodyPr>
          <a:lstStyle/>
          <a:p>
            <a:pPr marL="0" marR="0" lvl="0" indent="0" algn="l" defTabSz="829361" rtl="0" eaLnBrk="1" fontAlgn="base" latinLnBrk="0" hangingPunct="1">
              <a:lnSpc>
                <a:spcPct val="100000"/>
              </a:lnSpc>
              <a:spcBef>
                <a:spcPts val="272"/>
              </a:spcBef>
              <a:spcAft>
                <a:spcPct val="50000"/>
              </a:spcAft>
              <a:buClr>
                <a:srgbClr val="FFE600"/>
              </a:buClr>
              <a:buSzPct val="80000"/>
              <a:buFontTx/>
              <a:buNone/>
              <a:tabLst/>
              <a:defRPr/>
            </a:pPr>
            <a:r>
              <a:rPr kumimoji="0" lang="en-US" sz="1088" b="0" i="0" u="none" strike="noStrike" kern="1200" cap="none" spc="0" normalizeH="0" baseline="0" noProof="0">
                <a:ln>
                  <a:noFill/>
                </a:ln>
                <a:solidFill>
                  <a:srgbClr val="000000"/>
                </a:solidFill>
                <a:effectLst/>
                <a:uLnTx/>
                <a:uFillTx/>
                <a:latin typeface="EYInterstate Light" pitchFamily="2" charset="0"/>
                <a:ea typeface="+mn-ea"/>
                <a:cs typeface="Arial" charset="0"/>
              </a:rPr>
              <a:t>Order of priority</a:t>
            </a:r>
          </a:p>
        </p:txBody>
      </p:sp>
      <p:sp>
        <p:nvSpPr>
          <p:cNvPr id="139" name="Rectangle 138">
            <a:extLst>
              <a:ext uri="{FF2B5EF4-FFF2-40B4-BE49-F238E27FC236}">
                <a16:creationId xmlns:a16="http://schemas.microsoft.com/office/drawing/2014/main" id="{839281BD-A26F-4D8D-BFBF-A4E3E3B699AC}"/>
              </a:ext>
            </a:extLst>
          </p:cNvPr>
          <p:cNvSpPr/>
          <p:nvPr/>
        </p:nvSpPr>
        <p:spPr>
          <a:xfrm>
            <a:off x="5472863" y="1734663"/>
            <a:ext cx="436338" cy="231923"/>
          </a:xfrm>
          <a:prstGeom prst="rect">
            <a:avLst/>
          </a:prstGeom>
        </p:spPr>
        <p:txBody>
          <a:bodyPr wrap="none">
            <a:sp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907"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High</a:t>
            </a:r>
            <a:endParaRPr kumimoji="0" lang="en-US" sz="907"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endParaRPr>
          </a:p>
        </p:txBody>
      </p:sp>
      <p:sp>
        <p:nvSpPr>
          <p:cNvPr id="140" name="Rectangle 139">
            <a:extLst>
              <a:ext uri="{FF2B5EF4-FFF2-40B4-BE49-F238E27FC236}">
                <a16:creationId xmlns:a16="http://schemas.microsoft.com/office/drawing/2014/main" id="{E8A59BD1-3B90-4AF9-8293-90FF0861E4F9}"/>
              </a:ext>
            </a:extLst>
          </p:cNvPr>
          <p:cNvSpPr/>
          <p:nvPr/>
        </p:nvSpPr>
        <p:spPr>
          <a:xfrm>
            <a:off x="10938058" y="5542747"/>
            <a:ext cx="436338" cy="231923"/>
          </a:xfrm>
          <a:prstGeom prst="rect">
            <a:avLst/>
          </a:prstGeom>
        </p:spPr>
        <p:txBody>
          <a:bodyPr wrap="none">
            <a:spAutoFit/>
          </a:bodyPr>
          <a:lstStyle/>
          <a:p>
            <a:pPr marL="0" marR="0" lvl="0" indent="0" algn="l" defTabSz="829361" rtl="0" eaLnBrk="1" fontAlgn="base" latinLnBrk="0" hangingPunct="1">
              <a:lnSpc>
                <a:spcPct val="100000"/>
              </a:lnSpc>
              <a:spcBef>
                <a:spcPct val="0"/>
              </a:spcBef>
              <a:spcAft>
                <a:spcPct val="50000"/>
              </a:spcAft>
              <a:buClr>
                <a:srgbClr val="FFE600"/>
              </a:buClr>
              <a:buSzPct val="80000"/>
              <a:buFontTx/>
              <a:buNone/>
              <a:tabLst/>
              <a:defRPr/>
            </a:pPr>
            <a:r>
              <a:rPr kumimoji="0" lang="en-US" sz="907" b="1" i="0" u="none" strike="noStrike" kern="0" cap="none" spc="0" normalizeH="0" baseline="0" noProof="0">
                <a:ln>
                  <a:noFill/>
                </a:ln>
                <a:solidFill>
                  <a:srgbClr val="000000"/>
                </a:solidFill>
                <a:effectLst/>
                <a:uLnTx/>
                <a:uFillTx/>
                <a:latin typeface="EYInterstate" panose="02000503020000020004" pitchFamily="2" charset="0"/>
                <a:ea typeface="+mn-ea"/>
                <a:cs typeface="Arial"/>
              </a:rPr>
              <a:t>High</a:t>
            </a:r>
            <a:endParaRPr kumimoji="0" lang="en-US" sz="907"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endParaRPr>
          </a:p>
        </p:txBody>
      </p:sp>
      <p:sp>
        <p:nvSpPr>
          <p:cNvPr id="157" name="Rectangle 156">
            <a:extLst>
              <a:ext uri="{FF2B5EF4-FFF2-40B4-BE49-F238E27FC236}">
                <a16:creationId xmlns:a16="http://schemas.microsoft.com/office/drawing/2014/main" id="{437F6B2D-432D-4FD3-9EDC-8C63F80EDB37}"/>
              </a:ext>
            </a:extLst>
          </p:cNvPr>
          <p:cNvSpPr/>
          <p:nvPr/>
        </p:nvSpPr>
        <p:spPr>
          <a:xfrm>
            <a:off x="5238021" y="1985739"/>
            <a:ext cx="1266397" cy="755335"/>
          </a:xfrm>
          <a:prstGeom prst="rect">
            <a:avLst/>
          </a:prstGeom>
        </p:spPr>
        <p:txBody>
          <a:bodyPr wrap="square">
            <a:spAutoFit/>
          </a:bodyPr>
          <a:lstStyle/>
          <a:p>
            <a:pPr marL="0" marR="0" lvl="0" indent="0" algn="l" defTabSz="914240" rtl="0" eaLnBrk="1" fontAlgn="base" latinLnBrk="0" hangingPunct="1">
              <a:lnSpc>
                <a:spcPct val="100000"/>
              </a:lnSpc>
              <a:spcBef>
                <a:spcPts val="100"/>
              </a:spcBef>
              <a:spcAft>
                <a:spcPts val="100"/>
              </a:spcAft>
              <a:buClr>
                <a:srgbClr val="808080">
                  <a:lumMod val="50000"/>
                </a:srgbClr>
              </a:buClr>
              <a:buSzPct val="70000"/>
              <a:buFontTx/>
              <a:buNone/>
              <a:tabLst/>
              <a:defRPr/>
            </a:pPr>
            <a:r>
              <a:rPr kumimoji="0" lang="en-AU" sz="952" b="0" i="0" u="none" strike="noStrike" kern="1200" cap="none" spc="0" normalizeH="0" baseline="0" noProof="0">
                <a:ln>
                  <a:noFill/>
                </a:ln>
                <a:solidFill>
                  <a:srgbClr val="808080">
                    <a:lumMod val="50000"/>
                  </a:srgbClr>
                </a:solidFill>
                <a:effectLst/>
                <a:uLnTx/>
                <a:uFillTx/>
                <a:latin typeface="EYInterstate Light" pitchFamily="2" charset="0"/>
                <a:ea typeface="+mn-ea"/>
                <a:cs typeface="Arial" charset="0"/>
              </a:rPr>
              <a:t>- Revenue uplift</a:t>
            </a:r>
          </a:p>
          <a:p>
            <a:pPr marL="0" marR="0" lvl="0" indent="0" algn="l" defTabSz="914240" rtl="0" eaLnBrk="1" fontAlgn="base" latinLnBrk="0" hangingPunct="1">
              <a:lnSpc>
                <a:spcPct val="100000"/>
              </a:lnSpc>
              <a:spcBef>
                <a:spcPts val="100"/>
              </a:spcBef>
              <a:spcAft>
                <a:spcPts val="100"/>
              </a:spcAft>
              <a:buClr>
                <a:srgbClr val="808080">
                  <a:lumMod val="50000"/>
                </a:srgbClr>
              </a:buClr>
              <a:buSzPct val="70000"/>
              <a:buFontTx/>
              <a:buNone/>
              <a:tabLst/>
              <a:defRPr/>
            </a:pPr>
            <a:r>
              <a:rPr kumimoji="0" lang="en-AU" sz="952" b="0" i="0" u="none" strike="noStrike" kern="1200" cap="none" spc="0" normalizeH="0" baseline="0" noProof="0">
                <a:ln>
                  <a:noFill/>
                </a:ln>
                <a:solidFill>
                  <a:srgbClr val="808080">
                    <a:lumMod val="50000"/>
                  </a:srgbClr>
                </a:solidFill>
                <a:effectLst/>
                <a:uLnTx/>
                <a:uFillTx/>
                <a:latin typeface="EYInterstate Light" pitchFamily="2" charset="0"/>
                <a:ea typeface="+mn-ea"/>
                <a:cs typeface="Arial" charset="0"/>
              </a:rPr>
              <a:t>- Conversion ratio</a:t>
            </a:r>
          </a:p>
          <a:p>
            <a:pPr marL="0" marR="0" lvl="0" indent="0" algn="l" defTabSz="914240" rtl="0" eaLnBrk="1" fontAlgn="base" latinLnBrk="0" hangingPunct="1">
              <a:lnSpc>
                <a:spcPct val="100000"/>
              </a:lnSpc>
              <a:spcBef>
                <a:spcPts val="100"/>
              </a:spcBef>
              <a:spcAft>
                <a:spcPts val="100"/>
              </a:spcAft>
              <a:buClr>
                <a:srgbClr val="808080">
                  <a:lumMod val="50000"/>
                </a:srgbClr>
              </a:buClr>
              <a:buSzPct val="70000"/>
              <a:buFontTx/>
              <a:buNone/>
              <a:tabLst/>
              <a:defRPr/>
            </a:pPr>
            <a:r>
              <a:rPr kumimoji="0" lang="en-AU" sz="952" b="0" i="0" u="none" strike="noStrike" kern="1200" cap="none" spc="0" normalizeH="0" baseline="0" noProof="0">
                <a:ln>
                  <a:noFill/>
                </a:ln>
                <a:solidFill>
                  <a:srgbClr val="808080">
                    <a:lumMod val="50000"/>
                  </a:srgbClr>
                </a:solidFill>
                <a:effectLst/>
                <a:uLnTx/>
                <a:uFillTx/>
                <a:latin typeface="EYInterstate Light" pitchFamily="2" charset="0"/>
                <a:ea typeface="+mn-ea"/>
                <a:cs typeface="Arial" charset="0"/>
              </a:rPr>
              <a:t>- Xsell and upsell</a:t>
            </a:r>
          </a:p>
          <a:p>
            <a:pPr marL="0" marR="0" lvl="0" indent="0" algn="l" defTabSz="914240" rtl="0" eaLnBrk="1" fontAlgn="base" latinLnBrk="0" hangingPunct="1">
              <a:lnSpc>
                <a:spcPct val="100000"/>
              </a:lnSpc>
              <a:spcBef>
                <a:spcPts val="100"/>
              </a:spcBef>
              <a:spcAft>
                <a:spcPts val="100"/>
              </a:spcAft>
              <a:buClr>
                <a:srgbClr val="808080">
                  <a:lumMod val="50000"/>
                </a:srgbClr>
              </a:buClr>
              <a:buSzPct val="70000"/>
              <a:buFontTx/>
              <a:buNone/>
              <a:tabLst/>
              <a:defRPr/>
            </a:pPr>
            <a:r>
              <a:rPr kumimoji="0" lang="en-AU" sz="952" b="0" i="0" u="none" strike="noStrike" kern="1200" cap="none" spc="0" normalizeH="0" baseline="0" noProof="0">
                <a:ln>
                  <a:noFill/>
                </a:ln>
                <a:solidFill>
                  <a:srgbClr val="808080">
                    <a:lumMod val="50000"/>
                  </a:srgbClr>
                </a:solidFill>
                <a:effectLst/>
                <a:uLnTx/>
                <a:uFillTx/>
                <a:latin typeface="EYInterstate Light" pitchFamily="2" charset="0"/>
                <a:ea typeface="+mn-ea"/>
                <a:cs typeface="Arial" charset="0"/>
              </a:rPr>
              <a:t>- Retention</a:t>
            </a:r>
            <a:endParaRPr kumimoji="0" lang="en-US" sz="952" b="0" i="0" u="none" strike="noStrike" kern="1200" cap="none" spc="0" normalizeH="0" baseline="0" noProof="0">
              <a:ln>
                <a:noFill/>
              </a:ln>
              <a:solidFill>
                <a:srgbClr val="808080">
                  <a:lumMod val="50000"/>
                </a:srgbClr>
              </a:solidFill>
              <a:effectLst/>
              <a:uLnTx/>
              <a:uFillTx/>
              <a:latin typeface="EYInterstate Light" pitchFamily="2" charset="0"/>
              <a:ea typeface="+mn-ea"/>
              <a:cs typeface="Arial" charset="0"/>
            </a:endParaRPr>
          </a:p>
        </p:txBody>
      </p:sp>
      <p:sp>
        <p:nvSpPr>
          <p:cNvPr id="6" name="Rectangle 5">
            <a:extLst>
              <a:ext uri="{FF2B5EF4-FFF2-40B4-BE49-F238E27FC236}">
                <a16:creationId xmlns:a16="http://schemas.microsoft.com/office/drawing/2014/main" id="{9D24A629-E0A7-4C0F-AB13-29B657012140}"/>
              </a:ext>
            </a:extLst>
          </p:cNvPr>
          <p:cNvSpPr/>
          <p:nvPr/>
        </p:nvSpPr>
        <p:spPr>
          <a:xfrm>
            <a:off x="9204040" y="2832787"/>
            <a:ext cx="1846681" cy="738664"/>
          </a:xfrm>
          <a:prstGeom prst="rect">
            <a:avLst/>
          </a:prstGeom>
        </p:spPr>
        <p:txBody>
          <a:bodyPr wrap="square">
            <a:spAutoFit/>
          </a:bodyPr>
          <a:lstStyle/>
          <a:p>
            <a:r>
              <a:rPr lang="en-AU" sz="1050" i="1">
                <a:solidFill>
                  <a:srgbClr val="808080">
                    <a:lumMod val="50000"/>
                  </a:srgbClr>
                </a:solidFill>
                <a:latin typeface="EYInterstate" panose="02000503020000020004" pitchFamily="2" charset="0"/>
              </a:rPr>
              <a:t>use cases that have a significant impact on</a:t>
            </a:r>
          </a:p>
          <a:p>
            <a:pPr marL="171450" indent="-171450">
              <a:buFontTx/>
              <a:buChar char="-"/>
            </a:pPr>
            <a:r>
              <a:rPr lang="en-AU" sz="1050" i="1">
                <a:solidFill>
                  <a:srgbClr val="808080">
                    <a:lumMod val="50000"/>
                  </a:srgbClr>
                </a:solidFill>
                <a:latin typeface="EYInterstate" panose="02000503020000020004" pitchFamily="2" charset="0"/>
              </a:rPr>
              <a:t>Customer experience</a:t>
            </a:r>
          </a:p>
          <a:p>
            <a:pPr marL="171450" indent="-171450">
              <a:buFontTx/>
              <a:buChar char="-"/>
            </a:pPr>
            <a:r>
              <a:rPr lang="en-AU" sz="1050" i="1">
                <a:solidFill>
                  <a:srgbClr val="808080">
                    <a:lumMod val="50000"/>
                  </a:srgbClr>
                </a:solidFill>
                <a:latin typeface="EYInterstate" panose="02000503020000020004" pitchFamily="2" charset="0"/>
              </a:rPr>
              <a:t> business value</a:t>
            </a:r>
            <a:endParaRPr lang="en-US" sz="1400" i="1"/>
          </a:p>
        </p:txBody>
      </p:sp>
      <p:sp>
        <p:nvSpPr>
          <p:cNvPr id="61" name="Rectangle 60">
            <a:extLst>
              <a:ext uri="{FF2B5EF4-FFF2-40B4-BE49-F238E27FC236}">
                <a16:creationId xmlns:a16="http://schemas.microsoft.com/office/drawing/2014/main" id="{D355DC93-44CA-4597-99FB-079095692DE6}"/>
              </a:ext>
            </a:extLst>
          </p:cNvPr>
          <p:cNvSpPr/>
          <p:nvPr/>
        </p:nvSpPr>
        <p:spPr>
          <a:xfrm>
            <a:off x="8969551" y="4627296"/>
            <a:ext cx="2127218" cy="577081"/>
          </a:xfrm>
          <a:prstGeom prst="rect">
            <a:avLst/>
          </a:prstGeom>
        </p:spPr>
        <p:txBody>
          <a:bodyPr wrap="square">
            <a:spAutoFit/>
          </a:bodyPr>
          <a:lstStyle/>
          <a:p>
            <a:r>
              <a:rPr lang="en-AU" sz="1050" i="1">
                <a:solidFill>
                  <a:srgbClr val="808080">
                    <a:lumMod val="50000"/>
                  </a:srgbClr>
                </a:solidFill>
                <a:latin typeface="EYInterstate" panose="02000503020000020004" pitchFamily="2" charset="0"/>
              </a:rPr>
              <a:t>use cases that have a direct impact on business value through increased profitability </a:t>
            </a:r>
            <a:endParaRPr lang="en-US" sz="1400" i="1"/>
          </a:p>
        </p:txBody>
      </p:sp>
      <p:sp>
        <p:nvSpPr>
          <p:cNvPr id="63" name="Rectangle 62">
            <a:extLst>
              <a:ext uri="{FF2B5EF4-FFF2-40B4-BE49-F238E27FC236}">
                <a16:creationId xmlns:a16="http://schemas.microsoft.com/office/drawing/2014/main" id="{EB2DF881-9239-40C5-A518-625292A5E9D4}"/>
              </a:ext>
            </a:extLst>
          </p:cNvPr>
          <p:cNvSpPr/>
          <p:nvPr/>
        </p:nvSpPr>
        <p:spPr>
          <a:xfrm>
            <a:off x="6504418" y="2258060"/>
            <a:ext cx="2197399" cy="577081"/>
          </a:xfrm>
          <a:prstGeom prst="rect">
            <a:avLst/>
          </a:prstGeom>
        </p:spPr>
        <p:txBody>
          <a:bodyPr wrap="square">
            <a:spAutoFit/>
          </a:bodyPr>
          <a:lstStyle/>
          <a:p>
            <a:r>
              <a:rPr lang="en-US" sz="1050" i="1">
                <a:solidFill>
                  <a:srgbClr val="808080">
                    <a:lumMod val="50000"/>
                  </a:srgbClr>
                </a:solidFill>
                <a:latin typeface="EYInterstate" panose="02000503020000020004" pitchFamily="2" charset="0"/>
              </a:rPr>
              <a:t>use cases that optimize current set of business processes while being easy to implement</a:t>
            </a:r>
            <a:endParaRPr lang="en-US" sz="1400" i="1"/>
          </a:p>
        </p:txBody>
      </p:sp>
      <p:sp>
        <p:nvSpPr>
          <p:cNvPr id="65" name="Chevron 26">
            <a:extLst>
              <a:ext uri="{FF2B5EF4-FFF2-40B4-BE49-F238E27FC236}">
                <a16:creationId xmlns:a16="http://schemas.microsoft.com/office/drawing/2014/main" id="{4914A4AA-0676-4E03-8B8F-F4AB5393DFB4}"/>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a:solidFill>
                  <a:schemeClr val="bg2"/>
                </a:solidFill>
                <a:latin typeface="EYInterstate"/>
                <a:sym typeface="EYInterstate Light" panose="02000506000000020004" pitchFamily="2" charset="0"/>
              </a:rPr>
              <a:t>Framework</a:t>
            </a:r>
          </a:p>
        </p:txBody>
      </p:sp>
    </p:spTree>
    <p:extLst>
      <p:ext uri="{BB962C8B-B14F-4D97-AF65-F5344CB8AC3E}">
        <p14:creationId xmlns:p14="http://schemas.microsoft.com/office/powerpoint/2010/main" val="22513380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35529"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sz="2180"/>
              <a:t>Use-cases would be identified using our Data &amp; Analytics use-case libraries while prioritizing based on our Value, Impact &amp; Complexity based framework</a:t>
            </a:r>
          </a:p>
        </p:txBody>
      </p:sp>
      <p:sp>
        <p:nvSpPr>
          <p:cNvPr id="146" name="TextBox 145">
            <a:extLst>
              <a:ext uri="{FF2B5EF4-FFF2-40B4-BE49-F238E27FC236}">
                <a16:creationId xmlns:a16="http://schemas.microsoft.com/office/drawing/2014/main" id="{5E5B7301-E0D7-43A1-8033-79E59BB59102}"/>
              </a:ext>
            </a:extLst>
          </p:cNvPr>
          <p:cNvSpPr txBox="1"/>
          <p:nvPr/>
        </p:nvSpPr>
        <p:spPr>
          <a:xfrm>
            <a:off x="849093" y="1247653"/>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Inputs</a:t>
            </a:r>
          </a:p>
        </p:txBody>
      </p:sp>
      <p:sp>
        <p:nvSpPr>
          <p:cNvPr id="147" name="TextBox 146">
            <a:extLst>
              <a:ext uri="{FF2B5EF4-FFF2-40B4-BE49-F238E27FC236}">
                <a16:creationId xmlns:a16="http://schemas.microsoft.com/office/drawing/2014/main" id="{7652C7A2-374E-45CC-8DFA-0F2B70F41908}"/>
              </a:ext>
            </a:extLst>
          </p:cNvPr>
          <p:cNvSpPr txBox="1"/>
          <p:nvPr/>
        </p:nvSpPr>
        <p:spPr>
          <a:xfrm>
            <a:off x="3855238" y="1247653"/>
            <a:ext cx="4572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Process</a:t>
            </a:r>
          </a:p>
        </p:txBody>
      </p:sp>
      <p:sp>
        <p:nvSpPr>
          <p:cNvPr id="148" name="TextBox 147">
            <a:extLst>
              <a:ext uri="{FF2B5EF4-FFF2-40B4-BE49-F238E27FC236}">
                <a16:creationId xmlns:a16="http://schemas.microsoft.com/office/drawing/2014/main" id="{75166EDB-7795-4686-A355-47297C332ED8}"/>
              </a:ext>
            </a:extLst>
          </p:cNvPr>
          <p:cNvSpPr txBox="1"/>
          <p:nvPr/>
        </p:nvSpPr>
        <p:spPr>
          <a:xfrm>
            <a:off x="9380050" y="1247652"/>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EYInterstate"/>
              </a:rPr>
              <a:t>O</a:t>
            </a:r>
            <a:r>
              <a:rPr kumimoji="0" lang="en-US" sz="1200" b="1" i="0" u="none" strike="noStrike" kern="0" cap="none" spc="0" normalizeH="0" baseline="0" noProof="0" err="1">
                <a:ln>
                  <a:noFill/>
                </a:ln>
                <a:solidFill>
                  <a:srgbClr val="FFFFFF"/>
                </a:solidFill>
                <a:effectLst/>
                <a:uLnTx/>
                <a:uFillTx/>
                <a:latin typeface="EYInterstate"/>
                <a:cs typeface="Arial" charset="0"/>
              </a:rPr>
              <a:t>utputs</a:t>
            </a:r>
            <a:endParaRPr kumimoji="0" lang="en-US" sz="1200" b="1" i="0" u="none" strike="noStrike" kern="0" cap="none" spc="0" normalizeH="0" baseline="0" noProof="0">
              <a:ln>
                <a:noFill/>
              </a:ln>
              <a:solidFill>
                <a:srgbClr val="FFFFFF"/>
              </a:solidFill>
              <a:effectLst/>
              <a:uLnTx/>
              <a:uFillTx/>
              <a:latin typeface="EYInterstate"/>
              <a:cs typeface="Arial" charset="0"/>
            </a:endParaRPr>
          </a:p>
        </p:txBody>
      </p:sp>
      <p:sp>
        <p:nvSpPr>
          <p:cNvPr id="149" name="TextBox 148">
            <a:extLst>
              <a:ext uri="{FF2B5EF4-FFF2-40B4-BE49-F238E27FC236}">
                <a16:creationId xmlns:a16="http://schemas.microsoft.com/office/drawing/2014/main" id="{D534D60A-1CC6-405D-B904-771044A0B1E3}"/>
              </a:ext>
            </a:extLst>
          </p:cNvPr>
          <p:cNvSpPr txBox="1"/>
          <p:nvPr/>
        </p:nvSpPr>
        <p:spPr>
          <a:xfrm>
            <a:off x="3878228" y="4789000"/>
            <a:ext cx="4572000" cy="82296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5: Develop </a:t>
            </a:r>
            <a:r>
              <a:rPr lang="en-US" sz="1100">
                <a:solidFill>
                  <a:srgbClr val="000000"/>
                </a:solidFill>
                <a:latin typeface="EYInterstate"/>
              </a:rPr>
              <a:t>use-case Identification &amp; Prioritization </a:t>
            </a:r>
            <a:r>
              <a:rPr kumimoji="0" lang="en-US" sz="1100" b="1" i="0" u="none" strike="noStrike" kern="0" cap="none" spc="0" normalizeH="0" baseline="0" noProof="0">
                <a:ln>
                  <a:noFill/>
                </a:ln>
                <a:solidFill>
                  <a:srgbClr val="000000"/>
                </a:solidFill>
                <a:effectLst/>
                <a:uLnTx/>
                <a:uFillTx/>
                <a:latin typeface="EYInterstate"/>
                <a:cs typeface="Arial" charset="0"/>
              </a:rPr>
              <a:t>Report </a:t>
            </a:r>
            <a:r>
              <a:rPr kumimoji="0" lang="en-US" sz="1100" b="0" i="0" u="none" strike="noStrike" kern="0" cap="none" spc="0" normalizeH="0" baseline="0" noProof="0">
                <a:ln>
                  <a:noFill/>
                </a:ln>
                <a:solidFill>
                  <a:srgbClr val="000000"/>
                </a:solidFill>
                <a:effectLst/>
                <a:uLnTx/>
                <a:uFillTx/>
                <a:latin typeface="EYInterstate"/>
                <a:cs typeface="Arial" charset="0"/>
              </a:rPr>
              <a:t>that will be used to facilitate the </a:t>
            </a:r>
            <a:r>
              <a:rPr lang="en-US" sz="1100" b="0">
                <a:solidFill>
                  <a:srgbClr val="000000"/>
                </a:solidFill>
                <a:latin typeface="EYInterstate"/>
              </a:rPr>
              <a:t>implementation of selected use-cases by AIAT</a:t>
            </a:r>
            <a:endParaRPr kumimoji="0" lang="en-US" sz="1100" b="0" i="0" u="none" strike="noStrike" kern="1200" cap="none" spc="0" normalizeH="0" baseline="0" noProof="0">
              <a:ln>
                <a:noFill/>
              </a:ln>
              <a:solidFill>
                <a:srgbClr val="000000"/>
              </a:solidFill>
              <a:effectLst/>
              <a:uLnTx/>
              <a:uFillTx/>
              <a:latin typeface="EYInterstate Light" panose="02000506000000020004" pitchFamily="2" charset="0"/>
              <a:cs typeface="Arial" charset="0"/>
            </a:endParaRPr>
          </a:p>
        </p:txBody>
      </p:sp>
      <p:sp>
        <p:nvSpPr>
          <p:cNvPr id="150" name="TextBox 149">
            <a:extLst>
              <a:ext uri="{FF2B5EF4-FFF2-40B4-BE49-F238E27FC236}">
                <a16:creationId xmlns:a16="http://schemas.microsoft.com/office/drawing/2014/main" id="{CDB845D0-6A9D-4473-AC48-610FFF1D4474}"/>
              </a:ext>
            </a:extLst>
          </p:cNvPr>
          <p:cNvSpPr txBox="1"/>
          <p:nvPr/>
        </p:nvSpPr>
        <p:spPr>
          <a:xfrm>
            <a:off x="3864474" y="2412313"/>
            <a:ext cx="4572000" cy="599677"/>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lvl="1">
              <a:defRPr/>
            </a:pPr>
            <a:r>
              <a:rPr kumimoji="0" lang="en-US" sz="1100" b="1" i="0" u="none" strike="noStrike" kern="0" cap="none" spc="0" normalizeH="0" baseline="0" noProof="0">
                <a:ln>
                  <a:noFill/>
                </a:ln>
                <a:solidFill>
                  <a:srgbClr val="000000"/>
                </a:solidFill>
                <a:effectLst/>
                <a:uLnTx/>
                <a:uFillTx/>
                <a:latin typeface="EYInterstate"/>
                <a:cs typeface="Arial" charset="0"/>
              </a:rPr>
              <a:t>Step 2: </a:t>
            </a:r>
            <a:r>
              <a:rPr lang="en-US" sz="1100">
                <a:solidFill>
                  <a:srgbClr val="000000"/>
                </a:solidFill>
                <a:latin typeface="EYInterstate"/>
              </a:rPr>
              <a:t>Organize and run workshops with business teams </a:t>
            </a:r>
            <a:r>
              <a:rPr lang="en-US" sz="1100" b="0">
                <a:solidFill>
                  <a:srgbClr val="000000"/>
                </a:solidFill>
                <a:latin typeface="EYInterstate"/>
              </a:rPr>
              <a:t>to understand the activities performed across the information environment to come up with a list of prioritized use cases</a:t>
            </a:r>
            <a:endParaRPr kumimoji="0" lang="en-US" sz="1100" b="0" i="0" u="none" strike="noStrike" kern="0" cap="none" spc="0" normalizeH="0" baseline="0" noProof="0">
              <a:ln>
                <a:noFill/>
              </a:ln>
              <a:solidFill>
                <a:srgbClr val="000000"/>
              </a:solidFill>
              <a:effectLst/>
              <a:uLnTx/>
              <a:uFillTx/>
              <a:latin typeface="EYInterstate"/>
              <a:cs typeface="Arial" charset="0"/>
            </a:endParaRPr>
          </a:p>
        </p:txBody>
      </p:sp>
      <p:sp>
        <p:nvSpPr>
          <p:cNvPr id="151" name="Isosceles Triangle 112">
            <a:extLst>
              <a:ext uri="{FF2B5EF4-FFF2-40B4-BE49-F238E27FC236}">
                <a16:creationId xmlns:a16="http://schemas.microsoft.com/office/drawing/2014/main" id="{2F2AAA87-F6CF-45AA-B483-8297309146DC}"/>
              </a:ext>
            </a:extLst>
          </p:cNvPr>
          <p:cNvSpPr/>
          <p:nvPr/>
        </p:nvSpPr>
        <p:spPr>
          <a:xfrm rot="5400000">
            <a:off x="7029644" y="3387067"/>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2" name="Isosceles Triangle 112">
            <a:extLst>
              <a:ext uri="{FF2B5EF4-FFF2-40B4-BE49-F238E27FC236}">
                <a16:creationId xmlns:a16="http://schemas.microsoft.com/office/drawing/2014/main" id="{9695B018-2E94-44CC-8B5A-D596E2C3F8FF}"/>
              </a:ext>
            </a:extLst>
          </p:cNvPr>
          <p:cNvSpPr/>
          <p:nvPr/>
        </p:nvSpPr>
        <p:spPr>
          <a:xfrm rot="5400000">
            <a:off x="1770450" y="3387067"/>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3" name="TextBox 152">
            <a:extLst>
              <a:ext uri="{FF2B5EF4-FFF2-40B4-BE49-F238E27FC236}">
                <a16:creationId xmlns:a16="http://schemas.microsoft.com/office/drawing/2014/main" id="{7781A19B-B4C7-4A78-9B85-C33659A9505E}"/>
              </a:ext>
            </a:extLst>
          </p:cNvPr>
          <p:cNvSpPr txBox="1"/>
          <p:nvPr/>
        </p:nvSpPr>
        <p:spPr>
          <a:xfrm>
            <a:off x="3864474" y="1745419"/>
            <a:ext cx="4572000" cy="549918"/>
          </a:xfrm>
          <a:prstGeom prst="rect">
            <a:avLst/>
          </a:prstGeom>
          <a:solidFill>
            <a:schemeClr val="tx2">
              <a:lumMod val="95000"/>
            </a:schemeClr>
          </a:solidFill>
          <a:ln>
            <a:noFill/>
          </a:ln>
        </p:spPr>
        <p:txBody>
          <a:bodyPr wrap="square" lIns="101882" tIns="91440" rIns="91440" bIns="50941" rtlCol="0" anchor="ctr" anchorCtr="0">
            <a:noAutofit/>
          </a:bodyPr>
          <a:lstStyle/>
          <a:p>
            <a:pPr marL="449273" marR="0" lvl="1" indent="-449273" algn="l" defTabSz="914400" rtl="0" eaLnBrk="0" fontAlgn="base" latinLnBrk="0" hangingPunct="0">
              <a:lnSpc>
                <a:spcPct val="90000"/>
              </a:lnSpc>
              <a:spcBef>
                <a:spcPts val="669"/>
              </a:spcBef>
              <a:spcAft>
                <a:spcPct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1: Identify the business use-cases </a:t>
            </a:r>
            <a:r>
              <a:rPr lang="en-US" sz="1100" kern="0">
                <a:solidFill>
                  <a:srgbClr val="000000"/>
                </a:solidFill>
                <a:latin typeface="EYInterstate"/>
              </a:rPr>
              <a:t>along with their scope and value proposition to the customer</a:t>
            </a:r>
            <a:endParaRPr kumimoji="0" lang="en-US" sz="1100" b="0" i="0" u="none" strike="noStrike" kern="0" cap="none" spc="0" normalizeH="0" baseline="0" noProof="0">
              <a:ln>
                <a:noFill/>
              </a:ln>
              <a:solidFill>
                <a:srgbClr val="000000"/>
              </a:solidFill>
              <a:effectLst/>
              <a:uLnTx/>
              <a:uFillTx/>
              <a:latin typeface="EYInterstate"/>
              <a:cs typeface="Arial" charset="0"/>
            </a:endParaRPr>
          </a:p>
        </p:txBody>
      </p:sp>
      <p:sp>
        <p:nvSpPr>
          <p:cNvPr id="154" name="TextBox 153">
            <a:extLst>
              <a:ext uri="{FF2B5EF4-FFF2-40B4-BE49-F238E27FC236}">
                <a16:creationId xmlns:a16="http://schemas.microsoft.com/office/drawing/2014/main" id="{3CB9015E-264B-4663-8F3F-02CAB664A359}"/>
              </a:ext>
            </a:extLst>
          </p:cNvPr>
          <p:cNvSpPr txBox="1"/>
          <p:nvPr/>
        </p:nvSpPr>
        <p:spPr>
          <a:xfrm>
            <a:off x="3864474" y="3128964"/>
            <a:ext cx="4572000" cy="73152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ct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3: </a:t>
            </a:r>
            <a:r>
              <a:rPr lang="en-US" sz="1100">
                <a:solidFill>
                  <a:srgbClr val="000000"/>
                </a:solidFill>
                <a:latin typeface="EYInterstate"/>
              </a:rPr>
              <a:t>Identify the corresponding Data related use-case </a:t>
            </a:r>
            <a:r>
              <a:rPr lang="en-US" sz="1100" b="0">
                <a:solidFill>
                  <a:srgbClr val="000000"/>
                </a:solidFill>
                <a:latin typeface="EYInterstate"/>
              </a:rPr>
              <a:t>by mapping to our vast use-case libraries for a quick turn-around</a:t>
            </a:r>
            <a:endParaRPr kumimoji="0" lang="en-US" sz="1100" b="0" i="0" u="none" strike="noStrike" kern="0" cap="none" spc="0" normalizeH="0" baseline="0" noProof="0">
              <a:ln>
                <a:noFill/>
              </a:ln>
              <a:solidFill>
                <a:srgbClr val="000000"/>
              </a:solidFill>
              <a:effectLst/>
              <a:uLnTx/>
              <a:uFillTx/>
              <a:latin typeface="EYInterstate"/>
              <a:cs typeface="Arial" charset="0"/>
            </a:endParaRPr>
          </a:p>
        </p:txBody>
      </p:sp>
      <p:sp>
        <p:nvSpPr>
          <p:cNvPr id="155" name="TextBox 154">
            <a:extLst>
              <a:ext uri="{FF2B5EF4-FFF2-40B4-BE49-F238E27FC236}">
                <a16:creationId xmlns:a16="http://schemas.microsoft.com/office/drawing/2014/main" id="{8E6D95C4-72B3-4A50-B113-6E8D8505955B}"/>
              </a:ext>
            </a:extLst>
          </p:cNvPr>
          <p:cNvSpPr txBox="1"/>
          <p:nvPr/>
        </p:nvSpPr>
        <p:spPr>
          <a:xfrm>
            <a:off x="8967304" y="1631056"/>
            <a:ext cx="3223560" cy="430887"/>
          </a:xfrm>
          <a:prstGeom prst="rect">
            <a:avLst/>
          </a:prstGeom>
        </p:spPr>
        <p:txBody>
          <a:bodyPr wrap="square">
            <a:spAutoFit/>
          </a:bodyPr>
          <a:lstStyle>
            <a:defPPr>
              <a:defRPr lang="en-US"/>
            </a:defPPr>
            <a:lvl1pPr algn="ctr" eaLnBrk="0" hangingPunct="0">
              <a:spcAft>
                <a:spcPct val="0"/>
              </a:spcAft>
              <a:buClrTx/>
              <a:buSzTx/>
              <a:defRPr sz="1100" b="1" kern="0">
                <a:solidFill>
                  <a:srgbClr val="000000"/>
                </a:solidFill>
                <a:latin typeface="EYInterstate"/>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A2AD"/>
                </a:solidFill>
                <a:effectLst/>
                <a:uLnTx/>
                <a:uFillTx/>
                <a:latin typeface="EYInterstate"/>
                <a:cs typeface="Arial" charset="0"/>
              </a:rPr>
              <a:t>Work Product: </a:t>
            </a:r>
            <a:r>
              <a:rPr kumimoji="0" lang="en-US" sz="1100" b="0" i="0" u="none" strike="noStrike" kern="0" cap="none" spc="0" normalizeH="0" baseline="0" noProof="0">
                <a:ln>
                  <a:noFill/>
                </a:ln>
                <a:solidFill>
                  <a:srgbClr val="000000"/>
                </a:solidFill>
                <a:effectLst/>
                <a:uLnTx/>
                <a:uFillTx/>
                <a:latin typeface="EYInterstate"/>
                <a:cs typeface="Arial" charset="0"/>
              </a:rPr>
              <a:t>Use-Case Identification &amp; Prioritization Report</a:t>
            </a:r>
          </a:p>
        </p:txBody>
      </p:sp>
      <p:sp>
        <p:nvSpPr>
          <p:cNvPr id="156" name="Rectangle 155">
            <a:extLst>
              <a:ext uri="{FF2B5EF4-FFF2-40B4-BE49-F238E27FC236}">
                <a16:creationId xmlns:a16="http://schemas.microsoft.com/office/drawing/2014/main" id="{5C97D5A3-5092-409D-90BB-21DFF9F6FC53}"/>
              </a:ext>
            </a:extLst>
          </p:cNvPr>
          <p:cNvSpPr/>
          <p:nvPr/>
        </p:nvSpPr>
        <p:spPr>
          <a:xfrm>
            <a:off x="1034627" y="3166578"/>
            <a:ext cx="1890760"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AIAT’s </a:t>
            </a:r>
            <a:r>
              <a:rPr lang="en-US" sz="1100" b="1" kern="0">
                <a:solidFill>
                  <a:srgbClr val="000000"/>
                </a:solidFill>
                <a:latin typeface="EYInterstate"/>
              </a:rPr>
              <a:t>list of Business Use-Cases</a:t>
            </a:r>
            <a:endParaRPr kumimoji="0" lang="en-US" sz="1100" b="1" i="0" u="none" strike="noStrike" kern="0" cap="none" spc="0" normalizeH="0" baseline="0" noProof="0">
              <a:ln>
                <a:noFill/>
              </a:ln>
              <a:solidFill>
                <a:srgbClr val="000000"/>
              </a:solidFill>
              <a:effectLst/>
              <a:uLnTx/>
              <a:uFillTx/>
              <a:latin typeface="EYInterstate"/>
              <a:cs typeface="Arial" charset="0"/>
            </a:endParaRPr>
          </a:p>
        </p:txBody>
      </p:sp>
      <p:sp>
        <p:nvSpPr>
          <p:cNvPr id="158" name="Rectangle 157">
            <a:extLst>
              <a:ext uri="{FF2B5EF4-FFF2-40B4-BE49-F238E27FC236}">
                <a16:creationId xmlns:a16="http://schemas.microsoft.com/office/drawing/2014/main" id="{340B9055-8199-458E-82ED-DEDF74C39130}"/>
              </a:ext>
            </a:extLst>
          </p:cNvPr>
          <p:cNvSpPr/>
          <p:nvPr/>
        </p:nvSpPr>
        <p:spPr>
          <a:xfrm>
            <a:off x="1004935" y="5226319"/>
            <a:ext cx="1971649"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High-level Program Timelines</a:t>
            </a:r>
          </a:p>
        </p:txBody>
      </p:sp>
      <p:sp>
        <p:nvSpPr>
          <p:cNvPr id="162" name="TextBox 161">
            <a:extLst>
              <a:ext uri="{FF2B5EF4-FFF2-40B4-BE49-F238E27FC236}">
                <a16:creationId xmlns:a16="http://schemas.microsoft.com/office/drawing/2014/main" id="{8BCCFA91-C62B-4AFC-9E86-5C683DB4C972}"/>
              </a:ext>
            </a:extLst>
          </p:cNvPr>
          <p:cNvSpPr txBox="1"/>
          <p:nvPr/>
        </p:nvSpPr>
        <p:spPr>
          <a:xfrm>
            <a:off x="3864474" y="3958982"/>
            <a:ext cx="4572000" cy="73152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4: Prioritize the use-cases </a:t>
            </a:r>
            <a:r>
              <a:rPr kumimoji="0" lang="en-US" sz="1100" i="0" u="none" strike="noStrike" kern="0" cap="none" spc="0" normalizeH="0" baseline="0" noProof="0">
                <a:ln>
                  <a:noFill/>
                </a:ln>
                <a:solidFill>
                  <a:srgbClr val="000000"/>
                </a:solidFill>
                <a:effectLst/>
                <a:uLnTx/>
                <a:uFillTx/>
                <a:latin typeface="EYInterstate"/>
                <a:cs typeface="Arial" charset="0"/>
              </a:rPr>
              <a:t>based on our framework </a:t>
            </a:r>
            <a:r>
              <a:rPr kumimoji="0" lang="en-US" sz="1100" b="0" i="0" u="none" strike="noStrike" kern="0" cap="none" spc="0" normalizeH="0" baseline="0" noProof="0">
                <a:ln>
                  <a:noFill/>
                </a:ln>
                <a:solidFill>
                  <a:srgbClr val="000000"/>
                </a:solidFill>
                <a:effectLst/>
                <a:uLnTx/>
                <a:uFillTx/>
                <a:latin typeface="EYInterstate"/>
                <a:cs typeface="Arial" charset="0"/>
              </a:rPr>
              <a:t>encompassing Business Value, Volume, Customer Impact &amp; Strategic Intent  </a:t>
            </a:r>
            <a:endParaRPr kumimoji="0" lang="it-IT" sz="1100" b="0" i="0" u="none" strike="noStrike" kern="0" cap="none" spc="0" normalizeH="0" baseline="0" noProof="0">
              <a:ln>
                <a:noFill/>
              </a:ln>
              <a:solidFill>
                <a:srgbClr val="000000"/>
              </a:solidFill>
              <a:effectLst/>
              <a:uLnTx/>
              <a:uFillTx/>
              <a:latin typeface="EYInterstate"/>
              <a:cs typeface="Arial" charset="0"/>
            </a:endParaRPr>
          </a:p>
        </p:txBody>
      </p:sp>
      <p:sp>
        <p:nvSpPr>
          <p:cNvPr id="164" name="Rectangle 163">
            <a:extLst>
              <a:ext uri="{FF2B5EF4-FFF2-40B4-BE49-F238E27FC236}">
                <a16:creationId xmlns:a16="http://schemas.microsoft.com/office/drawing/2014/main" id="{18BEB7E2-4CEA-4B16-A0C7-5950138F8079}"/>
              </a:ext>
            </a:extLst>
          </p:cNvPr>
          <p:cNvSpPr/>
          <p:nvPr/>
        </p:nvSpPr>
        <p:spPr>
          <a:xfrm>
            <a:off x="9506995" y="3830320"/>
            <a:ext cx="2014975"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Use-Case Identification &amp; Prioritization Report</a:t>
            </a:r>
          </a:p>
        </p:txBody>
      </p:sp>
      <p:sp>
        <p:nvSpPr>
          <p:cNvPr id="169" name="Rectangle 168">
            <a:extLst>
              <a:ext uri="{FF2B5EF4-FFF2-40B4-BE49-F238E27FC236}">
                <a16:creationId xmlns:a16="http://schemas.microsoft.com/office/drawing/2014/main" id="{C2DEE520-32F2-4571-9C56-961FFAB1B53A}"/>
              </a:ext>
            </a:extLst>
          </p:cNvPr>
          <p:cNvSpPr/>
          <p:nvPr/>
        </p:nvSpPr>
        <p:spPr>
          <a:xfrm>
            <a:off x="9065272" y="4302389"/>
            <a:ext cx="2898423" cy="93871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EYInterstate"/>
                <a:cs typeface="Arial" charset="0"/>
              </a:rPr>
              <a:t>This report will </a:t>
            </a:r>
            <a:r>
              <a:rPr lang="en-US" sz="1100" kern="0">
                <a:solidFill>
                  <a:srgbClr val="000000"/>
                </a:solidFill>
                <a:latin typeface="EYInterstate"/>
              </a:rPr>
              <a:t>identify the different data related use-cases for the relevant business use-cases, while also prioritizing them based on our value, impact and complexity driven framework</a:t>
            </a:r>
            <a:endParaRPr kumimoji="0" lang="en-US" sz="1100" b="0" i="0" u="none" strike="noStrike" kern="0" cap="none" spc="0" normalizeH="0" baseline="0" noProof="0">
              <a:ln>
                <a:noFill/>
              </a:ln>
              <a:solidFill>
                <a:srgbClr val="000000"/>
              </a:solidFill>
              <a:effectLst/>
              <a:uLnTx/>
              <a:uFillTx/>
              <a:latin typeface="EYInterstate"/>
              <a:cs typeface="Arial" charset="0"/>
            </a:endParaRPr>
          </a:p>
        </p:txBody>
      </p:sp>
      <p:sp>
        <p:nvSpPr>
          <p:cNvPr id="176" name="TextBox 175">
            <a:extLst>
              <a:ext uri="{FF2B5EF4-FFF2-40B4-BE49-F238E27FC236}">
                <a16:creationId xmlns:a16="http://schemas.microsoft.com/office/drawing/2014/main" id="{963963BC-DBBB-4467-BFA2-30E897DDB507}"/>
              </a:ext>
            </a:extLst>
          </p:cNvPr>
          <p:cNvSpPr txBox="1"/>
          <p:nvPr/>
        </p:nvSpPr>
        <p:spPr>
          <a:xfrm>
            <a:off x="890987" y="5936424"/>
            <a:ext cx="1221800" cy="472209"/>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EYInterstate"/>
                <a:cs typeface="Arial" charset="0"/>
              </a:rPr>
              <a:t>EY Accelerator:</a:t>
            </a:r>
          </a:p>
        </p:txBody>
      </p:sp>
      <p:sp>
        <p:nvSpPr>
          <p:cNvPr id="177" name="TextBox 176">
            <a:extLst>
              <a:ext uri="{FF2B5EF4-FFF2-40B4-BE49-F238E27FC236}">
                <a16:creationId xmlns:a16="http://schemas.microsoft.com/office/drawing/2014/main" id="{1AC9B613-63E5-40B4-80B9-7032CD10F81C}"/>
              </a:ext>
            </a:extLst>
          </p:cNvPr>
          <p:cNvSpPr txBox="1"/>
          <p:nvPr/>
        </p:nvSpPr>
        <p:spPr>
          <a:xfrm>
            <a:off x="1990758" y="5752631"/>
            <a:ext cx="9675291" cy="895003"/>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endParaRPr kumimoji="0" lang="en-US" sz="1100" b="0" i="0" u="none" strike="noStrike" kern="0" cap="none" spc="0" normalizeH="0" baseline="0" noProof="0">
              <a:ln>
                <a:noFill/>
              </a:ln>
              <a:solidFill>
                <a:srgbClr val="000000"/>
              </a:solidFill>
              <a:effectLst/>
              <a:uLnTx/>
              <a:uFillTx/>
              <a:latin typeface="EYInterstate"/>
              <a:cs typeface="Arial" charset="0"/>
            </a:endParaRPr>
          </a:p>
        </p:txBody>
      </p:sp>
      <p:pic>
        <p:nvPicPr>
          <p:cNvPr id="9" name="Picture 8">
            <a:extLst>
              <a:ext uri="{FF2B5EF4-FFF2-40B4-BE49-F238E27FC236}">
                <a16:creationId xmlns:a16="http://schemas.microsoft.com/office/drawing/2014/main" id="{6CB1EC68-11B5-43FE-9CE8-9DA5528597FA}"/>
              </a:ext>
            </a:extLst>
          </p:cNvPr>
          <p:cNvPicPr>
            <a:picLocks noChangeAspect="1"/>
          </p:cNvPicPr>
          <p:nvPr/>
        </p:nvPicPr>
        <p:blipFill>
          <a:blip r:embed="rId8"/>
          <a:stretch>
            <a:fillRect/>
          </a:stretch>
        </p:blipFill>
        <p:spPr>
          <a:xfrm>
            <a:off x="1213617" y="3989910"/>
            <a:ext cx="1534826" cy="1217382"/>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2" name="Picture 1">
            <a:extLst>
              <a:ext uri="{FF2B5EF4-FFF2-40B4-BE49-F238E27FC236}">
                <a16:creationId xmlns:a16="http://schemas.microsoft.com/office/drawing/2014/main" id="{178E84DC-AAA1-4F8C-91BE-0DC37089F9FD}"/>
              </a:ext>
            </a:extLst>
          </p:cNvPr>
          <p:cNvPicPr>
            <a:picLocks noChangeAspect="1"/>
          </p:cNvPicPr>
          <p:nvPr/>
        </p:nvPicPr>
        <p:blipFill>
          <a:blip r:embed="rId9"/>
          <a:stretch>
            <a:fillRect/>
          </a:stretch>
        </p:blipFill>
        <p:spPr>
          <a:xfrm>
            <a:off x="2112787" y="5872878"/>
            <a:ext cx="1407690" cy="638618"/>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31" name="Picture 30">
            <a:extLst>
              <a:ext uri="{FF2B5EF4-FFF2-40B4-BE49-F238E27FC236}">
                <a16:creationId xmlns:a16="http://schemas.microsoft.com/office/drawing/2014/main" id="{AFD51764-2E4A-4F03-8F0E-B028463AC5B9}"/>
              </a:ext>
            </a:extLst>
          </p:cNvPr>
          <p:cNvPicPr preferRelativeResize="0">
            <a:picLocks/>
          </p:cNvPicPr>
          <p:nvPr/>
        </p:nvPicPr>
        <p:blipFill>
          <a:blip r:embed="rId10" cstate="hqprint">
            <a:extLst>
              <a:ext uri="{28A0092B-C50C-407E-A947-70E740481C1C}">
                <a14:useLocalDpi xmlns:a14="http://schemas.microsoft.com/office/drawing/2010/main"/>
              </a:ext>
            </a:extLst>
          </a:blip>
          <a:stretch>
            <a:fillRect/>
          </a:stretch>
        </p:blipFill>
        <p:spPr>
          <a:xfrm>
            <a:off x="9065272" y="2199801"/>
            <a:ext cx="2660847" cy="1350000"/>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32" name="Picture 31">
            <a:extLst>
              <a:ext uri="{FF2B5EF4-FFF2-40B4-BE49-F238E27FC236}">
                <a16:creationId xmlns:a16="http://schemas.microsoft.com/office/drawing/2014/main" id="{5997C3F7-F777-482F-B145-EDDB9C69487E}"/>
              </a:ext>
            </a:extLst>
          </p:cNvPr>
          <p:cNvPicPr preferRelativeResize="0">
            <a:picLocks/>
          </p:cNvPicPr>
          <p:nvPr/>
        </p:nvPicPr>
        <p:blipFill>
          <a:blip r:embed="rId11" cstate="hqprint">
            <a:extLst>
              <a:ext uri="{28A0092B-C50C-407E-A947-70E740481C1C}">
                <a14:useLocalDpi xmlns:a14="http://schemas.microsoft.com/office/drawing/2010/main"/>
              </a:ext>
            </a:extLst>
          </a:blip>
          <a:stretch>
            <a:fillRect/>
          </a:stretch>
        </p:blipFill>
        <p:spPr>
          <a:xfrm>
            <a:off x="9515103" y="2433580"/>
            <a:ext cx="2520000" cy="1350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5" name="Chevron 26">
            <a:extLst>
              <a:ext uri="{FF2B5EF4-FFF2-40B4-BE49-F238E27FC236}">
                <a16:creationId xmlns:a16="http://schemas.microsoft.com/office/drawing/2014/main" id="{4F470651-8153-4B4B-B58C-7EA4220EF553}"/>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a:solidFill>
                  <a:schemeClr val="bg2"/>
                </a:solidFill>
                <a:latin typeface="EYInterstate"/>
                <a:sym typeface="EYInterstate Light" panose="02000506000000020004" pitchFamily="2" charset="0"/>
              </a:rPr>
              <a:t>Approach</a:t>
            </a:r>
          </a:p>
        </p:txBody>
      </p:sp>
      <p:grpSp>
        <p:nvGrpSpPr>
          <p:cNvPr id="36" name="Group 35">
            <a:extLst>
              <a:ext uri="{FF2B5EF4-FFF2-40B4-BE49-F238E27FC236}">
                <a16:creationId xmlns:a16="http://schemas.microsoft.com/office/drawing/2014/main" id="{D5B2A61F-C67E-4C05-AA66-AE64456C3FF0}"/>
              </a:ext>
            </a:extLst>
          </p:cNvPr>
          <p:cNvGrpSpPr/>
          <p:nvPr/>
        </p:nvGrpSpPr>
        <p:grpSpPr>
          <a:xfrm>
            <a:off x="5973730" y="5794062"/>
            <a:ext cx="593325" cy="749164"/>
            <a:chOff x="6572886" y="1713065"/>
            <a:chExt cx="2409926" cy="4052088"/>
          </a:xfrm>
        </p:grpSpPr>
        <p:pic>
          <p:nvPicPr>
            <p:cNvPr id="37" name="Picture 36">
              <a:extLst>
                <a:ext uri="{FF2B5EF4-FFF2-40B4-BE49-F238E27FC236}">
                  <a16:creationId xmlns:a16="http://schemas.microsoft.com/office/drawing/2014/main" id="{F1705DD2-4AF0-4D0B-8F77-003C9AC077B6}"/>
                </a:ext>
              </a:extLst>
            </p:cNvPr>
            <p:cNvPicPr>
              <a:picLocks noChangeAspect="1"/>
            </p:cNvPicPr>
            <p:nvPr/>
          </p:nvPicPr>
          <p:blipFill>
            <a:blip r:embed="rId12"/>
            <a:stretch>
              <a:fillRect/>
            </a:stretch>
          </p:blipFill>
          <p:spPr>
            <a:xfrm>
              <a:off x="6572886" y="1713065"/>
              <a:ext cx="2409926" cy="4052088"/>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38" name="Rectangle 37">
              <a:extLst>
                <a:ext uri="{FF2B5EF4-FFF2-40B4-BE49-F238E27FC236}">
                  <a16:creationId xmlns:a16="http://schemas.microsoft.com/office/drawing/2014/main" id="{A7AA2DEA-CE75-43FE-9B8F-6D205584A7A2}"/>
                </a:ext>
              </a:extLst>
            </p:cNvPr>
            <p:cNvSpPr/>
            <p:nvPr/>
          </p:nvSpPr>
          <p:spPr>
            <a:xfrm>
              <a:off x="7004304" y="5047488"/>
              <a:ext cx="182880" cy="136338"/>
            </a:xfrm>
            <a:prstGeom prst="rect">
              <a:avLst/>
            </a:prstGeom>
            <a:solidFill>
              <a:srgbClr val="FFFFFF"/>
            </a:solidFill>
            <a:ln w="9525" cap="flat" cmpd="sng" algn="ctr">
              <a:noFill/>
              <a:prstDash val="solid"/>
            </a:ln>
            <a:effectLst/>
          </p:spPr>
          <p:txBody>
            <a:bodyPr rtlCol="0" anchor="t" anchorCtr="0"/>
            <a:lstStyle/>
            <a:p>
              <a:pPr marL="0" marR="0" lvl="0" indent="0" algn="ctr" defTabSz="104305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39" name="Group 38">
            <a:extLst>
              <a:ext uri="{FF2B5EF4-FFF2-40B4-BE49-F238E27FC236}">
                <a16:creationId xmlns:a16="http://schemas.microsoft.com/office/drawing/2014/main" id="{AC4D765C-956F-4871-9247-F9655F6FA0AD}"/>
              </a:ext>
            </a:extLst>
          </p:cNvPr>
          <p:cNvGrpSpPr/>
          <p:nvPr/>
        </p:nvGrpSpPr>
        <p:grpSpPr>
          <a:xfrm>
            <a:off x="6089181" y="5930609"/>
            <a:ext cx="1041096" cy="531601"/>
            <a:chOff x="7204015" y="5083217"/>
            <a:chExt cx="3232028" cy="1586629"/>
          </a:xfrm>
        </p:grpSpPr>
        <p:pic>
          <p:nvPicPr>
            <p:cNvPr id="40" name="Picture 39">
              <a:extLst>
                <a:ext uri="{FF2B5EF4-FFF2-40B4-BE49-F238E27FC236}">
                  <a16:creationId xmlns:a16="http://schemas.microsoft.com/office/drawing/2014/main" id="{AA072538-B8A3-42A3-A7C9-53376BFB4FAC}"/>
                </a:ext>
              </a:extLst>
            </p:cNvPr>
            <p:cNvPicPr>
              <a:picLocks noChangeAspect="1"/>
            </p:cNvPicPr>
            <p:nvPr/>
          </p:nvPicPr>
          <p:blipFill>
            <a:blip r:embed="rId13"/>
            <a:stretch>
              <a:fillRect/>
            </a:stretch>
          </p:blipFill>
          <p:spPr>
            <a:xfrm>
              <a:off x="7204015" y="5083217"/>
              <a:ext cx="3232028" cy="1586629"/>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41" name="Rectangle 40">
              <a:extLst>
                <a:ext uri="{FF2B5EF4-FFF2-40B4-BE49-F238E27FC236}">
                  <a16:creationId xmlns:a16="http://schemas.microsoft.com/office/drawing/2014/main" id="{1A154F30-14C6-468B-AEEF-754D72FC7489}"/>
                </a:ext>
              </a:extLst>
            </p:cNvPr>
            <p:cNvSpPr/>
            <p:nvPr/>
          </p:nvSpPr>
          <p:spPr>
            <a:xfrm>
              <a:off x="7204015" y="5100552"/>
              <a:ext cx="229266" cy="96579"/>
            </a:xfrm>
            <a:prstGeom prst="rect">
              <a:avLst/>
            </a:prstGeom>
            <a:solidFill>
              <a:srgbClr val="FFFFFF"/>
            </a:solidFill>
            <a:ln w="9525" cap="flat" cmpd="sng" algn="ctr">
              <a:solidFill>
                <a:srgbClr val="808080"/>
              </a:solidFill>
              <a:prstDash val="solid"/>
            </a:ln>
            <a:effectLst/>
          </p:spPr>
          <p:txBody>
            <a:bodyPr rtlCol="0" anchor="t" anchorCtr="0"/>
            <a:lstStyle/>
            <a:p>
              <a:pPr marL="0" marR="0" lvl="0" indent="0" algn="ctr" defTabSz="104305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mn-cs"/>
              </a:endParaRPr>
            </a:p>
          </p:txBody>
        </p:sp>
      </p:grpSp>
      <p:sp>
        <p:nvSpPr>
          <p:cNvPr id="42" name="TextBox 41">
            <a:extLst>
              <a:ext uri="{FF2B5EF4-FFF2-40B4-BE49-F238E27FC236}">
                <a16:creationId xmlns:a16="http://schemas.microsoft.com/office/drawing/2014/main" id="{ED737503-42FC-4C22-AAA5-AD9D3E64260D}"/>
              </a:ext>
            </a:extLst>
          </p:cNvPr>
          <p:cNvSpPr txBox="1"/>
          <p:nvPr/>
        </p:nvSpPr>
        <p:spPr>
          <a:xfrm>
            <a:off x="7220996" y="6031886"/>
            <a:ext cx="1952188" cy="426042"/>
          </a:xfrm>
          <a:prstGeom prst="rect">
            <a:avLst/>
          </a:prstGeom>
          <a:noFill/>
        </p:spPr>
        <p:txBody>
          <a:bodyPr wrap="square" lIns="101882" tIns="50941" rIns="101882" bIns="50941" rtlCol="0" anchor="ctr">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effectLst/>
                <a:uLnTx/>
                <a:uFillTx/>
                <a:latin typeface="EYInterstate"/>
                <a:cs typeface="Arial" charset="0"/>
              </a:rPr>
              <a:t>EY </a:t>
            </a:r>
            <a:r>
              <a:rPr lang="en-US" sz="1050" b="1" kern="0">
                <a:latin typeface="EYInterstate"/>
              </a:rPr>
              <a:t>U</a:t>
            </a:r>
            <a:r>
              <a:rPr kumimoji="0" lang="en-US" sz="1050" b="1" i="0" u="none" strike="noStrike" kern="0" cap="none" spc="0" normalizeH="0" baseline="0" noProof="0">
                <a:ln>
                  <a:noFill/>
                </a:ln>
                <a:effectLst/>
                <a:uLnTx/>
                <a:uFillTx/>
                <a:latin typeface="EYInterstate"/>
                <a:cs typeface="Arial" charset="0"/>
              </a:rPr>
              <a:t>se-case Prioritization Matrix</a:t>
            </a:r>
            <a:endParaRPr kumimoji="0" lang="en-US" sz="1050" b="1" i="0" u="none" strike="noStrike" kern="0" cap="none" spc="0" normalizeH="0" baseline="0" noProof="0">
              <a:ln>
                <a:noFill/>
              </a:ln>
              <a:effectLst/>
              <a:uLnTx/>
              <a:uFillTx/>
              <a:latin typeface="EYInterstate"/>
            </a:endParaRPr>
          </a:p>
        </p:txBody>
      </p:sp>
      <p:sp>
        <p:nvSpPr>
          <p:cNvPr id="43" name="TextBox 42">
            <a:extLst>
              <a:ext uri="{FF2B5EF4-FFF2-40B4-BE49-F238E27FC236}">
                <a16:creationId xmlns:a16="http://schemas.microsoft.com/office/drawing/2014/main" id="{086332ED-0E03-4D0A-A5BE-435891C48B4E}"/>
              </a:ext>
            </a:extLst>
          </p:cNvPr>
          <p:cNvSpPr txBox="1"/>
          <p:nvPr/>
        </p:nvSpPr>
        <p:spPr>
          <a:xfrm>
            <a:off x="3620431" y="6031886"/>
            <a:ext cx="1790077" cy="426042"/>
          </a:xfrm>
          <a:prstGeom prst="rect">
            <a:avLst/>
          </a:prstGeom>
          <a:noFill/>
        </p:spPr>
        <p:txBody>
          <a:bodyPr wrap="square" lIns="101882" tIns="50941" rIns="101882" bIns="50941" rtlCol="0" anchor="ctr">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effectLst/>
                <a:uLnTx/>
                <a:uFillTx/>
                <a:latin typeface="EYInterstate"/>
                <a:cs typeface="Arial" charset="0"/>
              </a:rPr>
              <a:t>EY Data</a:t>
            </a:r>
            <a:r>
              <a:rPr lang="en-US" sz="1050" b="1" kern="0">
                <a:latin typeface="EYInterstate"/>
              </a:rPr>
              <a:t> &amp; Analytics use-case libraries</a:t>
            </a:r>
            <a:endParaRPr kumimoji="0" lang="en-US" sz="1050" b="1" i="0" u="none" strike="noStrike" kern="0" cap="none" spc="0" normalizeH="0" baseline="0" noProof="0">
              <a:ln>
                <a:noFill/>
              </a:ln>
              <a:effectLst/>
              <a:uLnTx/>
              <a:uFillTx/>
              <a:latin typeface="EYInterstate"/>
            </a:endParaRPr>
          </a:p>
        </p:txBody>
      </p:sp>
      <p:grpSp>
        <p:nvGrpSpPr>
          <p:cNvPr id="44" name="Group 43">
            <a:extLst>
              <a:ext uri="{FF2B5EF4-FFF2-40B4-BE49-F238E27FC236}">
                <a16:creationId xmlns:a16="http://schemas.microsoft.com/office/drawing/2014/main" id="{555001EF-DBCC-477B-986C-227BE7E4A3A1}"/>
              </a:ext>
            </a:extLst>
          </p:cNvPr>
          <p:cNvGrpSpPr/>
          <p:nvPr/>
        </p:nvGrpSpPr>
        <p:grpSpPr>
          <a:xfrm>
            <a:off x="10825808" y="1886446"/>
            <a:ext cx="1275262" cy="253916"/>
            <a:chOff x="11862118" y="1197553"/>
            <a:chExt cx="1275262" cy="253916"/>
          </a:xfrm>
        </p:grpSpPr>
        <p:sp>
          <p:nvSpPr>
            <p:cNvPr id="45" name="Rectangle 44">
              <a:extLst>
                <a:ext uri="{FF2B5EF4-FFF2-40B4-BE49-F238E27FC236}">
                  <a16:creationId xmlns:a16="http://schemas.microsoft.com/office/drawing/2014/main" id="{58028EB4-B593-433C-B3BD-80B007B11EA9}"/>
                </a:ext>
              </a:extLst>
            </p:cNvPr>
            <p:cNvSpPr/>
            <p:nvPr/>
          </p:nvSpPr>
          <p:spPr>
            <a:xfrm>
              <a:off x="11928086" y="1197553"/>
              <a:ext cx="1143327" cy="253916"/>
            </a:xfrm>
            <a:prstGeom prst="rect">
              <a:avLst/>
            </a:prstGeom>
          </p:spPr>
          <p:txBody>
            <a:bodyPr wrap="square">
              <a:spAutoFit/>
            </a:bodyPr>
            <a:lstStyle/>
            <a:p>
              <a:pPr algn="ctr"/>
              <a:r>
                <a:rPr lang="en-US" sz="1050">
                  <a:solidFill>
                    <a:srgbClr val="808080">
                      <a:lumMod val="50000"/>
                    </a:srgbClr>
                  </a:solidFill>
                </a:rPr>
                <a:t>ILLUSTRATIVE</a:t>
              </a:r>
              <a:endParaRPr lang="en-US" sz="1050"/>
            </a:p>
          </p:txBody>
        </p:sp>
        <p:cxnSp>
          <p:nvCxnSpPr>
            <p:cNvPr id="46" name="Straight Connector 45">
              <a:extLst>
                <a:ext uri="{FF2B5EF4-FFF2-40B4-BE49-F238E27FC236}">
                  <a16:creationId xmlns:a16="http://schemas.microsoft.com/office/drawing/2014/main" id="{DD0B6F6B-932A-4929-B009-D7CCBA6019AF}"/>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3B1BEE2-90DC-4969-98C4-C85E9B6ABF1D}"/>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4391F3BF-95F6-4684-A0DB-1DE45E76337F}"/>
              </a:ext>
            </a:extLst>
          </p:cNvPr>
          <p:cNvGrpSpPr/>
          <p:nvPr/>
        </p:nvGrpSpPr>
        <p:grpSpPr>
          <a:xfrm>
            <a:off x="1918551" y="1600851"/>
            <a:ext cx="1275262" cy="253916"/>
            <a:chOff x="11862118" y="1197553"/>
            <a:chExt cx="1275262" cy="253916"/>
          </a:xfrm>
        </p:grpSpPr>
        <p:sp>
          <p:nvSpPr>
            <p:cNvPr id="49" name="Rectangle 48">
              <a:extLst>
                <a:ext uri="{FF2B5EF4-FFF2-40B4-BE49-F238E27FC236}">
                  <a16:creationId xmlns:a16="http://schemas.microsoft.com/office/drawing/2014/main" id="{8F1D158B-C371-405B-990D-70E402FAAA0F}"/>
                </a:ext>
              </a:extLst>
            </p:cNvPr>
            <p:cNvSpPr/>
            <p:nvPr/>
          </p:nvSpPr>
          <p:spPr>
            <a:xfrm>
              <a:off x="11928086" y="1197553"/>
              <a:ext cx="1143327" cy="253916"/>
            </a:xfrm>
            <a:prstGeom prst="rect">
              <a:avLst/>
            </a:prstGeom>
          </p:spPr>
          <p:txBody>
            <a:bodyPr wrap="square">
              <a:spAutoFit/>
            </a:bodyPr>
            <a:lstStyle/>
            <a:p>
              <a:pPr algn="ctr"/>
              <a:r>
                <a:rPr lang="en-US" sz="1050">
                  <a:solidFill>
                    <a:srgbClr val="808080">
                      <a:lumMod val="50000"/>
                    </a:srgbClr>
                  </a:solidFill>
                </a:rPr>
                <a:t>ILLUSTRATIVE</a:t>
              </a:r>
              <a:endParaRPr lang="en-US" sz="1050"/>
            </a:p>
          </p:txBody>
        </p:sp>
        <p:cxnSp>
          <p:nvCxnSpPr>
            <p:cNvPr id="50" name="Straight Connector 49">
              <a:extLst>
                <a:ext uri="{FF2B5EF4-FFF2-40B4-BE49-F238E27FC236}">
                  <a16:creationId xmlns:a16="http://schemas.microsoft.com/office/drawing/2014/main" id="{7B92D8E7-2ACB-488E-B58E-D165353774C1}"/>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4818552-0273-4CDA-A054-5812E61B7805}"/>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9E1DFE7E-5C11-4023-A50C-D67737F2253D}"/>
              </a:ext>
            </a:extLst>
          </p:cNvPr>
          <p:cNvGrpSpPr/>
          <p:nvPr/>
        </p:nvGrpSpPr>
        <p:grpSpPr>
          <a:xfrm>
            <a:off x="1918551" y="3691993"/>
            <a:ext cx="1275262" cy="253916"/>
            <a:chOff x="11862118" y="1197553"/>
            <a:chExt cx="1275262" cy="253916"/>
          </a:xfrm>
        </p:grpSpPr>
        <p:sp>
          <p:nvSpPr>
            <p:cNvPr id="53" name="Rectangle 52">
              <a:extLst>
                <a:ext uri="{FF2B5EF4-FFF2-40B4-BE49-F238E27FC236}">
                  <a16:creationId xmlns:a16="http://schemas.microsoft.com/office/drawing/2014/main" id="{6A9C60D1-C003-4320-9265-7DFA7E34155D}"/>
                </a:ext>
              </a:extLst>
            </p:cNvPr>
            <p:cNvSpPr/>
            <p:nvPr/>
          </p:nvSpPr>
          <p:spPr>
            <a:xfrm>
              <a:off x="11928086" y="1197553"/>
              <a:ext cx="1143327" cy="253916"/>
            </a:xfrm>
            <a:prstGeom prst="rect">
              <a:avLst/>
            </a:prstGeom>
          </p:spPr>
          <p:txBody>
            <a:bodyPr wrap="square">
              <a:spAutoFit/>
            </a:bodyPr>
            <a:lstStyle/>
            <a:p>
              <a:pPr algn="ctr"/>
              <a:r>
                <a:rPr lang="en-US" sz="1050">
                  <a:solidFill>
                    <a:srgbClr val="808080">
                      <a:lumMod val="50000"/>
                    </a:srgbClr>
                  </a:solidFill>
                </a:rPr>
                <a:t>ILLUSTRATIVE</a:t>
              </a:r>
              <a:endParaRPr lang="en-US" sz="1050"/>
            </a:p>
          </p:txBody>
        </p:sp>
        <p:cxnSp>
          <p:nvCxnSpPr>
            <p:cNvPr id="54" name="Straight Connector 53">
              <a:extLst>
                <a:ext uri="{FF2B5EF4-FFF2-40B4-BE49-F238E27FC236}">
                  <a16:creationId xmlns:a16="http://schemas.microsoft.com/office/drawing/2014/main" id="{EB239BFE-7F6C-49E2-AD4E-ACC10240DB20}"/>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4680E64-8AFE-41DC-8A07-4F4BCD2CD0E6}"/>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pic>
        <p:nvPicPr>
          <p:cNvPr id="6" name="Picture 5">
            <a:extLst>
              <a:ext uri="{FF2B5EF4-FFF2-40B4-BE49-F238E27FC236}">
                <a16:creationId xmlns:a16="http://schemas.microsoft.com/office/drawing/2014/main" id="{E3303BD8-6A4A-4171-B7F4-D0F98E944C18}"/>
              </a:ext>
            </a:extLst>
          </p:cNvPr>
          <p:cNvPicPr>
            <a:picLocks noChangeAspect="1"/>
          </p:cNvPicPr>
          <p:nvPr/>
        </p:nvPicPr>
        <p:blipFill>
          <a:blip r:embed="rId14"/>
          <a:stretch>
            <a:fillRect/>
          </a:stretch>
        </p:blipFill>
        <p:spPr>
          <a:xfrm>
            <a:off x="1126068" y="1913705"/>
            <a:ext cx="1721498" cy="1226475"/>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Tree>
    <p:extLst>
      <p:ext uri="{BB962C8B-B14F-4D97-AF65-F5344CB8AC3E}">
        <p14:creationId xmlns:p14="http://schemas.microsoft.com/office/powerpoint/2010/main" val="1203372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7E52AA-C23E-4ECC-B609-4D7C8A572265}"/>
              </a:ext>
            </a:extLst>
          </p:cNvPr>
          <p:cNvPicPr>
            <a:picLocks noChangeAspect="1"/>
          </p:cNvPicPr>
          <p:nvPr/>
        </p:nvPicPr>
        <p:blipFill>
          <a:blip r:embed="rId6"/>
          <a:stretch>
            <a:fillRect/>
          </a:stretch>
        </p:blipFill>
        <p:spPr>
          <a:xfrm>
            <a:off x="0" y="1844"/>
            <a:ext cx="12198350" cy="6854311"/>
          </a:xfrm>
          <a:prstGeom prst="rect">
            <a:avLst/>
          </a:prstGeom>
        </p:spPr>
      </p:pic>
      <p:graphicFrame>
        <p:nvGraphicFramePr>
          <p:cNvPr id="2" name="Object 1" hidden="1"/>
          <p:cNvGraphicFramePr>
            <a:graphicFrameLocks/>
          </p:cNvGraphicFramePr>
          <p:nvPr>
            <p:custDataLst>
              <p:tags r:id="rId3"/>
            </p:custDataLst>
          </p:nvPr>
        </p:nvGraphicFramePr>
        <p:xfrm>
          <a:off x="2463223" y="702378"/>
          <a:ext cx="1079" cy="1145"/>
        </p:xfrm>
        <a:graphic>
          <a:graphicData uri="http://schemas.openxmlformats.org/presentationml/2006/ole">
            <mc:AlternateContent xmlns:mc="http://schemas.openxmlformats.org/markup-compatibility/2006">
              <mc:Choice xmlns:v="urn:schemas-microsoft-com:vml" Requires="v">
                <p:oleObj spid="_x0000_s237577"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2463223" y="702378"/>
                        <a:ext cx="1079" cy="1145"/>
                      </a:xfrm>
                      <a:prstGeom prst="rect">
                        <a:avLst/>
                      </a:prstGeom>
                    </p:spPr>
                  </p:pic>
                </p:oleObj>
              </mc:Fallback>
            </mc:AlternateContent>
          </a:graphicData>
        </a:graphic>
      </p:graphicFrame>
      <p:sp>
        <p:nvSpPr>
          <p:cNvPr id="6" name="Freeform 12"/>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marL="0" marR="0" lvl="0" indent="0" algn="ctr" defTabSz="634556" rtl="0" eaLnBrk="1" fontAlgn="base" latinLnBrk="0" hangingPunct="1">
              <a:lnSpc>
                <a:spcPct val="100000"/>
              </a:lnSpc>
              <a:spcBef>
                <a:spcPct val="0"/>
              </a:spcBef>
              <a:spcAft>
                <a:spcPct val="50000"/>
              </a:spcAft>
              <a:buClr>
                <a:srgbClr val="FFE600"/>
              </a:buClr>
              <a:buSzPct val="80000"/>
              <a:buFontTx/>
              <a:buNone/>
              <a:tabLst/>
              <a:defRPr/>
            </a:pPr>
            <a:endParaRPr kumimoji="0" lang="en-US" sz="637"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 name="Text Placeholder 9"/>
          <p:cNvSpPr txBox="1">
            <a:spLocks/>
          </p:cNvSpPr>
          <p:nvPr/>
        </p:nvSpPr>
        <p:spPr bwMode="gray">
          <a:xfrm>
            <a:off x="36029" y="1865549"/>
            <a:ext cx="5147864"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rPr>
              <a:t>3.3 | </a:t>
            </a:r>
            <a:r>
              <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Calibri" panose="020F0502020204030204" pitchFamily="34" charset="0"/>
              </a:rPr>
              <a:t>Our Point of View &amp; Approach</a:t>
            </a:r>
          </a:p>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lang="en-US" sz="1633">
                <a:solidFill>
                  <a:srgbClr val="000000"/>
                </a:solidFill>
                <a:latin typeface="EYInterstate" panose="02000503020000020004" pitchFamily="2" charset="0"/>
                <a:cs typeface="Calibri" panose="020F0502020204030204" pitchFamily="34" charset="0"/>
              </a:rPr>
              <a:t>Data Platform Architecture</a:t>
            </a:r>
            <a:endParaRPr kumimoji="0" lang="en-US" sz="1633" b="1" i="0" u="none" strike="noStrike" kern="1200" cap="none" spc="0" normalizeH="0" baseline="0" noProof="0">
              <a:ln>
                <a:noFill/>
              </a:ln>
              <a:solidFill>
                <a:srgbClr val="000000"/>
              </a:solidFill>
              <a:effectLst/>
              <a:uLnTx/>
              <a:uFillTx/>
              <a:latin typeface="EYInterstate" panose="02000503020000020004" pitchFamily="2" charset="0"/>
              <a:ea typeface="+mn-ea"/>
              <a:cs typeface="Calibri" panose="020F0502020204030204" pitchFamily="34" charset="0"/>
            </a:endParaRPr>
          </a:p>
        </p:txBody>
      </p:sp>
      <p:sp>
        <p:nvSpPr>
          <p:cNvPr id="11" name="Rectangle 10">
            <a:extLst>
              <a:ext uri="{FF2B5EF4-FFF2-40B4-BE49-F238E27FC236}">
                <a16:creationId xmlns:a16="http://schemas.microsoft.com/office/drawing/2014/main" id="{627C101E-12A4-40D6-B470-7487B836B68D}"/>
              </a:ext>
            </a:extLst>
          </p:cNvPr>
          <p:cNvSpPr/>
          <p:nvPr/>
        </p:nvSpPr>
        <p:spPr>
          <a:xfrm>
            <a:off x="8583616" y="-213122"/>
            <a:ext cx="3312045" cy="2529957"/>
          </a:xfrm>
          <a:prstGeom prst="rect">
            <a:avLst/>
          </a:prstGeom>
          <a:noFill/>
        </p:spPr>
        <p:txBody>
          <a:bodyPr wrap="square" lIns="72742" tIns="36370" rIns="72742" bIns="36370">
            <a:spAutoFit/>
          </a:bodyPr>
          <a:lstStyle/>
          <a:p>
            <a:pPr marL="0" marR="0" lvl="0" indent="0" algn="ctr" defTabSz="945990" rtl="0" eaLnBrk="1" fontAlgn="auto" latinLnBrk="0" hangingPunct="1">
              <a:lnSpc>
                <a:spcPct val="100000"/>
              </a:lnSpc>
              <a:spcBef>
                <a:spcPts val="0"/>
              </a:spcBef>
              <a:spcAft>
                <a:spcPts val="0"/>
              </a:spcAft>
              <a:buClrTx/>
              <a:buSzTx/>
              <a:buFontTx/>
              <a:buNone/>
              <a:tabLst/>
              <a:defRPr/>
            </a:pPr>
            <a:r>
              <a:rPr kumimoji="0" lang="en-US" sz="15963" b="1" i="0" u="none" strike="noStrike" kern="1200" cap="none" spc="0" normalizeH="0" baseline="0" noProof="0">
                <a:ln w="22225">
                  <a:solidFill>
                    <a:srgbClr val="FFE600"/>
                  </a:solidFill>
                  <a:prstDash val="solid"/>
                </a:ln>
                <a:solidFill>
                  <a:srgbClr val="FFE600"/>
                </a:solidFill>
                <a:effectLst/>
                <a:uLnTx/>
                <a:uFillTx/>
                <a:latin typeface="EYInterstate" panose="02000503020000020004" pitchFamily="2" charset="0"/>
                <a:ea typeface="+mn-ea"/>
                <a:cs typeface="Calibri" panose="020F0502020204030204" pitchFamily="34" charset="0"/>
              </a:rPr>
              <a:t>3.3</a:t>
            </a:r>
          </a:p>
        </p:txBody>
      </p:sp>
      <p:graphicFrame>
        <p:nvGraphicFramePr>
          <p:cNvPr id="8" name="Diagram 7">
            <a:extLst>
              <a:ext uri="{FF2B5EF4-FFF2-40B4-BE49-F238E27FC236}">
                <a16:creationId xmlns:a16="http://schemas.microsoft.com/office/drawing/2014/main" id="{DFDF2A0A-105D-4499-8E9E-41A43AF7898B}"/>
              </a:ext>
            </a:extLst>
          </p:cNvPr>
          <p:cNvGraphicFramePr/>
          <p:nvPr>
            <p:extLst>
              <p:ext uri="{D42A27DB-BD31-4B8C-83A1-F6EECF244321}">
                <p14:modId xmlns:p14="http://schemas.microsoft.com/office/powerpoint/2010/main" val="851802170"/>
              </p:ext>
            </p:extLst>
          </p:nvPr>
        </p:nvGraphicFramePr>
        <p:xfrm>
          <a:off x="-37787" y="5273384"/>
          <a:ext cx="8119987" cy="100235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2"/>
    </p:custDataLst>
    <p:extLst>
      <p:ext uri="{BB962C8B-B14F-4D97-AF65-F5344CB8AC3E}">
        <p14:creationId xmlns:p14="http://schemas.microsoft.com/office/powerpoint/2010/main" val="39050179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4D63A-26F8-4294-9393-C92C49CAF8D8}"/>
              </a:ext>
            </a:extLst>
          </p:cNvPr>
          <p:cNvSpPr>
            <a:spLocks noGrp="1"/>
          </p:cNvSpPr>
          <p:nvPr>
            <p:ph type="title"/>
          </p:nvPr>
        </p:nvSpPr>
        <p:spPr/>
        <p:txBody>
          <a:bodyPr/>
          <a:lstStyle/>
          <a:p>
            <a:r>
              <a:rPr lang="en-US"/>
              <a:t>Our guiding principles for the design of the Data Platform Architecture make it scalable, secure and timely </a:t>
            </a:r>
          </a:p>
        </p:txBody>
      </p:sp>
      <p:sp>
        <p:nvSpPr>
          <p:cNvPr id="3" name="Shape 19585">
            <a:extLst>
              <a:ext uri="{FF2B5EF4-FFF2-40B4-BE49-F238E27FC236}">
                <a16:creationId xmlns:a16="http://schemas.microsoft.com/office/drawing/2014/main" id="{97B018D7-394E-4BE9-BE42-312E04D2F530}"/>
              </a:ext>
            </a:extLst>
          </p:cNvPr>
          <p:cNvSpPr/>
          <p:nvPr/>
        </p:nvSpPr>
        <p:spPr>
          <a:xfrm>
            <a:off x="855875" y="2697480"/>
            <a:ext cx="2469067" cy="3743078"/>
          </a:xfrm>
          <a:prstGeom prst="roundRect">
            <a:avLst/>
          </a:prstGeom>
          <a:noFill/>
          <a:ln w="19050" cap="flat">
            <a:solidFill>
              <a:srgbClr val="FFE600"/>
            </a:solidFill>
            <a:prstDash val="dash"/>
            <a:miter lim="400000"/>
          </a:ln>
          <a:effectLst/>
        </p:spPr>
        <p:txBody>
          <a:bodyPr wrap="square" lIns="0" tIns="0" rIns="0" bIns="0" numCol="1" anchor="t">
            <a:noAutofit/>
          </a:bodyPr>
          <a:lstStyle/>
          <a:p>
            <a:pPr defTabSz="829361" eaLnBrk="1" hangingPunct="1">
              <a:spcAft>
                <a:spcPct val="50000"/>
              </a:spcAft>
              <a:buClr>
                <a:srgbClr val="FFE600"/>
              </a:buClr>
              <a:buSzPct val="80000"/>
            </a:pPr>
            <a:endParaRPr sz="4592">
              <a:solidFill>
                <a:srgbClr val="000000"/>
              </a:solidFill>
              <a:latin typeface="Lato Light" panose="020F0502020204030203" pitchFamily="34" charset="0"/>
              <a:ea typeface="+mn-ea"/>
              <a:cs typeface="+mn-cs"/>
            </a:endParaRPr>
          </a:p>
        </p:txBody>
      </p:sp>
      <p:sp>
        <p:nvSpPr>
          <p:cNvPr id="4" name="Rectangle 3">
            <a:extLst>
              <a:ext uri="{FF2B5EF4-FFF2-40B4-BE49-F238E27FC236}">
                <a16:creationId xmlns:a16="http://schemas.microsoft.com/office/drawing/2014/main" id="{5E98125B-92EC-482B-A02C-23E639C211BD}"/>
              </a:ext>
            </a:extLst>
          </p:cNvPr>
          <p:cNvSpPr/>
          <p:nvPr/>
        </p:nvSpPr>
        <p:spPr>
          <a:xfrm>
            <a:off x="1016165" y="3084884"/>
            <a:ext cx="2220405" cy="2398092"/>
          </a:xfrm>
          <a:prstGeom prst="rect">
            <a:avLst/>
          </a:prstGeom>
        </p:spPr>
        <p:txBody>
          <a:bodyPr wrap="square">
            <a:spAutoFit/>
          </a:bodyPr>
          <a:lstStyle/>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Standardization promotes reusability, and reusability results in lower implementation and maintenance costs.</a:t>
            </a:r>
          </a:p>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With strong architectural and design standards in place, services are modularized and can be easily reused.</a:t>
            </a:r>
          </a:p>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The infrastructure must be able to scale-out and scale-in rapidly based on demand</a:t>
            </a:r>
          </a:p>
        </p:txBody>
      </p:sp>
      <p:sp>
        <p:nvSpPr>
          <p:cNvPr id="5" name="Rectangle 4">
            <a:extLst>
              <a:ext uri="{FF2B5EF4-FFF2-40B4-BE49-F238E27FC236}">
                <a16:creationId xmlns:a16="http://schemas.microsoft.com/office/drawing/2014/main" id="{EED7F646-CB93-4175-983C-349EFD6CDB2E}"/>
              </a:ext>
            </a:extLst>
          </p:cNvPr>
          <p:cNvSpPr/>
          <p:nvPr/>
        </p:nvSpPr>
        <p:spPr>
          <a:xfrm>
            <a:off x="1394847" y="2332517"/>
            <a:ext cx="1463040" cy="622606"/>
          </a:xfrm>
          <a:prstGeom prst="rect">
            <a:avLst/>
          </a:prstGeom>
          <a:solidFill>
            <a:schemeClr val="tx2"/>
          </a:solidFill>
        </p:spPr>
        <p:txBody>
          <a:bodyPr wrap="square">
            <a:spAutoFit/>
          </a:bodyPr>
          <a:lstStyle/>
          <a:p>
            <a:pPr algn="ctr" defTabSz="829361" eaLnBrk="1" hangingPunct="1">
              <a:spcAft>
                <a:spcPct val="50000"/>
              </a:spcAft>
              <a:buClr>
                <a:srgbClr val="FFE600"/>
              </a:buClr>
              <a:buSzPct val="80000"/>
            </a:pPr>
            <a:r>
              <a:rPr lang="en-US" sz="1723" b="1">
                <a:solidFill>
                  <a:srgbClr val="00A3AE"/>
                </a:solidFill>
                <a:latin typeface="EYInterstate Light" pitchFamily="2" charset="0"/>
                <a:ea typeface="+mn-ea"/>
                <a:cs typeface="+mn-cs"/>
              </a:rPr>
              <a:t>Reusable &amp; Elastic</a:t>
            </a:r>
          </a:p>
        </p:txBody>
      </p:sp>
      <p:sp>
        <p:nvSpPr>
          <p:cNvPr id="7" name="Shape 19585">
            <a:extLst>
              <a:ext uri="{FF2B5EF4-FFF2-40B4-BE49-F238E27FC236}">
                <a16:creationId xmlns:a16="http://schemas.microsoft.com/office/drawing/2014/main" id="{D618BB24-EAC1-4322-8386-B3920097C99A}"/>
              </a:ext>
            </a:extLst>
          </p:cNvPr>
          <p:cNvSpPr/>
          <p:nvPr/>
        </p:nvSpPr>
        <p:spPr>
          <a:xfrm>
            <a:off x="3485232" y="2697480"/>
            <a:ext cx="2469067" cy="3743078"/>
          </a:xfrm>
          <a:prstGeom prst="roundRect">
            <a:avLst/>
          </a:prstGeom>
          <a:noFill/>
          <a:ln w="19050" cap="flat">
            <a:solidFill>
              <a:srgbClr val="FFE600"/>
            </a:solidFill>
            <a:prstDash val="dash"/>
            <a:miter lim="400000"/>
          </a:ln>
          <a:effectLst/>
        </p:spPr>
        <p:txBody>
          <a:bodyPr wrap="square" lIns="0" tIns="0" rIns="0" bIns="0" numCol="1" anchor="t">
            <a:noAutofit/>
          </a:bodyPr>
          <a:lstStyle/>
          <a:p>
            <a:pPr defTabSz="829361" eaLnBrk="1" hangingPunct="1">
              <a:spcAft>
                <a:spcPct val="50000"/>
              </a:spcAft>
              <a:buClr>
                <a:srgbClr val="FFE600"/>
              </a:buClr>
              <a:buSzPct val="80000"/>
            </a:pPr>
            <a:endParaRPr sz="4592">
              <a:solidFill>
                <a:srgbClr val="000000"/>
              </a:solidFill>
              <a:latin typeface="Lato Light" panose="020F0502020204030203" pitchFamily="34" charset="0"/>
              <a:ea typeface="+mn-ea"/>
              <a:cs typeface="+mn-cs"/>
            </a:endParaRPr>
          </a:p>
        </p:txBody>
      </p:sp>
      <p:sp>
        <p:nvSpPr>
          <p:cNvPr id="8" name="Rectangle 7">
            <a:extLst>
              <a:ext uri="{FF2B5EF4-FFF2-40B4-BE49-F238E27FC236}">
                <a16:creationId xmlns:a16="http://schemas.microsoft.com/office/drawing/2014/main" id="{FBC66EEF-503D-43E8-BCB0-604E877E1D40}"/>
              </a:ext>
            </a:extLst>
          </p:cNvPr>
          <p:cNvSpPr/>
          <p:nvPr/>
        </p:nvSpPr>
        <p:spPr>
          <a:xfrm>
            <a:off x="3645523" y="3084884"/>
            <a:ext cx="2233469" cy="3123932"/>
          </a:xfrm>
          <a:prstGeom prst="rect">
            <a:avLst/>
          </a:prstGeom>
        </p:spPr>
        <p:txBody>
          <a:bodyPr wrap="square">
            <a:spAutoFit/>
          </a:bodyPr>
          <a:lstStyle/>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Necessary data is available in a timely fashion, with the relevant snapshot available whenever it is needed for the relevant processing.</a:t>
            </a:r>
          </a:p>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Looking at the use-case requirements, we avail the data in a way it would be required to meet business objectives. </a:t>
            </a:r>
          </a:p>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There is a fine balance between instant availability of data and unnecessary overloading of the network, and our experience guides us towards the optimal design.</a:t>
            </a:r>
          </a:p>
        </p:txBody>
      </p:sp>
      <p:sp>
        <p:nvSpPr>
          <p:cNvPr id="9" name="Rectangle 8">
            <a:extLst>
              <a:ext uri="{FF2B5EF4-FFF2-40B4-BE49-F238E27FC236}">
                <a16:creationId xmlns:a16="http://schemas.microsoft.com/office/drawing/2014/main" id="{93B9632C-355E-4344-B42F-4B882D5E2ABA}"/>
              </a:ext>
            </a:extLst>
          </p:cNvPr>
          <p:cNvSpPr/>
          <p:nvPr/>
        </p:nvSpPr>
        <p:spPr>
          <a:xfrm>
            <a:off x="4060054" y="2443854"/>
            <a:ext cx="1302905" cy="548640"/>
          </a:xfrm>
          <a:prstGeom prst="rect">
            <a:avLst/>
          </a:prstGeom>
          <a:solidFill>
            <a:schemeClr val="tx2"/>
          </a:solidFill>
        </p:spPr>
        <p:txBody>
          <a:bodyPr wrap="square">
            <a:spAutoFit/>
          </a:bodyPr>
          <a:lstStyle/>
          <a:p>
            <a:pPr algn="ctr" defTabSz="829361" eaLnBrk="1" hangingPunct="1">
              <a:spcAft>
                <a:spcPct val="50000"/>
              </a:spcAft>
              <a:buClr>
                <a:srgbClr val="FFE600"/>
              </a:buClr>
              <a:buSzPct val="80000"/>
            </a:pPr>
            <a:r>
              <a:rPr lang="en-US" sz="1723" b="1">
                <a:solidFill>
                  <a:srgbClr val="00A3AE"/>
                </a:solidFill>
                <a:latin typeface="EYInterstate Light" pitchFamily="2" charset="0"/>
                <a:ea typeface="+mn-ea"/>
                <a:cs typeface="+mn-cs"/>
              </a:rPr>
              <a:t>Timeliness</a:t>
            </a:r>
          </a:p>
        </p:txBody>
      </p:sp>
      <p:sp>
        <p:nvSpPr>
          <p:cNvPr id="11" name="Shape 19585">
            <a:extLst>
              <a:ext uri="{FF2B5EF4-FFF2-40B4-BE49-F238E27FC236}">
                <a16:creationId xmlns:a16="http://schemas.microsoft.com/office/drawing/2014/main" id="{5584E1D2-7BEA-4F07-913E-1323A1B7A5DE}"/>
              </a:ext>
            </a:extLst>
          </p:cNvPr>
          <p:cNvSpPr/>
          <p:nvPr/>
        </p:nvSpPr>
        <p:spPr>
          <a:xfrm>
            <a:off x="6098071" y="2697480"/>
            <a:ext cx="2469067" cy="3793016"/>
          </a:xfrm>
          <a:prstGeom prst="roundRect">
            <a:avLst/>
          </a:prstGeom>
          <a:noFill/>
          <a:ln w="19050" cap="flat">
            <a:solidFill>
              <a:srgbClr val="FFE600"/>
            </a:solidFill>
            <a:prstDash val="dash"/>
            <a:miter lim="400000"/>
          </a:ln>
          <a:effectLst/>
        </p:spPr>
        <p:txBody>
          <a:bodyPr wrap="square" lIns="0" tIns="0" rIns="0" bIns="0" numCol="1" anchor="t">
            <a:noAutofit/>
          </a:bodyPr>
          <a:lstStyle/>
          <a:p>
            <a:pPr defTabSz="829361" eaLnBrk="1" hangingPunct="1">
              <a:spcAft>
                <a:spcPct val="50000"/>
              </a:spcAft>
              <a:buClr>
                <a:srgbClr val="FFE600"/>
              </a:buClr>
              <a:buSzPct val="80000"/>
            </a:pPr>
            <a:endParaRPr sz="4592">
              <a:solidFill>
                <a:srgbClr val="000000"/>
              </a:solidFill>
              <a:latin typeface="Lato Light" panose="020F0502020204030203" pitchFamily="34" charset="0"/>
              <a:ea typeface="+mn-ea"/>
              <a:cs typeface="+mn-cs"/>
            </a:endParaRPr>
          </a:p>
        </p:txBody>
      </p:sp>
      <p:sp>
        <p:nvSpPr>
          <p:cNvPr id="12" name="Rectangle 11">
            <a:extLst>
              <a:ext uri="{FF2B5EF4-FFF2-40B4-BE49-F238E27FC236}">
                <a16:creationId xmlns:a16="http://schemas.microsoft.com/office/drawing/2014/main" id="{4DF45F98-2041-4920-A2CC-C572FD0F3AE8}"/>
              </a:ext>
            </a:extLst>
          </p:cNvPr>
          <p:cNvSpPr/>
          <p:nvPr/>
        </p:nvSpPr>
        <p:spPr>
          <a:xfrm>
            <a:off x="6198063" y="3084884"/>
            <a:ext cx="2330163" cy="2696892"/>
          </a:xfrm>
          <a:prstGeom prst="rect">
            <a:avLst/>
          </a:prstGeom>
        </p:spPr>
        <p:txBody>
          <a:bodyPr wrap="square">
            <a:spAutoFit/>
          </a:bodyPr>
          <a:lstStyle/>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A DevOps enabled environment is critical for the development and provisioning of resources needed to support the Data Platform.</a:t>
            </a:r>
          </a:p>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This capability is also foundational – During the data training and modelling process, the same set of infrastructure or data will need to be provisioned repetitively. The DevOps cycle will help to accelerate the process and reduce human errors.</a:t>
            </a:r>
          </a:p>
        </p:txBody>
      </p:sp>
      <p:sp>
        <p:nvSpPr>
          <p:cNvPr id="13" name="Rectangle 12">
            <a:extLst>
              <a:ext uri="{FF2B5EF4-FFF2-40B4-BE49-F238E27FC236}">
                <a16:creationId xmlns:a16="http://schemas.microsoft.com/office/drawing/2014/main" id="{C43D8859-4430-4D04-829D-2FC963933576}"/>
              </a:ext>
            </a:extLst>
          </p:cNvPr>
          <p:cNvSpPr/>
          <p:nvPr/>
        </p:nvSpPr>
        <p:spPr>
          <a:xfrm>
            <a:off x="6569844" y="2313432"/>
            <a:ext cx="1525519" cy="622606"/>
          </a:xfrm>
          <a:prstGeom prst="rect">
            <a:avLst/>
          </a:prstGeom>
          <a:solidFill>
            <a:schemeClr val="tx2"/>
          </a:solidFill>
        </p:spPr>
        <p:txBody>
          <a:bodyPr wrap="square">
            <a:spAutoFit/>
          </a:bodyPr>
          <a:lstStyle/>
          <a:p>
            <a:pPr algn="ctr" defTabSz="829361" eaLnBrk="1" hangingPunct="1">
              <a:spcAft>
                <a:spcPct val="50000"/>
              </a:spcAft>
              <a:buClr>
                <a:srgbClr val="FFE600"/>
              </a:buClr>
              <a:buSzPct val="80000"/>
            </a:pPr>
            <a:r>
              <a:rPr lang="en-US" sz="1723" b="1">
                <a:solidFill>
                  <a:srgbClr val="00A3AE"/>
                </a:solidFill>
                <a:latin typeface="EYInterstate Light" pitchFamily="2" charset="0"/>
                <a:ea typeface="+mn-ea"/>
                <a:cs typeface="+mn-cs"/>
              </a:rPr>
              <a:t>DevOps </a:t>
            </a:r>
            <a:br>
              <a:rPr lang="en-US" sz="1723" b="1">
                <a:solidFill>
                  <a:srgbClr val="00A3AE"/>
                </a:solidFill>
                <a:latin typeface="EYInterstate Light" pitchFamily="2" charset="0"/>
                <a:ea typeface="+mn-ea"/>
                <a:cs typeface="+mn-cs"/>
              </a:rPr>
            </a:br>
            <a:r>
              <a:rPr lang="en-US" sz="1723" b="1">
                <a:solidFill>
                  <a:srgbClr val="00A3AE"/>
                </a:solidFill>
                <a:latin typeface="EYInterstate Light" pitchFamily="2" charset="0"/>
                <a:ea typeface="+mn-ea"/>
                <a:cs typeface="+mn-cs"/>
              </a:rPr>
              <a:t>Enabled</a:t>
            </a:r>
            <a:endParaRPr lang="en-SG" sz="1723" b="1">
              <a:solidFill>
                <a:srgbClr val="00A3AE"/>
              </a:solidFill>
              <a:latin typeface="EYInterstate Light" pitchFamily="2" charset="0"/>
              <a:ea typeface="+mn-ea"/>
              <a:cs typeface="+mn-cs"/>
            </a:endParaRPr>
          </a:p>
        </p:txBody>
      </p:sp>
      <p:sp>
        <p:nvSpPr>
          <p:cNvPr id="15" name="Rectangle 14">
            <a:extLst>
              <a:ext uri="{FF2B5EF4-FFF2-40B4-BE49-F238E27FC236}">
                <a16:creationId xmlns:a16="http://schemas.microsoft.com/office/drawing/2014/main" id="{E343C6E2-7961-4C91-988E-E6B2C62409F1}"/>
              </a:ext>
            </a:extLst>
          </p:cNvPr>
          <p:cNvSpPr/>
          <p:nvPr/>
        </p:nvSpPr>
        <p:spPr>
          <a:xfrm>
            <a:off x="8833490" y="3084884"/>
            <a:ext cx="2562941" cy="2501390"/>
          </a:xfrm>
          <a:prstGeom prst="rect">
            <a:avLst/>
          </a:prstGeom>
        </p:spPr>
        <p:txBody>
          <a:bodyPr wrap="square">
            <a:spAutoFit/>
          </a:bodyPr>
          <a:lstStyle/>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An approach that formalizes how security controls are being automated, secured and audited from its software design.</a:t>
            </a:r>
          </a:p>
          <a:p>
            <a:pPr defTabSz="829361" eaLnBrk="1" hangingPunct="1">
              <a:spcAft>
                <a:spcPts val="544"/>
              </a:spcAft>
              <a:buClr>
                <a:srgbClr val="FFE600"/>
              </a:buClr>
              <a:buSzPct val="80000"/>
            </a:pPr>
            <a:r>
              <a:rPr lang="en-US" sz="1179">
                <a:solidFill>
                  <a:srgbClr val="000000"/>
                </a:solidFill>
                <a:latin typeface="EYInterstate Light" pitchFamily="2" charset="0"/>
                <a:ea typeface="+mn-ea"/>
                <a:cs typeface="+mn-cs"/>
              </a:rPr>
              <a:t>The future of application development and data consumption will build on microservices and RESTful API calls. The security thinking as a guiding principle is to ensure that all services created within the platform should be authenticated and secured.</a:t>
            </a:r>
          </a:p>
        </p:txBody>
      </p:sp>
      <p:sp>
        <p:nvSpPr>
          <p:cNvPr id="16" name="Shape 19585">
            <a:extLst>
              <a:ext uri="{FF2B5EF4-FFF2-40B4-BE49-F238E27FC236}">
                <a16:creationId xmlns:a16="http://schemas.microsoft.com/office/drawing/2014/main" id="{25763E55-7AE0-4A9D-81BD-B4F680DC640A}"/>
              </a:ext>
            </a:extLst>
          </p:cNvPr>
          <p:cNvSpPr/>
          <p:nvPr/>
        </p:nvSpPr>
        <p:spPr>
          <a:xfrm>
            <a:off x="8762364" y="2697481"/>
            <a:ext cx="2715922" cy="3883006"/>
          </a:xfrm>
          <a:prstGeom prst="roundRect">
            <a:avLst/>
          </a:prstGeom>
          <a:noFill/>
          <a:ln w="19050" cap="flat">
            <a:solidFill>
              <a:srgbClr val="FFE600"/>
            </a:solidFill>
            <a:prstDash val="dash"/>
            <a:miter lim="400000"/>
          </a:ln>
          <a:effectLst/>
        </p:spPr>
        <p:txBody>
          <a:bodyPr wrap="square" lIns="0" tIns="0" rIns="0" bIns="0" numCol="1" anchor="t">
            <a:noAutofit/>
          </a:bodyPr>
          <a:lstStyle/>
          <a:p>
            <a:pPr defTabSz="829361" eaLnBrk="1" hangingPunct="1">
              <a:spcAft>
                <a:spcPct val="50000"/>
              </a:spcAft>
              <a:buClr>
                <a:srgbClr val="FFE600"/>
              </a:buClr>
              <a:buSzPct val="80000"/>
            </a:pPr>
            <a:endParaRPr sz="4592">
              <a:solidFill>
                <a:srgbClr val="000000"/>
              </a:solidFill>
              <a:latin typeface="Lato Light" panose="020F0502020204030203" pitchFamily="34" charset="0"/>
              <a:ea typeface="+mn-ea"/>
              <a:cs typeface="+mn-cs"/>
            </a:endParaRPr>
          </a:p>
        </p:txBody>
      </p:sp>
      <p:sp>
        <p:nvSpPr>
          <p:cNvPr id="17" name="Rectangle 16">
            <a:extLst>
              <a:ext uri="{FF2B5EF4-FFF2-40B4-BE49-F238E27FC236}">
                <a16:creationId xmlns:a16="http://schemas.microsoft.com/office/drawing/2014/main" id="{CC43B9CB-4EEB-4630-9533-DFFCF65C1505}"/>
              </a:ext>
            </a:extLst>
          </p:cNvPr>
          <p:cNvSpPr/>
          <p:nvPr/>
        </p:nvSpPr>
        <p:spPr>
          <a:xfrm>
            <a:off x="9302249" y="2313432"/>
            <a:ext cx="1660612" cy="622606"/>
          </a:xfrm>
          <a:prstGeom prst="rect">
            <a:avLst/>
          </a:prstGeom>
          <a:solidFill>
            <a:schemeClr val="tx2"/>
          </a:solidFill>
        </p:spPr>
        <p:txBody>
          <a:bodyPr wrap="square">
            <a:spAutoFit/>
          </a:bodyPr>
          <a:lstStyle/>
          <a:p>
            <a:pPr algn="ctr" defTabSz="829361" eaLnBrk="1" hangingPunct="1">
              <a:spcAft>
                <a:spcPct val="50000"/>
              </a:spcAft>
              <a:buClr>
                <a:srgbClr val="FFE600"/>
              </a:buClr>
              <a:buSzPct val="80000"/>
            </a:pPr>
            <a:r>
              <a:rPr lang="en-US" sz="1723" b="1">
                <a:solidFill>
                  <a:srgbClr val="00A3AE"/>
                </a:solidFill>
                <a:latin typeface="EYInterstate Light" pitchFamily="2" charset="0"/>
                <a:ea typeface="+mn-ea"/>
                <a:cs typeface="+mn-cs"/>
              </a:rPr>
              <a:t>Secure by</a:t>
            </a:r>
            <a:br>
              <a:rPr lang="en-US" sz="1723" b="1">
                <a:solidFill>
                  <a:srgbClr val="00A3AE"/>
                </a:solidFill>
                <a:latin typeface="EYInterstate Light" pitchFamily="2" charset="0"/>
                <a:ea typeface="+mn-ea"/>
                <a:cs typeface="+mn-cs"/>
              </a:rPr>
            </a:br>
            <a:r>
              <a:rPr lang="en-US" sz="1723" b="1">
                <a:solidFill>
                  <a:srgbClr val="00A3AE"/>
                </a:solidFill>
                <a:latin typeface="EYInterstate Light" pitchFamily="2" charset="0"/>
                <a:ea typeface="+mn-ea"/>
                <a:cs typeface="+mn-cs"/>
              </a:rPr>
              <a:t>Design</a:t>
            </a:r>
          </a:p>
        </p:txBody>
      </p:sp>
      <p:pic>
        <p:nvPicPr>
          <p:cNvPr id="21" name="Graphic 20">
            <a:extLst>
              <a:ext uri="{FF2B5EF4-FFF2-40B4-BE49-F238E27FC236}">
                <a16:creationId xmlns:a16="http://schemas.microsoft.com/office/drawing/2014/main" id="{339758B5-4A58-4102-A155-673297E453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54315" y="1393423"/>
            <a:ext cx="822960" cy="822960"/>
          </a:xfrm>
          <a:prstGeom prst="rect">
            <a:avLst/>
          </a:prstGeom>
        </p:spPr>
      </p:pic>
      <p:pic>
        <p:nvPicPr>
          <p:cNvPr id="23" name="Graphic 22">
            <a:extLst>
              <a:ext uri="{FF2B5EF4-FFF2-40B4-BE49-F238E27FC236}">
                <a16:creationId xmlns:a16="http://schemas.microsoft.com/office/drawing/2014/main" id="{547058B7-9DA8-4111-A708-6CD809EEB8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21075" y="1393423"/>
            <a:ext cx="822960" cy="822960"/>
          </a:xfrm>
          <a:prstGeom prst="rect">
            <a:avLst/>
          </a:prstGeom>
        </p:spPr>
      </p:pic>
      <p:pic>
        <p:nvPicPr>
          <p:cNvPr id="25" name="Graphic 24">
            <a:extLst>
              <a:ext uri="{FF2B5EF4-FFF2-40B4-BE49-F238E27FC236}">
                <a16:creationId xmlns:a16="http://schemas.microsoft.com/office/drawing/2014/main" id="{AD4E7F1D-4307-448B-9117-E2E882D0AF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21123" y="1393423"/>
            <a:ext cx="822960" cy="822960"/>
          </a:xfrm>
          <a:prstGeom prst="rect">
            <a:avLst/>
          </a:prstGeom>
        </p:spPr>
      </p:pic>
      <p:pic>
        <p:nvPicPr>
          <p:cNvPr id="27" name="Graphic 26">
            <a:extLst>
              <a:ext uri="{FF2B5EF4-FFF2-40B4-BE49-F238E27FC236}">
                <a16:creationId xmlns:a16="http://schemas.microsoft.com/office/drawing/2014/main" id="{B2755657-C51E-4240-A3F5-923DB3BA1F5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50777" y="1393423"/>
            <a:ext cx="822960" cy="822960"/>
          </a:xfrm>
          <a:prstGeom prst="rect">
            <a:avLst/>
          </a:prstGeom>
        </p:spPr>
      </p:pic>
      <p:sp>
        <p:nvSpPr>
          <p:cNvPr id="24" name="Chevron 26">
            <a:extLst>
              <a:ext uri="{FF2B5EF4-FFF2-40B4-BE49-F238E27FC236}">
                <a16:creationId xmlns:a16="http://schemas.microsoft.com/office/drawing/2014/main" id="{8EB1D0E3-7674-400B-B477-2412622FF9CF}"/>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646464"/>
                </a:solidFill>
                <a:effectLst/>
                <a:uLnTx/>
                <a:uFillTx/>
                <a:latin typeface="EYInterstate"/>
                <a:cs typeface="Arial" charset="0"/>
                <a:sym typeface="EYInterstate Light" panose="02000506000000020004" pitchFamily="2" charset="0"/>
              </a:rPr>
              <a:t>Guiding Principles</a:t>
            </a:r>
          </a:p>
        </p:txBody>
      </p:sp>
    </p:spTree>
    <p:extLst>
      <p:ext uri="{BB962C8B-B14F-4D97-AF65-F5344CB8AC3E}">
        <p14:creationId xmlns:p14="http://schemas.microsoft.com/office/powerpoint/2010/main" val="16336602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F32AA-8133-4DE5-9918-AFF1CD802F79}"/>
              </a:ext>
            </a:extLst>
          </p:cNvPr>
          <p:cNvSpPr>
            <a:spLocks noGrp="1"/>
          </p:cNvSpPr>
          <p:nvPr>
            <p:ph type="title"/>
          </p:nvPr>
        </p:nvSpPr>
        <p:spPr>
          <a:xfrm>
            <a:off x="855875" y="551813"/>
            <a:ext cx="10962499" cy="672625"/>
          </a:xfrm>
        </p:spPr>
        <p:txBody>
          <a:bodyPr/>
          <a:lstStyle/>
          <a:p>
            <a:r>
              <a:rPr lang="en-US"/>
              <a:t>We will analyze to the prioritized use-cases to identify the need for Azure ML vis-à-vis Data Science Lab – VM based on scalability, compute and model management</a:t>
            </a:r>
          </a:p>
        </p:txBody>
      </p:sp>
      <p:grpSp>
        <p:nvGrpSpPr>
          <p:cNvPr id="74" name="Group 73">
            <a:extLst>
              <a:ext uri="{FF2B5EF4-FFF2-40B4-BE49-F238E27FC236}">
                <a16:creationId xmlns:a16="http://schemas.microsoft.com/office/drawing/2014/main" id="{0853D315-7AD0-4A79-BF17-BBB9ACAE9860}"/>
              </a:ext>
            </a:extLst>
          </p:cNvPr>
          <p:cNvGrpSpPr/>
          <p:nvPr/>
        </p:nvGrpSpPr>
        <p:grpSpPr>
          <a:xfrm>
            <a:off x="993526" y="1369203"/>
            <a:ext cx="10333793" cy="5139751"/>
            <a:chOff x="1002801" y="1536352"/>
            <a:chExt cx="8988387" cy="4536640"/>
          </a:xfrm>
        </p:grpSpPr>
        <p:sp>
          <p:nvSpPr>
            <p:cNvPr id="3" name="Rectangle 2">
              <a:extLst>
                <a:ext uri="{FF2B5EF4-FFF2-40B4-BE49-F238E27FC236}">
                  <a16:creationId xmlns:a16="http://schemas.microsoft.com/office/drawing/2014/main" id="{BF52F614-ACEC-4902-8E7A-B964BAEAC268}"/>
                </a:ext>
              </a:extLst>
            </p:cNvPr>
            <p:cNvSpPr>
              <a:spLocks/>
            </p:cNvSpPr>
            <p:nvPr/>
          </p:nvSpPr>
          <p:spPr>
            <a:xfrm>
              <a:off x="5674399" y="1781659"/>
              <a:ext cx="2923238" cy="1219982"/>
            </a:xfrm>
            <a:prstGeom prst="rect">
              <a:avLst/>
            </a:prstGeom>
            <a:solidFill>
              <a:srgbClr val="FFFFFF">
                <a:lumMod val="95000"/>
              </a:srgbClr>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pPr>
              <a:r>
                <a:rPr lang="en-AU" sz="1049" b="1">
                  <a:solidFill>
                    <a:srgbClr val="000000">
                      <a:lumMod val="50000"/>
                      <a:lumOff val="50000"/>
                    </a:srgbClr>
                  </a:solidFill>
                  <a:latin typeface="EYInterstate Light"/>
                  <a:cs typeface="Arial" panose="020B0604020202020204" pitchFamily="34" charset="0"/>
                </a:rPr>
                <a:t>Compute</a:t>
              </a:r>
            </a:p>
          </p:txBody>
        </p:sp>
        <p:sp>
          <p:nvSpPr>
            <p:cNvPr id="4" name="Rectangle 3">
              <a:extLst>
                <a:ext uri="{FF2B5EF4-FFF2-40B4-BE49-F238E27FC236}">
                  <a16:creationId xmlns:a16="http://schemas.microsoft.com/office/drawing/2014/main" id="{5EE32C51-01C3-4C23-BD35-D277F2132D10}"/>
                </a:ext>
              </a:extLst>
            </p:cNvPr>
            <p:cNvSpPr>
              <a:spLocks/>
            </p:cNvSpPr>
            <p:nvPr/>
          </p:nvSpPr>
          <p:spPr>
            <a:xfrm>
              <a:off x="1019906" y="1781660"/>
              <a:ext cx="1350428" cy="1572788"/>
            </a:xfrm>
            <a:prstGeom prst="rect">
              <a:avLst/>
            </a:prstGeom>
            <a:solidFill>
              <a:srgbClr val="FFFFFF">
                <a:lumMod val="95000"/>
              </a:srgbClr>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defRPr/>
              </a:pPr>
              <a:r>
                <a:rPr lang="en-AU" sz="899" b="1" kern="0">
                  <a:solidFill>
                    <a:srgbClr val="000000">
                      <a:lumMod val="50000"/>
                      <a:lumOff val="50000"/>
                    </a:srgbClr>
                  </a:solidFill>
                  <a:latin typeface="EYInterstate Light"/>
                  <a:cs typeface="Arial" panose="020B0604020202020204" pitchFamily="34" charset="0"/>
                </a:rPr>
                <a:t>Integration</a:t>
              </a:r>
              <a:endParaRPr lang="en-AU" sz="787" b="1" kern="0">
                <a:solidFill>
                  <a:srgbClr val="000000">
                    <a:lumMod val="50000"/>
                    <a:lumOff val="50000"/>
                  </a:srgbClr>
                </a:solidFill>
                <a:latin typeface="EYInterstate Light"/>
                <a:cs typeface="Arial" panose="020B0604020202020204" pitchFamily="34" charset="0"/>
              </a:endParaRPr>
            </a:p>
          </p:txBody>
        </p:sp>
        <p:sp>
          <p:nvSpPr>
            <p:cNvPr id="5" name="Rectangle 4">
              <a:extLst>
                <a:ext uri="{FF2B5EF4-FFF2-40B4-BE49-F238E27FC236}">
                  <a16:creationId xmlns:a16="http://schemas.microsoft.com/office/drawing/2014/main" id="{0F7E4851-1ECF-4502-B4B1-9CC406191FF8}"/>
                </a:ext>
              </a:extLst>
            </p:cNvPr>
            <p:cNvSpPr>
              <a:spLocks/>
            </p:cNvSpPr>
            <p:nvPr/>
          </p:nvSpPr>
          <p:spPr>
            <a:xfrm>
              <a:off x="2398004" y="4554577"/>
              <a:ext cx="6196225" cy="1076066"/>
            </a:xfrm>
            <a:prstGeom prst="rect">
              <a:avLst/>
            </a:prstGeom>
            <a:solidFill>
              <a:schemeClr val="tx2"/>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defRPr/>
              </a:pPr>
              <a:r>
                <a:rPr lang="en-AU" sz="899" b="1" kern="0">
                  <a:solidFill>
                    <a:srgbClr val="000000">
                      <a:lumMod val="50000"/>
                      <a:lumOff val="50000"/>
                    </a:srgbClr>
                  </a:solidFill>
                  <a:latin typeface="EYInterstate Light"/>
                  <a:cs typeface="Arial" panose="020B0604020202020204" pitchFamily="34" charset="0"/>
                </a:rPr>
                <a:t>Software &amp; ML Frameworks</a:t>
              </a:r>
            </a:p>
          </p:txBody>
        </p:sp>
        <p:sp>
          <p:nvSpPr>
            <p:cNvPr id="6" name="Rectangle 5">
              <a:extLst>
                <a:ext uri="{FF2B5EF4-FFF2-40B4-BE49-F238E27FC236}">
                  <a16:creationId xmlns:a16="http://schemas.microsoft.com/office/drawing/2014/main" id="{2A45AE18-4A37-42E1-A8D3-38D8D5CF35D0}"/>
                </a:ext>
              </a:extLst>
            </p:cNvPr>
            <p:cNvSpPr>
              <a:spLocks/>
            </p:cNvSpPr>
            <p:nvPr/>
          </p:nvSpPr>
          <p:spPr>
            <a:xfrm>
              <a:off x="2405859" y="3042807"/>
              <a:ext cx="4408294" cy="1473588"/>
            </a:xfrm>
            <a:prstGeom prst="rect">
              <a:avLst/>
            </a:prstGeom>
            <a:solidFill>
              <a:srgbClr val="FFFFFF">
                <a:lumMod val="95000"/>
              </a:srgbClr>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defRPr/>
              </a:pPr>
              <a:r>
                <a:rPr lang="en-AU" sz="899" b="1" kern="0">
                  <a:solidFill>
                    <a:srgbClr val="000000">
                      <a:lumMod val="50000"/>
                      <a:lumOff val="50000"/>
                    </a:srgbClr>
                  </a:solidFill>
                  <a:latin typeface="EYInterstate Light"/>
                  <a:cs typeface="Arial" panose="020B0604020202020204" pitchFamily="34" charset="0"/>
                </a:rPr>
                <a:t>Data Science DevOps</a:t>
              </a:r>
            </a:p>
          </p:txBody>
        </p:sp>
        <p:sp>
          <p:nvSpPr>
            <p:cNvPr id="7" name="Rectangle 6">
              <a:extLst>
                <a:ext uri="{FF2B5EF4-FFF2-40B4-BE49-F238E27FC236}">
                  <a16:creationId xmlns:a16="http://schemas.microsoft.com/office/drawing/2014/main" id="{897FF39E-A874-4A54-BCEA-31872C20E311}"/>
                </a:ext>
              </a:extLst>
            </p:cNvPr>
            <p:cNvSpPr>
              <a:spLocks/>
            </p:cNvSpPr>
            <p:nvPr/>
          </p:nvSpPr>
          <p:spPr>
            <a:xfrm>
              <a:off x="8663797" y="1536352"/>
              <a:ext cx="1327391" cy="4093067"/>
            </a:xfrm>
            <a:prstGeom prst="rect">
              <a:avLst/>
            </a:prstGeom>
            <a:solidFill>
              <a:srgbClr val="FFFFFF">
                <a:lumMod val="95000"/>
              </a:srgbClr>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pPr>
              <a:r>
                <a:rPr lang="en-AU" sz="899" b="1">
                  <a:solidFill>
                    <a:srgbClr val="000000">
                      <a:lumMod val="50000"/>
                      <a:lumOff val="50000"/>
                    </a:srgbClr>
                  </a:solidFill>
                  <a:latin typeface="EYInterstate Light"/>
                  <a:cs typeface="Arial" panose="020B0604020202020204" pitchFamily="34" charset="0"/>
                </a:rPr>
                <a:t>Micro-Services /APIs</a:t>
              </a:r>
            </a:p>
          </p:txBody>
        </p:sp>
        <p:sp>
          <p:nvSpPr>
            <p:cNvPr id="9" name="Rectangle 8">
              <a:extLst>
                <a:ext uri="{FF2B5EF4-FFF2-40B4-BE49-F238E27FC236}">
                  <a16:creationId xmlns:a16="http://schemas.microsoft.com/office/drawing/2014/main" id="{325A25F8-1F8C-45BE-BF6B-12A3F8ECDBFE}"/>
                </a:ext>
              </a:extLst>
            </p:cNvPr>
            <p:cNvSpPr>
              <a:spLocks/>
            </p:cNvSpPr>
            <p:nvPr/>
          </p:nvSpPr>
          <p:spPr>
            <a:xfrm>
              <a:off x="1002801" y="5662365"/>
              <a:ext cx="8988387" cy="188841"/>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Application &amp; Access Security</a:t>
              </a:r>
            </a:p>
          </p:txBody>
        </p:sp>
        <p:sp>
          <p:nvSpPr>
            <p:cNvPr id="10" name="Rectangle 9">
              <a:extLst>
                <a:ext uri="{FF2B5EF4-FFF2-40B4-BE49-F238E27FC236}">
                  <a16:creationId xmlns:a16="http://schemas.microsoft.com/office/drawing/2014/main" id="{41739034-AFD0-4A06-95AB-4598D003E70B}"/>
                </a:ext>
              </a:extLst>
            </p:cNvPr>
            <p:cNvSpPr>
              <a:spLocks/>
            </p:cNvSpPr>
            <p:nvPr/>
          </p:nvSpPr>
          <p:spPr>
            <a:xfrm>
              <a:off x="2411497" y="1772937"/>
              <a:ext cx="3185225" cy="1223646"/>
            </a:xfrm>
            <a:prstGeom prst="rect">
              <a:avLst/>
            </a:prstGeom>
            <a:solidFill>
              <a:srgbClr val="FFFFFF">
                <a:lumMod val="95000"/>
              </a:srgbClr>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pPr>
              <a:r>
                <a:rPr lang="en-AU" sz="899" b="1">
                  <a:solidFill>
                    <a:srgbClr val="000000">
                      <a:lumMod val="50000"/>
                      <a:lumOff val="50000"/>
                    </a:srgbClr>
                  </a:solidFill>
                  <a:latin typeface="EYInterstate Light"/>
                  <a:cs typeface="Arial" panose="020B0604020202020204" pitchFamily="34" charset="0"/>
                </a:rPr>
                <a:t>Analytics</a:t>
              </a:r>
            </a:p>
          </p:txBody>
        </p:sp>
        <p:sp>
          <p:nvSpPr>
            <p:cNvPr id="11" name="Rectangle 10">
              <a:extLst>
                <a:ext uri="{FF2B5EF4-FFF2-40B4-BE49-F238E27FC236}">
                  <a16:creationId xmlns:a16="http://schemas.microsoft.com/office/drawing/2014/main" id="{0E53F242-6E9A-4989-B823-3F23D13AB9BC}"/>
                </a:ext>
              </a:extLst>
            </p:cNvPr>
            <p:cNvSpPr>
              <a:spLocks/>
            </p:cNvSpPr>
            <p:nvPr/>
          </p:nvSpPr>
          <p:spPr>
            <a:xfrm rot="16200000">
              <a:off x="2183825" y="2218924"/>
              <a:ext cx="995957" cy="466589"/>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defRPr/>
              </a:pPr>
              <a:r>
                <a:rPr lang="en-AU" sz="824" kern="0">
                  <a:solidFill>
                    <a:schemeClr val="tx2"/>
                  </a:solidFill>
                  <a:latin typeface="EYInterstate Light"/>
                  <a:cs typeface="Arial" panose="020B0604020202020204" pitchFamily="34" charset="0"/>
                </a:rPr>
                <a:t>Data Exploration| Data engineering</a:t>
              </a:r>
            </a:p>
          </p:txBody>
        </p:sp>
        <p:sp>
          <p:nvSpPr>
            <p:cNvPr id="12" name="Rectangle 11">
              <a:extLst>
                <a:ext uri="{FF2B5EF4-FFF2-40B4-BE49-F238E27FC236}">
                  <a16:creationId xmlns:a16="http://schemas.microsoft.com/office/drawing/2014/main" id="{CF4CB856-A38D-4F3F-8EAB-F98C73A13553}"/>
                </a:ext>
              </a:extLst>
            </p:cNvPr>
            <p:cNvSpPr>
              <a:spLocks/>
            </p:cNvSpPr>
            <p:nvPr/>
          </p:nvSpPr>
          <p:spPr>
            <a:xfrm>
              <a:off x="6848979" y="3774751"/>
              <a:ext cx="1743590" cy="778173"/>
            </a:xfrm>
            <a:prstGeom prst="rect">
              <a:avLst/>
            </a:prstGeom>
            <a:solidFill>
              <a:srgbClr val="FFFFFF">
                <a:lumMod val="95000"/>
              </a:srgbClr>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defRPr/>
              </a:pPr>
              <a:r>
                <a:rPr lang="en-AU" sz="899" b="1" kern="0">
                  <a:solidFill>
                    <a:srgbClr val="000000">
                      <a:lumMod val="50000"/>
                      <a:lumOff val="50000"/>
                    </a:srgbClr>
                  </a:solidFill>
                  <a:latin typeface="EYInterstate Light"/>
                  <a:cs typeface="Arial" panose="020B0604020202020204" pitchFamily="34" charset="0"/>
                </a:rPr>
                <a:t>Collaboration</a:t>
              </a:r>
            </a:p>
          </p:txBody>
        </p:sp>
        <p:sp>
          <p:nvSpPr>
            <p:cNvPr id="13" name="Rectangle 12">
              <a:extLst>
                <a:ext uri="{FF2B5EF4-FFF2-40B4-BE49-F238E27FC236}">
                  <a16:creationId xmlns:a16="http://schemas.microsoft.com/office/drawing/2014/main" id="{3A895852-5606-4ECE-981C-103A9C6EDA1B}"/>
                </a:ext>
              </a:extLst>
            </p:cNvPr>
            <p:cNvSpPr>
              <a:spLocks/>
            </p:cNvSpPr>
            <p:nvPr/>
          </p:nvSpPr>
          <p:spPr>
            <a:xfrm>
              <a:off x="6891022" y="3965324"/>
              <a:ext cx="1618109" cy="153708"/>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Notebooks</a:t>
              </a:r>
            </a:p>
          </p:txBody>
        </p:sp>
        <p:sp>
          <p:nvSpPr>
            <p:cNvPr id="14" name="Rectangle 13">
              <a:extLst>
                <a:ext uri="{FF2B5EF4-FFF2-40B4-BE49-F238E27FC236}">
                  <a16:creationId xmlns:a16="http://schemas.microsoft.com/office/drawing/2014/main" id="{383896DB-ACC6-4B7A-87F6-E357434EDE8A}"/>
                </a:ext>
              </a:extLst>
            </p:cNvPr>
            <p:cNvSpPr>
              <a:spLocks/>
            </p:cNvSpPr>
            <p:nvPr/>
          </p:nvSpPr>
          <p:spPr>
            <a:xfrm>
              <a:off x="6898610" y="4151507"/>
              <a:ext cx="1610665" cy="153708"/>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IntelliSense Support</a:t>
              </a:r>
            </a:p>
          </p:txBody>
        </p:sp>
        <p:sp>
          <p:nvSpPr>
            <p:cNvPr id="15" name="Rectangle 14">
              <a:extLst>
                <a:ext uri="{FF2B5EF4-FFF2-40B4-BE49-F238E27FC236}">
                  <a16:creationId xmlns:a16="http://schemas.microsoft.com/office/drawing/2014/main" id="{F0717892-4978-4E59-983C-E93B242852D0}"/>
                </a:ext>
              </a:extLst>
            </p:cNvPr>
            <p:cNvSpPr>
              <a:spLocks/>
            </p:cNvSpPr>
            <p:nvPr/>
          </p:nvSpPr>
          <p:spPr>
            <a:xfrm>
              <a:off x="1002802" y="1536352"/>
              <a:ext cx="7612810" cy="181534"/>
            </a:xfrm>
            <a:prstGeom prst="rect">
              <a:avLst/>
            </a:prstGeom>
            <a:solidFill>
              <a:srgbClr val="FFFFFF">
                <a:lumMod val="95000"/>
              </a:srgbClr>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defRPr/>
              </a:pPr>
              <a:r>
                <a:rPr lang="en-AU" sz="899" b="1" kern="0">
                  <a:solidFill>
                    <a:srgbClr val="000000">
                      <a:lumMod val="50000"/>
                      <a:lumOff val="50000"/>
                    </a:srgbClr>
                  </a:solidFill>
                  <a:latin typeface="EYInterstate Light"/>
                  <a:cs typeface="Arial" panose="020B0604020202020204" pitchFamily="34" charset="0"/>
                </a:rPr>
                <a:t>Data Augmentation &amp; Labelling</a:t>
              </a:r>
            </a:p>
          </p:txBody>
        </p:sp>
        <p:sp>
          <p:nvSpPr>
            <p:cNvPr id="16" name="Rectangle 15">
              <a:extLst>
                <a:ext uri="{FF2B5EF4-FFF2-40B4-BE49-F238E27FC236}">
                  <a16:creationId xmlns:a16="http://schemas.microsoft.com/office/drawing/2014/main" id="{816F4E8C-ECA7-4D70-9622-22D4B3734370}"/>
                </a:ext>
              </a:extLst>
            </p:cNvPr>
            <p:cNvSpPr>
              <a:spLocks/>
            </p:cNvSpPr>
            <p:nvPr/>
          </p:nvSpPr>
          <p:spPr>
            <a:xfrm>
              <a:off x="1002801" y="5884151"/>
              <a:ext cx="8988387" cy="188841"/>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Infrastructure &amp; Operations</a:t>
              </a:r>
            </a:p>
          </p:txBody>
        </p:sp>
        <p:sp>
          <p:nvSpPr>
            <p:cNvPr id="17" name="Rectangle 16">
              <a:extLst>
                <a:ext uri="{FF2B5EF4-FFF2-40B4-BE49-F238E27FC236}">
                  <a16:creationId xmlns:a16="http://schemas.microsoft.com/office/drawing/2014/main" id="{4202EA7A-18CD-459A-9244-3552C4269457}"/>
                </a:ext>
              </a:extLst>
            </p:cNvPr>
            <p:cNvSpPr>
              <a:spLocks/>
            </p:cNvSpPr>
            <p:nvPr/>
          </p:nvSpPr>
          <p:spPr>
            <a:xfrm>
              <a:off x="8734484" y="3551480"/>
              <a:ext cx="1193666"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Image</a:t>
              </a:r>
            </a:p>
          </p:txBody>
        </p:sp>
        <p:sp>
          <p:nvSpPr>
            <p:cNvPr id="18" name="Rectangle 17">
              <a:extLst>
                <a:ext uri="{FF2B5EF4-FFF2-40B4-BE49-F238E27FC236}">
                  <a16:creationId xmlns:a16="http://schemas.microsoft.com/office/drawing/2014/main" id="{F66AAB14-0028-4CB3-8ADD-CB35966EBC17}"/>
                </a:ext>
              </a:extLst>
            </p:cNvPr>
            <p:cNvSpPr>
              <a:spLocks/>
            </p:cNvSpPr>
            <p:nvPr/>
          </p:nvSpPr>
          <p:spPr>
            <a:xfrm>
              <a:off x="8734483" y="4546014"/>
              <a:ext cx="1184186"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Search Service</a:t>
              </a:r>
            </a:p>
          </p:txBody>
        </p:sp>
        <p:sp>
          <p:nvSpPr>
            <p:cNvPr id="19" name="Rectangle 18">
              <a:extLst>
                <a:ext uri="{FF2B5EF4-FFF2-40B4-BE49-F238E27FC236}">
                  <a16:creationId xmlns:a16="http://schemas.microsoft.com/office/drawing/2014/main" id="{A31DC6B0-6BBD-4CBA-8287-EC12FB1A3F93}"/>
                </a:ext>
              </a:extLst>
            </p:cNvPr>
            <p:cNvSpPr>
              <a:spLocks/>
            </p:cNvSpPr>
            <p:nvPr/>
          </p:nvSpPr>
          <p:spPr>
            <a:xfrm>
              <a:off x="6865042" y="3034585"/>
              <a:ext cx="1735299" cy="701983"/>
            </a:xfrm>
            <a:prstGeom prst="rect">
              <a:avLst/>
            </a:prstGeom>
            <a:solidFill>
              <a:srgbClr val="FFFFFF">
                <a:lumMod val="95000"/>
              </a:srgbClr>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pPr>
              <a:r>
                <a:rPr lang="en-AU" sz="899" b="1">
                  <a:solidFill>
                    <a:srgbClr val="000000">
                      <a:lumMod val="50000"/>
                      <a:lumOff val="50000"/>
                    </a:srgbClr>
                  </a:solidFill>
                  <a:latin typeface="EYInterstate Light"/>
                  <a:cs typeface="Arial" panose="020B0604020202020204" pitchFamily="34" charset="0"/>
                </a:rPr>
                <a:t>Decisioning</a:t>
              </a:r>
            </a:p>
          </p:txBody>
        </p:sp>
        <p:sp>
          <p:nvSpPr>
            <p:cNvPr id="20" name="Rectangle 19">
              <a:extLst>
                <a:ext uri="{FF2B5EF4-FFF2-40B4-BE49-F238E27FC236}">
                  <a16:creationId xmlns:a16="http://schemas.microsoft.com/office/drawing/2014/main" id="{CE7D54A2-D13E-45C6-8115-85FBFAE85C64}"/>
                </a:ext>
              </a:extLst>
            </p:cNvPr>
            <p:cNvSpPr>
              <a:spLocks/>
            </p:cNvSpPr>
            <p:nvPr/>
          </p:nvSpPr>
          <p:spPr>
            <a:xfrm rot="16200000">
              <a:off x="6716233" y="3275267"/>
              <a:ext cx="610128" cy="292472"/>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Workflows</a:t>
              </a:r>
            </a:p>
          </p:txBody>
        </p:sp>
        <p:sp>
          <p:nvSpPr>
            <p:cNvPr id="21" name="Rectangle 20">
              <a:extLst>
                <a:ext uri="{FF2B5EF4-FFF2-40B4-BE49-F238E27FC236}">
                  <a16:creationId xmlns:a16="http://schemas.microsoft.com/office/drawing/2014/main" id="{0C16F5D2-1B60-44D2-9020-FFF8E5DBB303}"/>
                </a:ext>
              </a:extLst>
            </p:cNvPr>
            <p:cNvSpPr>
              <a:spLocks/>
            </p:cNvSpPr>
            <p:nvPr/>
          </p:nvSpPr>
          <p:spPr>
            <a:xfrm>
              <a:off x="7197036" y="3513994"/>
              <a:ext cx="1305574" cy="172790"/>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Decision Repository</a:t>
              </a:r>
            </a:p>
          </p:txBody>
        </p:sp>
        <p:sp>
          <p:nvSpPr>
            <p:cNvPr id="22" name="Rectangle 21">
              <a:extLst>
                <a:ext uri="{FF2B5EF4-FFF2-40B4-BE49-F238E27FC236}">
                  <a16:creationId xmlns:a16="http://schemas.microsoft.com/office/drawing/2014/main" id="{90D5B409-29F6-4C9C-A903-9ECED8238E4E}"/>
                </a:ext>
              </a:extLst>
            </p:cNvPr>
            <p:cNvSpPr>
              <a:spLocks/>
            </p:cNvSpPr>
            <p:nvPr/>
          </p:nvSpPr>
          <p:spPr>
            <a:xfrm>
              <a:off x="8734483" y="4794647"/>
              <a:ext cx="1179832"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Data Extracts</a:t>
              </a:r>
            </a:p>
          </p:txBody>
        </p:sp>
        <p:sp>
          <p:nvSpPr>
            <p:cNvPr id="23" name="Rectangle 22">
              <a:extLst>
                <a:ext uri="{FF2B5EF4-FFF2-40B4-BE49-F238E27FC236}">
                  <a16:creationId xmlns:a16="http://schemas.microsoft.com/office/drawing/2014/main" id="{E035733B-3F74-41E6-99E6-5DAB067AE8F3}"/>
                </a:ext>
              </a:extLst>
            </p:cNvPr>
            <p:cNvSpPr>
              <a:spLocks/>
            </p:cNvSpPr>
            <p:nvPr/>
          </p:nvSpPr>
          <p:spPr>
            <a:xfrm>
              <a:off x="8734484" y="2556946"/>
              <a:ext cx="1193666"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Visualisation plugins</a:t>
              </a:r>
            </a:p>
          </p:txBody>
        </p:sp>
        <p:sp>
          <p:nvSpPr>
            <p:cNvPr id="24" name="Rectangle 23">
              <a:extLst>
                <a:ext uri="{FF2B5EF4-FFF2-40B4-BE49-F238E27FC236}">
                  <a16:creationId xmlns:a16="http://schemas.microsoft.com/office/drawing/2014/main" id="{3D32FF47-67BA-406E-A5C4-5E8DB5CC5D0E}"/>
                </a:ext>
              </a:extLst>
            </p:cNvPr>
            <p:cNvSpPr>
              <a:spLocks/>
            </p:cNvSpPr>
            <p:nvPr/>
          </p:nvSpPr>
          <p:spPr>
            <a:xfrm>
              <a:off x="8734484" y="3054214"/>
              <a:ext cx="1193666"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Visual Discovery</a:t>
              </a:r>
            </a:p>
          </p:txBody>
        </p:sp>
        <p:sp>
          <p:nvSpPr>
            <p:cNvPr id="25" name="TextBox 24">
              <a:extLst>
                <a:ext uri="{FF2B5EF4-FFF2-40B4-BE49-F238E27FC236}">
                  <a16:creationId xmlns:a16="http://schemas.microsoft.com/office/drawing/2014/main" id="{2C83914F-DB08-435A-A075-518B13123534}"/>
                </a:ext>
              </a:extLst>
            </p:cNvPr>
            <p:cNvSpPr txBox="1"/>
            <p:nvPr/>
          </p:nvSpPr>
          <p:spPr>
            <a:xfrm>
              <a:off x="1259693" y="1976272"/>
              <a:ext cx="914400" cy="274320"/>
            </a:xfrm>
            <a:prstGeom prst="rect">
              <a:avLst/>
            </a:prstGeom>
            <a:solidFill>
              <a:schemeClr val="accent2"/>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000000">
                      <a:lumMod val="50000"/>
                      <a:lumOff val="50000"/>
                    </a:srgbClr>
                  </a:solidFill>
                  <a:latin typeface="EYInterstate Light"/>
                  <a:cs typeface="Arial" panose="020B0604020202020204" pitchFamily="34" charset="0"/>
                </a:defRPr>
              </a:lvl1pPr>
            </a:lstStyle>
            <a:p>
              <a:r>
                <a:rPr lang="en-US">
                  <a:solidFill>
                    <a:schemeClr val="bg2"/>
                  </a:solidFill>
                </a:rPr>
                <a:t>Data Store</a:t>
              </a:r>
            </a:p>
          </p:txBody>
        </p:sp>
        <p:sp>
          <p:nvSpPr>
            <p:cNvPr id="26" name="Rectangle 25">
              <a:extLst>
                <a:ext uri="{FF2B5EF4-FFF2-40B4-BE49-F238E27FC236}">
                  <a16:creationId xmlns:a16="http://schemas.microsoft.com/office/drawing/2014/main" id="{342B534A-64A2-405B-8B66-FDE4E1F5CFAD}"/>
                </a:ext>
              </a:extLst>
            </p:cNvPr>
            <p:cNvSpPr/>
            <p:nvPr/>
          </p:nvSpPr>
          <p:spPr>
            <a:xfrm>
              <a:off x="5749613" y="2037419"/>
              <a:ext cx="1477647" cy="268203"/>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Dependency Handling</a:t>
              </a:r>
            </a:p>
          </p:txBody>
        </p:sp>
        <p:sp>
          <p:nvSpPr>
            <p:cNvPr id="27" name="Rectangle 26">
              <a:extLst>
                <a:ext uri="{FF2B5EF4-FFF2-40B4-BE49-F238E27FC236}">
                  <a16:creationId xmlns:a16="http://schemas.microsoft.com/office/drawing/2014/main" id="{91935B22-79DA-48EB-8EB3-6A24B0E39E94}"/>
                </a:ext>
              </a:extLst>
            </p:cNvPr>
            <p:cNvSpPr/>
            <p:nvPr/>
          </p:nvSpPr>
          <p:spPr>
            <a:xfrm>
              <a:off x="5756518" y="2358058"/>
              <a:ext cx="1465824" cy="262695"/>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Resource Scaling &amp; Management</a:t>
              </a:r>
            </a:p>
          </p:txBody>
        </p:sp>
        <p:sp>
          <p:nvSpPr>
            <p:cNvPr id="28" name="Rectangle 27">
              <a:extLst>
                <a:ext uri="{FF2B5EF4-FFF2-40B4-BE49-F238E27FC236}">
                  <a16:creationId xmlns:a16="http://schemas.microsoft.com/office/drawing/2014/main" id="{C11704AF-A21C-4050-9DCE-A0BCB7C3C092}"/>
                </a:ext>
              </a:extLst>
            </p:cNvPr>
            <p:cNvSpPr/>
            <p:nvPr/>
          </p:nvSpPr>
          <p:spPr>
            <a:xfrm rot="16200000">
              <a:off x="4954785" y="2316259"/>
              <a:ext cx="905329" cy="336945"/>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Deployment pipeline</a:t>
              </a:r>
            </a:p>
          </p:txBody>
        </p:sp>
        <p:sp>
          <p:nvSpPr>
            <p:cNvPr id="29" name="Rectangle 28">
              <a:extLst>
                <a:ext uri="{FF2B5EF4-FFF2-40B4-BE49-F238E27FC236}">
                  <a16:creationId xmlns:a16="http://schemas.microsoft.com/office/drawing/2014/main" id="{A5501179-9C8F-49EC-BBDF-22A066A2E411}"/>
                </a:ext>
              </a:extLst>
            </p:cNvPr>
            <p:cNvSpPr/>
            <p:nvPr/>
          </p:nvSpPr>
          <p:spPr>
            <a:xfrm>
              <a:off x="2635385" y="5003739"/>
              <a:ext cx="5836155" cy="174350"/>
            </a:xfrm>
            <a:prstGeom prst="rect">
              <a:avLst/>
            </a:prstGeom>
            <a:solidFill>
              <a:schemeClr val="bg2">
                <a:lumMod val="20000"/>
                <a:lumOff val="8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latin typeface="EYInterstate Light"/>
                  <a:cs typeface="Arial" panose="020B0604020202020204" pitchFamily="34" charset="0"/>
                </a:rPr>
                <a:t>Asynchronous / Synchronous Services</a:t>
              </a:r>
            </a:p>
          </p:txBody>
        </p:sp>
        <p:sp>
          <p:nvSpPr>
            <p:cNvPr id="30" name="Rectangle 29">
              <a:extLst>
                <a:ext uri="{FF2B5EF4-FFF2-40B4-BE49-F238E27FC236}">
                  <a16:creationId xmlns:a16="http://schemas.microsoft.com/office/drawing/2014/main" id="{1981C09B-950D-4DA2-9843-8D3C797B6E8C}"/>
                </a:ext>
              </a:extLst>
            </p:cNvPr>
            <p:cNvSpPr/>
            <p:nvPr/>
          </p:nvSpPr>
          <p:spPr>
            <a:xfrm>
              <a:off x="6814153" y="4770905"/>
              <a:ext cx="1657387" cy="199888"/>
            </a:xfrm>
            <a:prstGeom prst="rect">
              <a:avLst/>
            </a:prstGeom>
            <a:solidFill>
              <a:schemeClr val="bg2">
                <a:lumMod val="20000"/>
                <a:lumOff val="8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latin typeface="EYInterstate Light"/>
                  <a:cs typeface="Arial" panose="020B0604020202020204" pitchFamily="34" charset="0"/>
                </a:rPr>
                <a:t>Development Tools &amp; IDEs</a:t>
              </a:r>
            </a:p>
          </p:txBody>
        </p:sp>
        <p:sp>
          <p:nvSpPr>
            <p:cNvPr id="31" name="Rectangle 30">
              <a:extLst>
                <a:ext uri="{FF2B5EF4-FFF2-40B4-BE49-F238E27FC236}">
                  <a16:creationId xmlns:a16="http://schemas.microsoft.com/office/drawing/2014/main" id="{C2C9133C-5C37-4408-A9B0-6A48748D3BF2}"/>
                </a:ext>
              </a:extLst>
            </p:cNvPr>
            <p:cNvSpPr/>
            <p:nvPr/>
          </p:nvSpPr>
          <p:spPr>
            <a:xfrm>
              <a:off x="2627630" y="4770906"/>
              <a:ext cx="940408" cy="199888"/>
            </a:xfrm>
            <a:prstGeom prst="rect">
              <a:avLst/>
            </a:prstGeom>
            <a:solidFill>
              <a:schemeClr val="bg2">
                <a:lumMod val="20000"/>
                <a:lumOff val="8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latin typeface="EYInterstate Light"/>
                  <a:cs typeface="Arial" panose="020B0604020202020204" pitchFamily="34" charset="0"/>
                </a:rPr>
                <a:t>Python SDK</a:t>
              </a:r>
            </a:p>
          </p:txBody>
        </p:sp>
        <p:sp>
          <p:nvSpPr>
            <p:cNvPr id="32" name="Rectangle 31">
              <a:extLst>
                <a:ext uri="{FF2B5EF4-FFF2-40B4-BE49-F238E27FC236}">
                  <a16:creationId xmlns:a16="http://schemas.microsoft.com/office/drawing/2014/main" id="{E843090D-385E-418A-A64A-1232BD8CA70A}"/>
                </a:ext>
              </a:extLst>
            </p:cNvPr>
            <p:cNvSpPr/>
            <p:nvPr/>
          </p:nvSpPr>
          <p:spPr>
            <a:xfrm>
              <a:off x="2635385" y="5422574"/>
              <a:ext cx="5842918" cy="170524"/>
            </a:xfrm>
            <a:prstGeom prst="rect">
              <a:avLst/>
            </a:prstGeom>
            <a:solidFill>
              <a:schemeClr val="bg2">
                <a:lumMod val="20000"/>
                <a:lumOff val="8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latin typeface="EYInterstate Light"/>
                  <a:cs typeface="Arial" panose="020B0604020202020204" pitchFamily="34" charset="0"/>
                </a:rPr>
                <a:t>Cognitive Services and OSIT Modelling Frameworks </a:t>
              </a:r>
            </a:p>
          </p:txBody>
        </p:sp>
        <p:sp>
          <p:nvSpPr>
            <p:cNvPr id="33" name="Rectangle 32">
              <a:extLst>
                <a:ext uri="{FF2B5EF4-FFF2-40B4-BE49-F238E27FC236}">
                  <a16:creationId xmlns:a16="http://schemas.microsoft.com/office/drawing/2014/main" id="{DFEB614C-23F9-4362-9990-CC2E2D6EBD06}"/>
                </a:ext>
              </a:extLst>
            </p:cNvPr>
            <p:cNvSpPr/>
            <p:nvPr/>
          </p:nvSpPr>
          <p:spPr>
            <a:xfrm>
              <a:off x="2631781" y="5217098"/>
              <a:ext cx="5842918" cy="174349"/>
            </a:xfrm>
            <a:prstGeom prst="rect">
              <a:avLst/>
            </a:prstGeom>
            <a:solidFill>
              <a:schemeClr val="bg2">
                <a:lumMod val="20000"/>
                <a:lumOff val="8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latin typeface="EYInterstate Light"/>
                  <a:cs typeface="Arial" panose="020B0604020202020204" pitchFamily="34" charset="0"/>
                </a:rPr>
                <a:t>Customizable Deep Learning Development Frameworks</a:t>
              </a:r>
            </a:p>
          </p:txBody>
        </p:sp>
        <p:sp>
          <p:nvSpPr>
            <p:cNvPr id="34" name="Rectangle 33">
              <a:extLst>
                <a:ext uri="{FF2B5EF4-FFF2-40B4-BE49-F238E27FC236}">
                  <a16:creationId xmlns:a16="http://schemas.microsoft.com/office/drawing/2014/main" id="{72A4BCA6-02E5-44E0-9FE0-9A393ACA4177}"/>
                </a:ext>
              </a:extLst>
            </p:cNvPr>
            <p:cNvSpPr/>
            <p:nvPr/>
          </p:nvSpPr>
          <p:spPr>
            <a:xfrm>
              <a:off x="2449915" y="3260123"/>
              <a:ext cx="664055" cy="751324"/>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Data-Pipeline Version Control</a:t>
              </a:r>
            </a:p>
          </p:txBody>
        </p:sp>
        <p:sp>
          <p:nvSpPr>
            <p:cNvPr id="35" name="Rectangle 34">
              <a:extLst>
                <a:ext uri="{FF2B5EF4-FFF2-40B4-BE49-F238E27FC236}">
                  <a16:creationId xmlns:a16="http://schemas.microsoft.com/office/drawing/2014/main" id="{73D7BB1E-15FB-48AA-A7C7-82476BBF83D9}"/>
                </a:ext>
              </a:extLst>
            </p:cNvPr>
            <p:cNvSpPr/>
            <p:nvPr/>
          </p:nvSpPr>
          <p:spPr>
            <a:xfrm>
              <a:off x="2446616" y="4051252"/>
              <a:ext cx="664055" cy="434985"/>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Data Ops</a:t>
              </a:r>
            </a:p>
          </p:txBody>
        </p:sp>
        <p:sp>
          <p:nvSpPr>
            <p:cNvPr id="36" name="Rectangle 35">
              <a:extLst>
                <a:ext uri="{FF2B5EF4-FFF2-40B4-BE49-F238E27FC236}">
                  <a16:creationId xmlns:a16="http://schemas.microsoft.com/office/drawing/2014/main" id="{565169A5-66EB-41B9-B1E2-DD48ACF6D468}"/>
                </a:ext>
              </a:extLst>
            </p:cNvPr>
            <p:cNvSpPr/>
            <p:nvPr/>
          </p:nvSpPr>
          <p:spPr>
            <a:xfrm>
              <a:off x="3217614" y="3636812"/>
              <a:ext cx="607105" cy="334779"/>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Version Control</a:t>
              </a:r>
            </a:p>
          </p:txBody>
        </p:sp>
        <p:sp>
          <p:nvSpPr>
            <p:cNvPr id="37" name="Rectangle 36">
              <a:extLst>
                <a:ext uri="{FF2B5EF4-FFF2-40B4-BE49-F238E27FC236}">
                  <a16:creationId xmlns:a16="http://schemas.microsoft.com/office/drawing/2014/main" id="{63005E5C-931E-4512-BF02-CC3BF12A5CD3}"/>
                </a:ext>
              </a:extLst>
            </p:cNvPr>
            <p:cNvSpPr/>
            <p:nvPr/>
          </p:nvSpPr>
          <p:spPr>
            <a:xfrm>
              <a:off x="3959320" y="3636809"/>
              <a:ext cx="823112" cy="337331"/>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CI/CD</a:t>
              </a:r>
            </a:p>
          </p:txBody>
        </p:sp>
        <p:sp>
          <p:nvSpPr>
            <p:cNvPr id="38" name="Rectangle 37">
              <a:extLst>
                <a:ext uri="{FF2B5EF4-FFF2-40B4-BE49-F238E27FC236}">
                  <a16:creationId xmlns:a16="http://schemas.microsoft.com/office/drawing/2014/main" id="{DD8D3A5A-F1F6-4228-BA38-230EB53CB49A}"/>
                </a:ext>
              </a:extLst>
            </p:cNvPr>
            <p:cNvSpPr/>
            <p:nvPr/>
          </p:nvSpPr>
          <p:spPr>
            <a:xfrm>
              <a:off x="4980461" y="3630561"/>
              <a:ext cx="823112" cy="347343"/>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Create &amp; Register Image</a:t>
              </a:r>
            </a:p>
          </p:txBody>
        </p:sp>
        <p:sp>
          <p:nvSpPr>
            <p:cNvPr id="39" name="Rectangle 38">
              <a:extLst>
                <a:ext uri="{FF2B5EF4-FFF2-40B4-BE49-F238E27FC236}">
                  <a16:creationId xmlns:a16="http://schemas.microsoft.com/office/drawing/2014/main" id="{00CA1DFF-F64A-4DFB-AF55-BCAA95F86EBB}"/>
                </a:ext>
              </a:extLst>
            </p:cNvPr>
            <p:cNvSpPr/>
            <p:nvPr/>
          </p:nvSpPr>
          <p:spPr>
            <a:xfrm>
              <a:off x="5955080" y="3635984"/>
              <a:ext cx="724472" cy="347343"/>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Deploy Image</a:t>
              </a:r>
            </a:p>
          </p:txBody>
        </p:sp>
        <p:sp>
          <p:nvSpPr>
            <p:cNvPr id="40" name="Rectangle 39">
              <a:extLst>
                <a:ext uri="{FF2B5EF4-FFF2-40B4-BE49-F238E27FC236}">
                  <a16:creationId xmlns:a16="http://schemas.microsoft.com/office/drawing/2014/main" id="{7BD3D5C2-20A2-4844-B680-79F708EC8FC5}"/>
                </a:ext>
              </a:extLst>
            </p:cNvPr>
            <p:cNvSpPr/>
            <p:nvPr/>
          </p:nvSpPr>
          <p:spPr>
            <a:xfrm>
              <a:off x="3218009" y="4051582"/>
              <a:ext cx="1564425" cy="434300"/>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Docker Image Support &amp; Container Services</a:t>
              </a:r>
            </a:p>
          </p:txBody>
        </p:sp>
        <p:sp>
          <p:nvSpPr>
            <p:cNvPr id="41" name="Rectangle 40">
              <a:extLst>
                <a:ext uri="{FF2B5EF4-FFF2-40B4-BE49-F238E27FC236}">
                  <a16:creationId xmlns:a16="http://schemas.microsoft.com/office/drawing/2014/main" id="{B495F91D-8216-40FD-8197-017CA0760624}"/>
                </a:ext>
              </a:extLst>
            </p:cNvPr>
            <p:cNvSpPr/>
            <p:nvPr/>
          </p:nvSpPr>
          <p:spPr>
            <a:xfrm>
              <a:off x="3213906" y="3253630"/>
              <a:ext cx="2470053" cy="264156"/>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Model Management</a:t>
              </a:r>
            </a:p>
          </p:txBody>
        </p:sp>
        <p:sp>
          <p:nvSpPr>
            <p:cNvPr id="42" name="Rectangle 41">
              <a:extLst>
                <a:ext uri="{FF2B5EF4-FFF2-40B4-BE49-F238E27FC236}">
                  <a16:creationId xmlns:a16="http://schemas.microsoft.com/office/drawing/2014/main" id="{10B55EF2-0FA8-4509-A0B3-FC928E150008}"/>
                </a:ext>
              </a:extLst>
            </p:cNvPr>
            <p:cNvSpPr/>
            <p:nvPr/>
          </p:nvSpPr>
          <p:spPr>
            <a:xfrm>
              <a:off x="5750117" y="3253484"/>
              <a:ext cx="938942" cy="264156"/>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ModelOps</a:t>
              </a:r>
            </a:p>
          </p:txBody>
        </p:sp>
        <p:sp>
          <p:nvSpPr>
            <p:cNvPr id="43" name="Rectangle 42">
              <a:extLst>
                <a:ext uri="{FF2B5EF4-FFF2-40B4-BE49-F238E27FC236}">
                  <a16:creationId xmlns:a16="http://schemas.microsoft.com/office/drawing/2014/main" id="{14DEA70F-D8A3-4D14-87B0-0091B5101156}"/>
                </a:ext>
              </a:extLst>
            </p:cNvPr>
            <p:cNvSpPr>
              <a:spLocks/>
            </p:cNvSpPr>
            <p:nvPr/>
          </p:nvSpPr>
          <p:spPr>
            <a:xfrm>
              <a:off x="6894179" y="4345059"/>
              <a:ext cx="1610665" cy="153708"/>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Backup</a:t>
              </a:r>
            </a:p>
          </p:txBody>
        </p:sp>
        <p:sp>
          <p:nvSpPr>
            <p:cNvPr id="50" name="TextBox 49">
              <a:extLst>
                <a:ext uri="{FF2B5EF4-FFF2-40B4-BE49-F238E27FC236}">
                  <a16:creationId xmlns:a16="http://schemas.microsoft.com/office/drawing/2014/main" id="{6DFEB7A0-9673-440F-A09B-C5465C8836ED}"/>
                </a:ext>
              </a:extLst>
            </p:cNvPr>
            <p:cNvSpPr txBox="1"/>
            <p:nvPr/>
          </p:nvSpPr>
          <p:spPr>
            <a:xfrm>
              <a:off x="1252327" y="3020975"/>
              <a:ext cx="914400" cy="274320"/>
            </a:xfrm>
            <a:prstGeom prst="rect">
              <a:avLst/>
            </a:prstGeom>
            <a:solidFill>
              <a:schemeClr val="accent2"/>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FFFFFF"/>
                  </a:solidFill>
                  <a:latin typeface="EYInterstate Light"/>
                  <a:cs typeface="Arial" panose="020B0604020202020204" pitchFamily="34" charset="0"/>
                </a:defRPr>
              </a:lvl1pPr>
            </a:lstStyle>
            <a:p>
              <a:r>
                <a:rPr lang="en-US">
                  <a:solidFill>
                    <a:schemeClr val="bg2"/>
                  </a:solidFill>
                </a:rPr>
                <a:t>CRM</a:t>
              </a:r>
            </a:p>
          </p:txBody>
        </p:sp>
        <p:sp>
          <p:nvSpPr>
            <p:cNvPr id="51" name="TextBox 50">
              <a:extLst>
                <a:ext uri="{FF2B5EF4-FFF2-40B4-BE49-F238E27FC236}">
                  <a16:creationId xmlns:a16="http://schemas.microsoft.com/office/drawing/2014/main" id="{E48D7587-B9FC-455B-B3DC-EB3741A3A10D}"/>
                </a:ext>
              </a:extLst>
            </p:cNvPr>
            <p:cNvSpPr txBox="1"/>
            <p:nvPr/>
          </p:nvSpPr>
          <p:spPr>
            <a:xfrm>
              <a:off x="1252327" y="2323309"/>
              <a:ext cx="914400" cy="274320"/>
            </a:xfrm>
            <a:prstGeom prst="rect">
              <a:avLst/>
            </a:prstGeom>
            <a:solidFill>
              <a:schemeClr val="accent2"/>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000000">
                      <a:lumMod val="50000"/>
                      <a:lumOff val="50000"/>
                    </a:srgbClr>
                  </a:solidFill>
                  <a:latin typeface="EYInterstate Light"/>
                  <a:cs typeface="Arial" panose="020B0604020202020204" pitchFamily="34" charset="0"/>
                </a:defRPr>
              </a:lvl1pPr>
            </a:lstStyle>
            <a:p>
              <a:r>
                <a:rPr lang="en-US">
                  <a:solidFill>
                    <a:schemeClr val="bg2"/>
                  </a:solidFill>
                </a:rPr>
                <a:t>Real-time Event Streams</a:t>
              </a:r>
            </a:p>
          </p:txBody>
        </p:sp>
        <p:sp>
          <p:nvSpPr>
            <p:cNvPr id="52" name="TextBox 51">
              <a:extLst>
                <a:ext uri="{FF2B5EF4-FFF2-40B4-BE49-F238E27FC236}">
                  <a16:creationId xmlns:a16="http://schemas.microsoft.com/office/drawing/2014/main" id="{DDEE2DCB-5CF4-4F7F-8EBC-2D8E91A0226B}"/>
                </a:ext>
              </a:extLst>
            </p:cNvPr>
            <p:cNvSpPr txBox="1"/>
            <p:nvPr/>
          </p:nvSpPr>
          <p:spPr>
            <a:xfrm>
              <a:off x="1252327" y="2672142"/>
              <a:ext cx="914400" cy="274320"/>
            </a:xfrm>
            <a:prstGeom prst="rect">
              <a:avLst/>
            </a:prstGeom>
            <a:solidFill>
              <a:schemeClr val="accent2"/>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000000">
                      <a:lumMod val="50000"/>
                      <a:lumOff val="50000"/>
                    </a:srgbClr>
                  </a:solidFill>
                  <a:latin typeface="EYInterstate Light"/>
                  <a:cs typeface="Arial" panose="020B0604020202020204" pitchFamily="34" charset="0"/>
                </a:defRPr>
              </a:lvl1pPr>
            </a:lstStyle>
            <a:p>
              <a:r>
                <a:rPr lang="en-US">
                  <a:solidFill>
                    <a:schemeClr val="bg2"/>
                  </a:solidFill>
                </a:rPr>
                <a:t>Billing</a:t>
              </a:r>
            </a:p>
          </p:txBody>
        </p:sp>
        <p:sp>
          <p:nvSpPr>
            <p:cNvPr id="53" name="Rectangle 52">
              <a:extLst>
                <a:ext uri="{FF2B5EF4-FFF2-40B4-BE49-F238E27FC236}">
                  <a16:creationId xmlns:a16="http://schemas.microsoft.com/office/drawing/2014/main" id="{E8E7AC9A-105E-41D7-9534-A803261B226F}"/>
                </a:ext>
              </a:extLst>
            </p:cNvPr>
            <p:cNvSpPr>
              <a:spLocks/>
            </p:cNvSpPr>
            <p:nvPr/>
          </p:nvSpPr>
          <p:spPr>
            <a:xfrm>
              <a:off x="7292646" y="2032065"/>
              <a:ext cx="1210896" cy="275911"/>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Distribute Data</a:t>
              </a:r>
            </a:p>
          </p:txBody>
        </p:sp>
        <p:sp>
          <p:nvSpPr>
            <p:cNvPr id="54" name="Rectangle 53">
              <a:extLst>
                <a:ext uri="{FF2B5EF4-FFF2-40B4-BE49-F238E27FC236}">
                  <a16:creationId xmlns:a16="http://schemas.microsoft.com/office/drawing/2014/main" id="{E908DEFA-D461-4971-99F6-2C9380CE0655}"/>
                </a:ext>
              </a:extLst>
            </p:cNvPr>
            <p:cNvSpPr>
              <a:spLocks/>
            </p:cNvSpPr>
            <p:nvPr/>
          </p:nvSpPr>
          <p:spPr>
            <a:xfrm>
              <a:off x="7300019" y="2352551"/>
              <a:ext cx="1210896" cy="275911"/>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Cluster Provisioning</a:t>
              </a:r>
            </a:p>
          </p:txBody>
        </p:sp>
        <p:sp>
          <p:nvSpPr>
            <p:cNvPr id="55" name="Rectangle 54">
              <a:extLst>
                <a:ext uri="{FF2B5EF4-FFF2-40B4-BE49-F238E27FC236}">
                  <a16:creationId xmlns:a16="http://schemas.microsoft.com/office/drawing/2014/main" id="{476F5EF8-1CE6-4EEC-B87F-35BBF3E696D5}"/>
                </a:ext>
              </a:extLst>
            </p:cNvPr>
            <p:cNvSpPr>
              <a:spLocks/>
            </p:cNvSpPr>
            <p:nvPr/>
          </p:nvSpPr>
          <p:spPr>
            <a:xfrm>
              <a:off x="3022288" y="2749476"/>
              <a:ext cx="1100713" cy="183958"/>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Code Repository</a:t>
              </a:r>
            </a:p>
          </p:txBody>
        </p:sp>
        <p:sp>
          <p:nvSpPr>
            <p:cNvPr id="56" name="Rectangle 55">
              <a:extLst>
                <a:ext uri="{FF2B5EF4-FFF2-40B4-BE49-F238E27FC236}">
                  <a16:creationId xmlns:a16="http://schemas.microsoft.com/office/drawing/2014/main" id="{48C3F812-0DDB-4EA6-9C08-C5850287F5C1}"/>
                </a:ext>
              </a:extLst>
            </p:cNvPr>
            <p:cNvSpPr>
              <a:spLocks/>
            </p:cNvSpPr>
            <p:nvPr/>
          </p:nvSpPr>
          <p:spPr>
            <a:xfrm>
              <a:off x="3032056" y="2524084"/>
              <a:ext cx="2160989" cy="195380"/>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AI/ML Capable Lab tools</a:t>
              </a:r>
            </a:p>
          </p:txBody>
        </p:sp>
        <p:sp>
          <p:nvSpPr>
            <p:cNvPr id="57" name="Rectangle 56">
              <a:extLst>
                <a:ext uri="{FF2B5EF4-FFF2-40B4-BE49-F238E27FC236}">
                  <a16:creationId xmlns:a16="http://schemas.microsoft.com/office/drawing/2014/main" id="{826A8C73-8C87-4DD9-900C-28FEF26C35A5}"/>
                </a:ext>
              </a:extLst>
            </p:cNvPr>
            <p:cNvSpPr>
              <a:spLocks/>
            </p:cNvSpPr>
            <p:nvPr/>
          </p:nvSpPr>
          <p:spPr>
            <a:xfrm>
              <a:off x="3023683" y="2282696"/>
              <a:ext cx="2174132" cy="207070"/>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Model/ Feature Repository</a:t>
              </a:r>
            </a:p>
          </p:txBody>
        </p:sp>
        <p:sp>
          <p:nvSpPr>
            <p:cNvPr id="58" name="Rectangle 57">
              <a:extLst>
                <a:ext uri="{FF2B5EF4-FFF2-40B4-BE49-F238E27FC236}">
                  <a16:creationId xmlns:a16="http://schemas.microsoft.com/office/drawing/2014/main" id="{F82E59FB-079A-4BF9-8E7E-1AF2217C539C}"/>
                </a:ext>
              </a:extLst>
            </p:cNvPr>
            <p:cNvSpPr>
              <a:spLocks/>
            </p:cNvSpPr>
            <p:nvPr/>
          </p:nvSpPr>
          <p:spPr>
            <a:xfrm>
              <a:off x="4166045" y="2745527"/>
              <a:ext cx="1036536" cy="183958"/>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Lab Storage</a:t>
              </a:r>
            </a:p>
          </p:txBody>
        </p:sp>
        <p:sp>
          <p:nvSpPr>
            <p:cNvPr id="59" name="Rectangle 58">
              <a:extLst>
                <a:ext uri="{FF2B5EF4-FFF2-40B4-BE49-F238E27FC236}">
                  <a16:creationId xmlns:a16="http://schemas.microsoft.com/office/drawing/2014/main" id="{9B52E978-98AA-4374-ACE2-59B2EF9475CF}"/>
                </a:ext>
              </a:extLst>
            </p:cNvPr>
            <p:cNvSpPr/>
            <p:nvPr/>
          </p:nvSpPr>
          <p:spPr>
            <a:xfrm>
              <a:off x="3032055" y="2044198"/>
              <a:ext cx="1030145" cy="207504"/>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Automated ML</a:t>
              </a:r>
            </a:p>
          </p:txBody>
        </p:sp>
        <p:sp>
          <p:nvSpPr>
            <p:cNvPr id="60" name="Rectangle 59">
              <a:extLst>
                <a:ext uri="{FF2B5EF4-FFF2-40B4-BE49-F238E27FC236}">
                  <a16:creationId xmlns:a16="http://schemas.microsoft.com/office/drawing/2014/main" id="{543AC925-69CB-4C79-90D5-5EE59B4E53F1}"/>
                </a:ext>
              </a:extLst>
            </p:cNvPr>
            <p:cNvSpPr/>
            <p:nvPr/>
          </p:nvSpPr>
          <p:spPr>
            <a:xfrm>
              <a:off x="4139876" y="2044198"/>
              <a:ext cx="1053168" cy="205568"/>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Model Monitoring</a:t>
              </a:r>
            </a:p>
          </p:txBody>
        </p:sp>
        <p:sp>
          <p:nvSpPr>
            <p:cNvPr id="61" name="Rectangle 60">
              <a:extLst>
                <a:ext uri="{FF2B5EF4-FFF2-40B4-BE49-F238E27FC236}">
                  <a16:creationId xmlns:a16="http://schemas.microsoft.com/office/drawing/2014/main" id="{B8DFBADC-A833-4E5D-A0C6-CD53A0D64546}"/>
                </a:ext>
              </a:extLst>
            </p:cNvPr>
            <p:cNvSpPr>
              <a:spLocks/>
            </p:cNvSpPr>
            <p:nvPr/>
          </p:nvSpPr>
          <p:spPr>
            <a:xfrm>
              <a:off x="8734484" y="2059679"/>
              <a:ext cx="1193666"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Visualisation Portal</a:t>
              </a:r>
            </a:p>
          </p:txBody>
        </p:sp>
        <p:sp>
          <p:nvSpPr>
            <p:cNvPr id="62" name="Rectangle 61">
              <a:extLst>
                <a:ext uri="{FF2B5EF4-FFF2-40B4-BE49-F238E27FC236}">
                  <a16:creationId xmlns:a16="http://schemas.microsoft.com/office/drawing/2014/main" id="{2A5C10A2-84D6-492C-ADC7-1E679EB0AF49}"/>
                </a:ext>
              </a:extLst>
            </p:cNvPr>
            <p:cNvSpPr>
              <a:spLocks/>
            </p:cNvSpPr>
            <p:nvPr/>
          </p:nvSpPr>
          <p:spPr>
            <a:xfrm>
              <a:off x="8734483" y="2308313"/>
              <a:ext cx="1187107"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Operational Portal</a:t>
              </a:r>
            </a:p>
          </p:txBody>
        </p:sp>
        <p:sp>
          <p:nvSpPr>
            <p:cNvPr id="63" name="Rectangle 62">
              <a:extLst>
                <a:ext uri="{FF2B5EF4-FFF2-40B4-BE49-F238E27FC236}">
                  <a16:creationId xmlns:a16="http://schemas.microsoft.com/office/drawing/2014/main" id="{FF4D256A-362E-44A8-9D15-D7B33682BDAC}"/>
                </a:ext>
              </a:extLst>
            </p:cNvPr>
            <p:cNvSpPr>
              <a:spLocks/>
            </p:cNvSpPr>
            <p:nvPr/>
          </p:nvSpPr>
          <p:spPr>
            <a:xfrm>
              <a:off x="8734484" y="2805579"/>
              <a:ext cx="1177624"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Visualisation apps</a:t>
              </a:r>
            </a:p>
          </p:txBody>
        </p:sp>
        <p:sp>
          <p:nvSpPr>
            <p:cNvPr id="64" name="Rectangle 63">
              <a:extLst>
                <a:ext uri="{FF2B5EF4-FFF2-40B4-BE49-F238E27FC236}">
                  <a16:creationId xmlns:a16="http://schemas.microsoft.com/office/drawing/2014/main" id="{51151C82-CC88-4137-BD80-C1AB9678F8E8}"/>
                </a:ext>
              </a:extLst>
            </p:cNvPr>
            <p:cNvSpPr>
              <a:spLocks/>
            </p:cNvSpPr>
            <p:nvPr/>
          </p:nvSpPr>
          <p:spPr>
            <a:xfrm>
              <a:off x="8734483" y="5043281"/>
              <a:ext cx="1173273"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Data Pub/Sub</a:t>
              </a:r>
            </a:p>
          </p:txBody>
        </p:sp>
        <p:sp>
          <p:nvSpPr>
            <p:cNvPr id="65" name="Rectangle 64">
              <a:extLst>
                <a:ext uri="{FF2B5EF4-FFF2-40B4-BE49-F238E27FC236}">
                  <a16:creationId xmlns:a16="http://schemas.microsoft.com/office/drawing/2014/main" id="{9E2F6A1E-CDD2-4576-B407-A1BCA78C89DD}"/>
                </a:ext>
              </a:extLst>
            </p:cNvPr>
            <p:cNvSpPr>
              <a:spLocks/>
            </p:cNvSpPr>
            <p:nvPr/>
          </p:nvSpPr>
          <p:spPr>
            <a:xfrm>
              <a:off x="8734484" y="3800115"/>
              <a:ext cx="1193666"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Text</a:t>
              </a:r>
            </a:p>
          </p:txBody>
        </p:sp>
        <p:sp>
          <p:nvSpPr>
            <p:cNvPr id="66" name="Rectangle 65">
              <a:extLst>
                <a:ext uri="{FF2B5EF4-FFF2-40B4-BE49-F238E27FC236}">
                  <a16:creationId xmlns:a16="http://schemas.microsoft.com/office/drawing/2014/main" id="{37571D0F-9CAA-48C7-8E32-F43BDC22C0A8}"/>
                </a:ext>
              </a:extLst>
            </p:cNvPr>
            <p:cNvSpPr>
              <a:spLocks/>
            </p:cNvSpPr>
            <p:nvPr/>
          </p:nvSpPr>
          <p:spPr>
            <a:xfrm>
              <a:off x="8734484" y="4048748"/>
              <a:ext cx="1193666"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Speech</a:t>
              </a:r>
            </a:p>
          </p:txBody>
        </p:sp>
        <p:sp>
          <p:nvSpPr>
            <p:cNvPr id="67" name="Rectangle 66">
              <a:extLst>
                <a:ext uri="{FF2B5EF4-FFF2-40B4-BE49-F238E27FC236}">
                  <a16:creationId xmlns:a16="http://schemas.microsoft.com/office/drawing/2014/main" id="{1ECD5D16-09D5-4215-AEC9-E93CA23A1B7B}"/>
                </a:ext>
              </a:extLst>
            </p:cNvPr>
            <p:cNvSpPr>
              <a:spLocks/>
            </p:cNvSpPr>
            <p:nvPr/>
          </p:nvSpPr>
          <p:spPr>
            <a:xfrm>
              <a:off x="8734484" y="4297381"/>
              <a:ext cx="1193666"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Language</a:t>
              </a:r>
            </a:p>
          </p:txBody>
        </p:sp>
        <p:sp>
          <p:nvSpPr>
            <p:cNvPr id="68" name="Rectangle 67">
              <a:extLst>
                <a:ext uri="{FF2B5EF4-FFF2-40B4-BE49-F238E27FC236}">
                  <a16:creationId xmlns:a16="http://schemas.microsoft.com/office/drawing/2014/main" id="{E2A61F12-4F2D-4F90-9D0C-048589525857}"/>
                </a:ext>
              </a:extLst>
            </p:cNvPr>
            <p:cNvSpPr>
              <a:spLocks/>
            </p:cNvSpPr>
            <p:nvPr/>
          </p:nvSpPr>
          <p:spPr>
            <a:xfrm>
              <a:off x="7197035" y="3237552"/>
              <a:ext cx="617676" cy="227691"/>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Static Rules</a:t>
              </a:r>
            </a:p>
          </p:txBody>
        </p:sp>
        <p:sp>
          <p:nvSpPr>
            <p:cNvPr id="69" name="Rectangle 68">
              <a:extLst>
                <a:ext uri="{FF2B5EF4-FFF2-40B4-BE49-F238E27FC236}">
                  <a16:creationId xmlns:a16="http://schemas.microsoft.com/office/drawing/2014/main" id="{3BA98E41-31DF-4CB1-A6A2-0EF0948A73DB}"/>
                </a:ext>
              </a:extLst>
            </p:cNvPr>
            <p:cNvSpPr>
              <a:spLocks/>
            </p:cNvSpPr>
            <p:nvPr/>
          </p:nvSpPr>
          <p:spPr>
            <a:xfrm>
              <a:off x="7844216" y="3245834"/>
              <a:ext cx="658394" cy="219409"/>
            </a:xfrm>
            <a:prstGeom prst="rect">
              <a:avLst/>
            </a:prstGeom>
            <a:solidFill>
              <a:schemeClr val="accent5"/>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solidFill>
                    <a:schemeClr val="tx2"/>
                  </a:solidFill>
                  <a:latin typeface="EYInterstate Light"/>
                  <a:cs typeface="Arial" panose="020B0604020202020204" pitchFamily="34" charset="0"/>
                </a:rPr>
                <a:t>Dynamic Rules</a:t>
              </a:r>
            </a:p>
          </p:txBody>
        </p:sp>
        <p:sp>
          <p:nvSpPr>
            <p:cNvPr id="70" name="Rectangle 69">
              <a:extLst>
                <a:ext uri="{FF2B5EF4-FFF2-40B4-BE49-F238E27FC236}">
                  <a16:creationId xmlns:a16="http://schemas.microsoft.com/office/drawing/2014/main" id="{0EAD0E0A-F85F-4B01-A7BC-81B3388A6E52}"/>
                </a:ext>
              </a:extLst>
            </p:cNvPr>
            <p:cNvSpPr>
              <a:spLocks/>
            </p:cNvSpPr>
            <p:nvPr/>
          </p:nvSpPr>
          <p:spPr>
            <a:xfrm>
              <a:off x="8734483" y="5291909"/>
              <a:ext cx="1173273"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API</a:t>
              </a:r>
            </a:p>
          </p:txBody>
        </p:sp>
        <p:sp>
          <p:nvSpPr>
            <p:cNvPr id="71" name="Rectangle 70">
              <a:extLst>
                <a:ext uri="{FF2B5EF4-FFF2-40B4-BE49-F238E27FC236}">
                  <a16:creationId xmlns:a16="http://schemas.microsoft.com/office/drawing/2014/main" id="{45384977-B8B7-46D5-AC71-DC198B283E77}"/>
                </a:ext>
              </a:extLst>
            </p:cNvPr>
            <p:cNvSpPr>
              <a:spLocks/>
            </p:cNvSpPr>
            <p:nvPr/>
          </p:nvSpPr>
          <p:spPr>
            <a:xfrm>
              <a:off x="8734484" y="3302847"/>
              <a:ext cx="1193666" cy="163265"/>
            </a:xfrm>
            <a:prstGeom prst="rect">
              <a:avLst/>
            </a:prstGeom>
            <a:solidFill>
              <a:schemeClr val="accent2"/>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AU" sz="824" kern="0">
                  <a:latin typeface="EYInterstate Light"/>
                  <a:cs typeface="Arial" panose="020B0604020202020204" pitchFamily="34" charset="0"/>
                </a:rPr>
                <a:t>Data Discovery</a:t>
              </a:r>
            </a:p>
          </p:txBody>
        </p:sp>
        <p:sp>
          <p:nvSpPr>
            <p:cNvPr id="72" name="Rectangle 71">
              <a:extLst>
                <a:ext uri="{FF2B5EF4-FFF2-40B4-BE49-F238E27FC236}">
                  <a16:creationId xmlns:a16="http://schemas.microsoft.com/office/drawing/2014/main" id="{51FB2886-4EBB-467A-8C06-ABEE0A2D4E1A}"/>
                </a:ext>
              </a:extLst>
            </p:cNvPr>
            <p:cNvSpPr/>
            <p:nvPr/>
          </p:nvSpPr>
          <p:spPr>
            <a:xfrm>
              <a:off x="5756518" y="2672523"/>
              <a:ext cx="1465824" cy="262695"/>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Access Security</a:t>
              </a:r>
            </a:p>
          </p:txBody>
        </p:sp>
        <p:sp>
          <p:nvSpPr>
            <p:cNvPr id="73" name="Rectangle 72">
              <a:extLst>
                <a:ext uri="{FF2B5EF4-FFF2-40B4-BE49-F238E27FC236}">
                  <a16:creationId xmlns:a16="http://schemas.microsoft.com/office/drawing/2014/main" id="{845BDB0E-06A1-41E3-8B18-99BF1DBF23CC}"/>
                </a:ext>
              </a:extLst>
            </p:cNvPr>
            <p:cNvSpPr/>
            <p:nvPr/>
          </p:nvSpPr>
          <p:spPr>
            <a:xfrm>
              <a:off x="7300019" y="2672523"/>
              <a:ext cx="1210896" cy="262695"/>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Failure Handling</a:t>
              </a:r>
            </a:p>
          </p:txBody>
        </p:sp>
        <p:sp>
          <p:nvSpPr>
            <p:cNvPr id="75" name="Rectangle 74">
              <a:extLst>
                <a:ext uri="{FF2B5EF4-FFF2-40B4-BE49-F238E27FC236}">
                  <a16:creationId xmlns:a16="http://schemas.microsoft.com/office/drawing/2014/main" id="{59BD68A1-2927-4E30-9D93-CBEA03D19DFF}"/>
                </a:ext>
              </a:extLst>
            </p:cNvPr>
            <p:cNvSpPr/>
            <p:nvPr/>
          </p:nvSpPr>
          <p:spPr>
            <a:xfrm>
              <a:off x="3640544" y="4770906"/>
              <a:ext cx="940408" cy="199888"/>
            </a:xfrm>
            <a:prstGeom prst="rect">
              <a:avLst/>
            </a:prstGeom>
            <a:solidFill>
              <a:schemeClr val="bg2">
                <a:lumMod val="20000"/>
                <a:lumOff val="8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latin typeface="EYInterstate Light"/>
                  <a:cs typeface="Arial" panose="020B0604020202020204" pitchFamily="34" charset="0"/>
                </a:rPr>
                <a:t>R SDK</a:t>
              </a:r>
            </a:p>
          </p:txBody>
        </p:sp>
        <p:sp>
          <p:nvSpPr>
            <p:cNvPr id="76" name="Rectangle 75">
              <a:extLst>
                <a:ext uri="{FF2B5EF4-FFF2-40B4-BE49-F238E27FC236}">
                  <a16:creationId xmlns:a16="http://schemas.microsoft.com/office/drawing/2014/main" id="{5E6F50F9-5F92-457F-AA2A-3DC5C29FDBAD}"/>
                </a:ext>
              </a:extLst>
            </p:cNvPr>
            <p:cNvSpPr>
              <a:spLocks/>
            </p:cNvSpPr>
            <p:nvPr/>
          </p:nvSpPr>
          <p:spPr>
            <a:xfrm>
              <a:off x="1019906" y="3418171"/>
              <a:ext cx="1350428" cy="2211247"/>
            </a:xfrm>
            <a:prstGeom prst="rect">
              <a:avLst/>
            </a:prstGeom>
            <a:solidFill>
              <a:srgbClr val="FFFFFF">
                <a:lumMod val="95000"/>
              </a:srgbClr>
            </a:solidFill>
            <a:ln w="9525" cap="flat" cmpd="sng" algn="ctr">
              <a:solidFill>
                <a:schemeClr val="accent1"/>
              </a:solidFill>
              <a:prstDash val="solid"/>
            </a:ln>
            <a:effectLst/>
          </p:spPr>
          <p:txBody>
            <a:bodyPr rtlCol="0" anchor="t" anchorCtr="0"/>
            <a:lstStyle/>
            <a:p>
              <a:pPr algn="ctr" defTabSz="781901">
                <a:lnSpc>
                  <a:spcPct val="85000"/>
                </a:lnSpc>
                <a:spcAft>
                  <a:spcPts val="496"/>
                </a:spcAft>
                <a:buClr>
                  <a:srgbClr val="FFE600"/>
                </a:buClr>
                <a:buSzPct val="70000"/>
                <a:defRPr/>
              </a:pPr>
              <a:r>
                <a:rPr lang="en-AU" sz="899" b="1" kern="0">
                  <a:solidFill>
                    <a:srgbClr val="000000">
                      <a:lumMod val="50000"/>
                      <a:lumOff val="50000"/>
                    </a:srgbClr>
                  </a:solidFill>
                  <a:latin typeface="EYInterstate Light"/>
                  <a:cs typeface="Arial" panose="020B0604020202020204" pitchFamily="34" charset="0"/>
                </a:rPr>
                <a:t>Pre-Trained Models</a:t>
              </a:r>
              <a:endParaRPr lang="en-AU" sz="787" b="1" kern="0">
                <a:solidFill>
                  <a:srgbClr val="000000">
                    <a:lumMod val="50000"/>
                    <a:lumOff val="50000"/>
                  </a:srgbClr>
                </a:solidFill>
                <a:latin typeface="EYInterstate Light"/>
                <a:cs typeface="Arial" panose="020B0604020202020204" pitchFamily="34" charset="0"/>
              </a:endParaRPr>
            </a:p>
          </p:txBody>
        </p:sp>
        <p:sp>
          <p:nvSpPr>
            <p:cNvPr id="77" name="TextBox 76">
              <a:extLst>
                <a:ext uri="{FF2B5EF4-FFF2-40B4-BE49-F238E27FC236}">
                  <a16:creationId xmlns:a16="http://schemas.microsoft.com/office/drawing/2014/main" id="{9EC4B372-016F-4F8A-83EF-4D314E213404}"/>
                </a:ext>
              </a:extLst>
            </p:cNvPr>
            <p:cNvSpPr txBox="1"/>
            <p:nvPr/>
          </p:nvSpPr>
          <p:spPr>
            <a:xfrm>
              <a:off x="1259693" y="3612784"/>
              <a:ext cx="914400" cy="274320"/>
            </a:xfrm>
            <a:prstGeom prst="rect">
              <a:avLst/>
            </a:prstGeom>
            <a:solidFill>
              <a:schemeClr val="accent3"/>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000000">
                      <a:lumMod val="50000"/>
                      <a:lumOff val="50000"/>
                    </a:srgbClr>
                  </a:solidFill>
                  <a:latin typeface="EYInterstate Light"/>
                  <a:cs typeface="Arial" panose="020B0604020202020204" pitchFamily="34" charset="0"/>
                </a:defRPr>
              </a:lvl1pPr>
            </a:lstStyle>
            <a:p>
              <a:r>
                <a:rPr lang="en-US">
                  <a:solidFill>
                    <a:schemeClr val="tx2"/>
                  </a:solidFill>
                </a:rPr>
                <a:t>Elastic Search</a:t>
              </a:r>
            </a:p>
          </p:txBody>
        </p:sp>
        <p:sp>
          <p:nvSpPr>
            <p:cNvPr id="78" name="TextBox 77">
              <a:extLst>
                <a:ext uri="{FF2B5EF4-FFF2-40B4-BE49-F238E27FC236}">
                  <a16:creationId xmlns:a16="http://schemas.microsoft.com/office/drawing/2014/main" id="{67C818E9-B1D0-4712-84E3-EBABDD5DA574}"/>
                </a:ext>
              </a:extLst>
            </p:cNvPr>
            <p:cNvSpPr txBox="1"/>
            <p:nvPr/>
          </p:nvSpPr>
          <p:spPr>
            <a:xfrm>
              <a:off x="1252327" y="4657486"/>
              <a:ext cx="914400" cy="274320"/>
            </a:xfrm>
            <a:prstGeom prst="rect">
              <a:avLst/>
            </a:prstGeom>
            <a:solidFill>
              <a:schemeClr val="accent3"/>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FFFFFF"/>
                  </a:solidFill>
                  <a:latin typeface="EYInterstate Light"/>
                  <a:cs typeface="Arial" panose="020B0604020202020204" pitchFamily="34" charset="0"/>
                </a:defRPr>
              </a:lvl1pPr>
            </a:lstStyle>
            <a:p>
              <a:r>
                <a:rPr lang="en-US">
                  <a:solidFill>
                    <a:schemeClr val="tx2"/>
                  </a:solidFill>
                </a:rPr>
                <a:t>Model Fairness</a:t>
              </a:r>
            </a:p>
          </p:txBody>
        </p:sp>
        <p:sp>
          <p:nvSpPr>
            <p:cNvPr id="79" name="TextBox 78">
              <a:extLst>
                <a:ext uri="{FF2B5EF4-FFF2-40B4-BE49-F238E27FC236}">
                  <a16:creationId xmlns:a16="http://schemas.microsoft.com/office/drawing/2014/main" id="{270DDE71-16C0-4497-8A24-D6014A7B8065}"/>
                </a:ext>
              </a:extLst>
            </p:cNvPr>
            <p:cNvSpPr txBox="1"/>
            <p:nvPr/>
          </p:nvSpPr>
          <p:spPr>
            <a:xfrm>
              <a:off x="1252327" y="3959821"/>
              <a:ext cx="914400" cy="274320"/>
            </a:xfrm>
            <a:prstGeom prst="rect">
              <a:avLst/>
            </a:prstGeom>
            <a:solidFill>
              <a:schemeClr val="accent3"/>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000000">
                      <a:lumMod val="50000"/>
                      <a:lumOff val="50000"/>
                    </a:srgbClr>
                  </a:solidFill>
                  <a:latin typeface="EYInterstate Light"/>
                  <a:cs typeface="Arial" panose="020B0604020202020204" pitchFamily="34" charset="0"/>
                </a:defRPr>
              </a:lvl1pPr>
            </a:lstStyle>
            <a:p>
              <a:r>
                <a:rPr lang="en-US">
                  <a:solidFill>
                    <a:schemeClr val="tx2"/>
                  </a:solidFill>
                </a:rPr>
                <a:t>OCR / Text Extraction</a:t>
              </a:r>
            </a:p>
          </p:txBody>
        </p:sp>
        <p:sp>
          <p:nvSpPr>
            <p:cNvPr id="80" name="TextBox 79">
              <a:extLst>
                <a:ext uri="{FF2B5EF4-FFF2-40B4-BE49-F238E27FC236}">
                  <a16:creationId xmlns:a16="http://schemas.microsoft.com/office/drawing/2014/main" id="{FD65CE1F-3AC7-4AFA-9D21-E8CFBCFCDBD9}"/>
                </a:ext>
              </a:extLst>
            </p:cNvPr>
            <p:cNvSpPr txBox="1"/>
            <p:nvPr/>
          </p:nvSpPr>
          <p:spPr>
            <a:xfrm>
              <a:off x="1252327" y="4308653"/>
              <a:ext cx="914400" cy="274320"/>
            </a:xfrm>
            <a:prstGeom prst="rect">
              <a:avLst/>
            </a:prstGeom>
            <a:solidFill>
              <a:schemeClr val="accent3"/>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000000">
                      <a:lumMod val="50000"/>
                      <a:lumOff val="50000"/>
                    </a:srgbClr>
                  </a:solidFill>
                  <a:latin typeface="EYInterstate Light"/>
                  <a:cs typeface="Arial" panose="020B0604020202020204" pitchFamily="34" charset="0"/>
                </a:defRPr>
              </a:lvl1pPr>
            </a:lstStyle>
            <a:p>
              <a:r>
                <a:rPr lang="en-US">
                  <a:solidFill>
                    <a:schemeClr val="tx2"/>
                  </a:solidFill>
                </a:rPr>
                <a:t>Multi-Lingual Modelling</a:t>
              </a:r>
            </a:p>
          </p:txBody>
        </p:sp>
        <p:sp>
          <p:nvSpPr>
            <p:cNvPr id="81" name="TextBox 80">
              <a:extLst>
                <a:ext uri="{FF2B5EF4-FFF2-40B4-BE49-F238E27FC236}">
                  <a16:creationId xmlns:a16="http://schemas.microsoft.com/office/drawing/2014/main" id="{4A8E9027-4CD3-4737-A0F6-1C1B8D4AD241}"/>
                </a:ext>
              </a:extLst>
            </p:cNvPr>
            <p:cNvSpPr txBox="1"/>
            <p:nvPr/>
          </p:nvSpPr>
          <p:spPr>
            <a:xfrm>
              <a:off x="1252327" y="4992876"/>
              <a:ext cx="914400" cy="274320"/>
            </a:xfrm>
            <a:prstGeom prst="rect">
              <a:avLst/>
            </a:prstGeom>
            <a:solidFill>
              <a:schemeClr val="accent3"/>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FFFFFF"/>
                  </a:solidFill>
                  <a:latin typeface="EYInterstate Light"/>
                  <a:cs typeface="Arial" panose="020B0604020202020204" pitchFamily="34" charset="0"/>
                </a:defRPr>
              </a:lvl1pPr>
            </a:lstStyle>
            <a:p>
              <a:r>
                <a:rPr lang="en-US">
                  <a:solidFill>
                    <a:schemeClr val="tx2"/>
                  </a:solidFill>
                </a:rPr>
                <a:t>Image Segmentation</a:t>
              </a:r>
            </a:p>
          </p:txBody>
        </p:sp>
        <p:sp>
          <p:nvSpPr>
            <p:cNvPr id="82" name="TextBox 81">
              <a:extLst>
                <a:ext uri="{FF2B5EF4-FFF2-40B4-BE49-F238E27FC236}">
                  <a16:creationId xmlns:a16="http://schemas.microsoft.com/office/drawing/2014/main" id="{CFE56260-EA75-4BFC-80BA-E229E08A7485}"/>
                </a:ext>
              </a:extLst>
            </p:cNvPr>
            <p:cNvSpPr txBox="1"/>
            <p:nvPr/>
          </p:nvSpPr>
          <p:spPr>
            <a:xfrm>
              <a:off x="1252327" y="5319034"/>
              <a:ext cx="914400" cy="274320"/>
            </a:xfrm>
            <a:prstGeom prst="rect">
              <a:avLst/>
            </a:prstGeom>
            <a:solidFill>
              <a:schemeClr val="accent3"/>
            </a:solidFill>
            <a:ln>
              <a:noFill/>
              <a:prstDash val="sysDot"/>
            </a:ln>
          </p:spPr>
          <p:txBody>
            <a:bodyPr wrap="square" lIns="0" tIns="27396" rIns="0" bIns="0" rtlCol="0" anchor="ctr">
              <a:noAutofit/>
            </a:bodyPr>
            <a:lstStyle>
              <a:defPPr>
                <a:defRPr lang="en-US"/>
              </a:defPPr>
              <a:lvl1pPr algn="ctr" defTabSz="684908">
                <a:lnSpc>
                  <a:spcPct val="85000"/>
                </a:lnSpc>
                <a:spcAft>
                  <a:spcPts val="450"/>
                </a:spcAft>
                <a:buClr>
                  <a:srgbClr val="FFE600"/>
                </a:buClr>
                <a:buSzPct val="70000"/>
                <a:defRPr sz="824" kern="0">
                  <a:solidFill>
                    <a:srgbClr val="FFFFFF"/>
                  </a:solidFill>
                  <a:latin typeface="EYInterstate Light"/>
                  <a:cs typeface="Arial" panose="020B0604020202020204" pitchFamily="34" charset="0"/>
                </a:defRPr>
              </a:lvl1pPr>
            </a:lstStyle>
            <a:p>
              <a:r>
                <a:rPr lang="en-US" err="1">
                  <a:solidFill>
                    <a:schemeClr val="tx2"/>
                  </a:solidFill>
                </a:rPr>
                <a:t>SpeechModels</a:t>
              </a:r>
              <a:endParaRPr lang="en-US">
                <a:solidFill>
                  <a:schemeClr val="tx2"/>
                </a:solidFill>
              </a:endParaRPr>
            </a:p>
          </p:txBody>
        </p:sp>
        <p:sp>
          <p:nvSpPr>
            <p:cNvPr id="83" name="Rectangle 82">
              <a:extLst>
                <a:ext uri="{FF2B5EF4-FFF2-40B4-BE49-F238E27FC236}">
                  <a16:creationId xmlns:a16="http://schemas.microsoft.com/office/drawing/2014/main" id="{D6ECF831-E668-402C-9C9D-07DC721DE5BD}"/>
                </a:ext>
              </a:extLst>
            </p:cNvPr>
            <p:cNvSpPr/>
            <p:nvPr/>
          </p:nvSpPr>
          <p:spPr>
            <a:xfrm>
              <a:off x="4658657" y="4770906"/>
              <a:ext cx="940408" cy="199888"/>
            </a:xfrm>
            <a:prstGeom prst="rect">
              <a:avLst/>
            </a:prstGeom>
            <a:solidFill>
              <a:schemeClr val="bg2">
                <a:lumMod val="20000"/>
                <a:lumOff val="8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latin typeface="EYInterstate Light"/>
                  <a:cs typeface="Arial" panose="020B0604020202020204" pitchFamily="34" charset="0"/>
                </a:rPr>
                <a:t>Visualization - JS</a:t>
              </a:r>
            </a:p>
          </p:txBody>
        </p:sp>
        <p:sp>
          <p:nvSpPr>
            <p:cNvPr id="84" name="Rectangle 83">
              <a:extLst>
                <a:ext uri="{FF2B5EF4-FFF2-40B4-BE49-F238E27FC236}">
                  <a16:creationId xmlns:a16="http://schemas.microsoft.com/office/drawing/2014/main" id="{5BB4483C-1D92-48F9-AA5B-85540147E8ED}"/>
                </a:ext>
              </a:extLst>
            </p:cNvPr>
            <p:cNvSpPr/>
            <p:nvPr/>
          </p:nvSpPr>
          <p:spPr>
            <a:xfrm>
              <a:off x="5674399" y="4770906"/>
              <a:ext cx="1070187" cy="193027"/>
            </a:xfrm>
            <a:prstGeom prst="rect">
              <a:avLst/>
            </a:prstGeom>
            <a:solidFill>
              <a:schemeClr val="bg2">
                <a:lumMod val="20000"/>
                <a:lumOff val="8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latin typeface="EYInterstate Light"/>
                  <a:cs typeface="Arial" panose="020B0604020202020204" pitchFamily="34" charset="0"/>
                </a:rPr>
                <a:t>Hadoop / Spark</a:t>
              </a:r>
            </a:p>
          </p:txBody>
        </p:sp>
        <p:sp>
          <p:nvSpPr>
            <p:cNvPr id="86" name="Rectangle 85">
              <a:extLst>
                <a:ext uri="{FF2B5EF4-FFF2-40B4-BE49-F238E27FC236}">
                  <a16:creationId xmlns:a16="http://schemas.microsoft.com/office/drawing/2014/main" id="{328E4902-B2DC-4D18-A9C7-1540306EFD4A}"/>
                </a:ext>
              </a:extLst>
            </p:cNvPr>
            <p:cNvSpPr/>
            <p:nvPr/>
          </p:nvSpPr>
          <p:spPr>
            <a:xfrm>
              <a:off x="4974304" y="4051582"/>
              <a:ext cx="1714754" cy="434300"/>
            </a:xfrm>
            <a:prstGeom prst="rect">
              <a:avLst/>
            </a:prstGeom>
            <a:solidFill>
              <a:schemeClr val="tx1">
                <a:lumMod val="50000"/>
                <a:lumOff val="50000"/>
              </a:schemeClr>
            </a:solidFill>
            <a:ln>
              <a:noFill/>
              <a:prstDash val="sysDot"/>
            </a:ln>
          </p:spPr>
          <p:txBody>
            <a:bodyPr wrap="square" lIns="0" tIns="27396" rIns="0" bIns="0" rtlCol="0" anchor="ctr">
              <a:noAutofit/>
            </a:bodyPr>
            <a:lstStyle/>
            <a:p>
              <a:pPr algn="ctr" defTabSz="684908">
                <a:lnSpc>
                  <a:spcPct val="85000"/>
                </a:lnSpc>
                <a:spcAft>
                  <a:spcPts val="450"/>
                </a:spcAft>
                <a:buClr>
                  <a:srgbClr val="FFE600"/>
                </a:buClr>
                <a:buSzPct val="70000"/>
              </a:pPr>
              <a:r>
                <a:rPr lang="en-US" sz="824" kern="0">
                  <a:solidFill>
                    <a:schemeClr val="tx2"/>
                  </a:solidFill>
                  <a:latin typeface="EYInterstate Light"/>
                  <a:cs typeface="Arial" panose="020B0604020202020204" pitchFamily="34" charset="0"/>
                </a:rPr>
                <a:t>Monitoring &amp; Logging</a:t>
              </a:r>
            </a:p>
          </p:txBody>
        </p:sp>
      </p:grpSp>
      <p:sp>
        <p:nvSpPr>
          <p:cNvPr id="85" name="Chevron 26">
            <a:extLst>
              <a:ext uri="{FF2B5EF4-FFF2-40B4-BE49-F238E27FC236}">
                <a16:creationId xmlns:a16="http://schemas.microsoft.com/office/drawing/2014/main" id="{419CD2C2-18D8-4060-B2EA-46AD8ADCFDF7}"/>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a:solidFill>
                  <a:schemeClr val="bg2"/>
                </a:solidFill>
                <a:latin typeface="EYInterstate"/>
                <a:sym typeface="EYInterstate Light" panose="02000506000000020004" pitchFamily="2" charset="0"/>
              </a:rPr>
              <a:t>Framework</a:t>
            </a:r>
          </a:p>
        </p:txBody>
      </p:sp>
    </p:spTree>
    <p:extLst>
      <p:ext uri="{BB962C8B-B14F-4D97-AF65-F5344CB8AC3E}">
        <p14:creationId xmlns:p14="http://schemas.microsoft.com/office/powerpoint/2010/main" val="37650260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41673"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969877" cy="672625"/>
          </a:xfrm>
        </p:spPr>
        <p:txBody>
          <a:bodyPr vert="horz" lIns="0" tIns="0" rIns="0" bIns="0" rtlCol="0" anchor="t" anchorCtr="0">
            <a:noAutofit/>
          </a:bodyPr>
          <a:lstStyle/>
          <a:p>
            <a:r>
              <a:rPr lang="en-US" sz="2180"/>
              <a:t>Analysis of current Data Platform coupled with capabilities required for prioritized use-cases would help delive</a:t>
            </a:r>
            <a:r>
              <a:rPr lang="en-US"/>
              <a:t>r the Target Data Architecture &amp; Implementation cost</a:t>
            </a:r>
            <a:endParaRPr lang="en-US" sz="2180"/>
          </a:p>
        </p:txBody>
      </p:sp>
      <p:sp>
        <p:nvSpPr>
          <p:cNvPr id="146" name="TextBox 145">
            <a:extLst>
              <a:ext uri="{FF2B5EF4-FFF2-40B4-BE49-F238E27FC236}">
                <a16:creationId xmlns:a16="http://schemas.microsoft.com/office/drawing/2014/main" id="{5E5B7301-E0D7-43A1-8033-79E59BB59102}"/>
              </a:ext>
            </a:extLst>
          </p:cNvPr>
          <p:cNvSpPr txBox="1"/>
          <p:nvPr/>
        </p:nvSpPr>
        <p:spPr>
          <a:xfrm>
            <a:off x="849093" y="1257485"/>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Inputs</a:t>
            </a:r>
          </a:p>
        </p:txBody>
      </p:sp>
      <p:sp>
        <p:nvSpPr>
          <p:cNvPr id="147" name="TextBox 146">
            <a:extLst>
              <a:ext uri="{FF2B5EF4-FFF2-40B4-BE49-F238E27FC236}">
                <a16:creationId xmlns:a16="http://schemas.microsoft.com/office/drawing/2014/main" id="{7652C7A2-374E-45CC-8DFA-0F2B70F41908}"/>
              </a:ext>
            </a:extLst>
          </p:cNvPr>
          <p:cNvSpPr txBox="1"/>
          <p:nvPr/>
        </p:nvSpPr>
        <p:spPr>
          <a:xfrm>
            <a:off x="3855238" y="1257485"/>
            <a:ext cx="4572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Process</a:t>
            </a:r>
          </a:p>
        </p:txBody>
      </p:sp>
      <p:sp>
        <p:nvSpPr>
          <p:cNvPr id="148" name="TextBox 147">
            <a:extLst>
              <a:ext uri="{FF2B5EF4-FFF2-40B4-BE49-F238E27FC236}">
                <a16:creationId xmlns:a16="http://schemas.microsoft.com/office/drawing/2014/main" id="{75166EDB-7795-4686-A355-47297C332ED8}"/>
              </a:ext>
            </a:extLst>
          </p:cNvPr>
          <p:cNvSpPr txBox="1"/>
          <p:nvPr/>
        </p:nvSpPr>
        <p:spPr>
          <a:xfrm>
            <a:off x="9380050" y="1257484"/>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Outputs</a:t>
            </a:r>
          </a:p>
        </p:txBody>
      </p:sp>
      <p:sp>
        <p:nvSpPr>
          <p:cNvPr id="150" name="TextBox 149">
            <a:extLst>
              <a:ext uri="{FF2B5EF4-FFF2-40B4-BE49-F238E27FC236}">
                <a16:creationId xmlns:a16="http://schemas.microsoft.com/office/drawing/2014/main" id="{CDB845D0-6A9D-4473-AC48-610FFF1D4474}"/>
              </a:ext>
            </a:extLst>
          </p:cNvPr>
          <p:cNvSpPr txBox="1"/>
          <p:nvPr/>
        </p:nvSpPr>
        <p:spPr>
          <a:xfrm>
            <a:off x="3864474" y="2422145"/>
            <a:ext cx="4572000" cy="599677"/>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2: Identify capabilities </a:t>
            </a:r>
            <a:r>
              <a:rPr lang="en-US" sz="1100" b="0">
                <a:solidFill>
                  <a:srgbClr val="000000"/>
                </a:solidFill>
                <a:latin typeface="EYInterstate"/>
              </a:rPr>
              <a:t>required for enabling the list of prioritized use-cases</a:t>
            </a:r>
            <a:endParaRPr kumimoji="0" lang="en-US" sz="1100" b="0" i="0" u="none" strike="noStrike" kern="0" cap="none" spc="0" normalizeH="0" baseline="0" noProof="0">
              <a:ln>
                <a:noFill/>
              </a:ln>
              <a:solidFill>
                <a:srgbClr val="000000"/>
              </a:solidFill>
              <a:effectLst/>
              <a:uLnTx/>
              <a:uFillTx/>
              <a:latin typeface="EYInterstate"/>
              <a:cs typeface="Arial" charset="0"/>
            </a:endParaRPr>
          </a:p>
        </p:txBody>
      </p:sp>
      <p:sp>
        <p:nvSpPr>
          <p:cNvPr id="151" name="Isosceles Triangle 112">
            <a:extLst>
              <a:ext uri="{FF2B5EF4-FFF2-40B4-BE49-F238E27FC236}">
                <a16:creationId xmlns:a16="http://schemas.microsoft.com/office/drawing/2014/main" id="{2F2AAA87-F6CF-45AA-B483-8297309146DC}"/>
              </a:ext>
            </a:extLst>
          </p:cNvPr>
          <p:cNvSpPr/>
          <p:nvPr/>
        </p:nvSpPr>
        <p:spPr>
          <a:xfrm rot="5400000">
            <a:off x="7029644" y="3396899"/>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2" name="Isosceles Triangle 112">
            <a:extLst>
              <a:ext uri="{FF2B5EF4-FFF2-40B4-BE49-F238E27FC236}">
                <a16:creationId xmlns:a16="http://schemas.microsoft.com/office/drawing/2014/main" id="{9695B018-2E94-44CC-8B5A-D596E2C3F8FF}"/>
              </a:ext>
            </a:extLst>
          </p:cNvPr>
          <p:cNvSpPr/>
          <p:nvPr/>
        </p:nvSpPr>
        <p:spPr>
          <a:xfrm rot="5400000">
            <a:off x="1770450" y="3396899"/>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3" name="TextBox 152">
            <a:extLst>
              <a:ext uri="{FF2B5EF4-FFF2-40B4-BE49-F238E27FC236}">
                <a16:creationId xmlns:a16="http://schemas.microsoft.com/office/drawing/2014/main" id="{7781A19B-B4C7-4A78-9B85-C33659A9505E}"/>
              </a:ext>
            </a:extLst>
          </p:cNvPr>
          <p:cNvSpPr txBox="1"/>
          <p:nvPr/>
        </p:nvSpPr>
        <p:spPr>
          <a:xfrm>
            <a:off x="3864474" y="1755251"/>
            <a:ext cx="4572000" cy="549918"/>
          </a:xfrm>
          <a:prstGeom prst="rect">
            <a:avLst/>
          </a:prstGeom>
          <a:solidFill>
            <a:schemeClr val="tx2">
              <a:lumMod val="95000"/>
            </a:schemeClr>
          </a:solidFill>
          <a:ln>
            <a:noFill/>
          </a:ln>
        </p:spPr>
        <p:txBody>
          <a:bodyPr wrap="square" lIns="101882" tIns="91440" rIns="91440" bIns="50941" rtlCol="0" anchor="ctr" anchorCtr="0">
            <a:noAutofit/>
          </a:bodyPr>
          <a:lstStyle/>
          <a:p>
            <a:pPr marL="449273" marR="0" lvl="1" indent="-449273" algn="l" defTabSz="914400" rtl="0" eaLnBrk="0" fontAlgn="base" latinLnBrk="0" hangingPunct="0">
              <a:lnSpc>
                <a:spcPct val="90000"/>
              </a:lnSpc>
              <a:spcBef>
                <a:spcPts val="669"/>
              </a:spcBef>
              <a:spcAft>
                <a:spcPct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1: </a:t>
            </a:r>
            <a:r>
              <a:rPr lang="en-US" sz="1100" b="1" kern="0">
                <a:solidFill>
                  <a:srgbClr val="000000"/>
                </a:solidFill>
                <a:latin typeface="EYInterstate"/>
              </a:rPr>
              <a:t>Input</a:t>
            </a:r>
            <a:r>
              <a:rPr kumimoji="0" lang="en-US" sz="1100" b="1" i="0" u="none" strike="noStrike" kern="0" cap="none" spc="0" normalizeH="0" baseline="0" noProof="0">
                <a:ln>
                  <a:noFill/>
                </a:ln>
                <a:solidFill>
                  <a:srgbClr val="000000"/>
                </a:solidFill>
                <a:effectLst/>
                <a:uLnTx/>
                <a:uFillTx/>
                <a:latin typeface="EYInterstate"/>
                <a:cs typeface="Arial" charset="0"/>
              </a:rPr>
              <a:t> Gap Analysis </a:t>
            </a:r>
            <a:r>
              <a:rPr kumimoji="0" lang="en-US" sz="1100" b="0" i="0" u="none" strike="noStrike" kern="0" cap="none" spc="0" normalizeH="0" baseline="0" noProof="0">
                <a:ln>
                  <a:noFill/>
                </a:ln>
                <a:solidFill>
                  <a:srgbClr val="000000"/>
                </a:solidFill>
                <a:effectLst/>
                <a:uLnTx/>
                <a:uFillTx/>
                <a:latin typeface="EYInterstate"/>
                <a:cs typeface="Arial" charset="0"/>
              </a:rPr>
              <a:t>of the AIAT current Data Platform</a:t>
            </a:r>
          </a:p>
        </p:txBody>
      </p:sp>
      <p:sp>
        <p:nvSpPr>
          <p:cNvPr id="154" name="TextBox 153">
            <a:extLst>
              <a:ext uri="{FF2B5EF4-FFF2-40B4-BE49-F238E27FC236}">
                <a16:creationId xmlns:a16="http://schemas.microsoft.com/office/drawing/2014/main" id="{3CB9015E-264B-4663-8F3F-02CAB664A359}"/>
              </a:ext>
            </a:extLst>
          </p:cNvPr>
          <p:cNvSpPr txBox="1"/>
          <p:nvPr/>
        </p:nvSpPr>
        <p:spPr>
          <a:xfrm>
            <a:off x="3864474" y="3839191"/>
            <a:ext cx="4572000" cy="599677"/>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ct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4: </a:t>
            </a:r>
            <a:r>
              <a:rPr lang="en-US" sz="1100">
                <a:solidFill>
                  <a:srgbClr val="000000"/>
                </a:solidFill>
                <a:latin typeface="EYInterstate"/>
              </a:rPr>
              <a:t>Design the Data Platform Architecture</a:t>
            </a:r>
            <a:r>
              <a:rPr lang="en-US" sz="1100" b="0">
                <a:solidFill>
                  <a:srgbClr val="000000"/>
                </a:solidFill>
                <a:latin typeface="EYInterstate"/>
              </a:rPr>
              <a:t> for target state </a:t>
            </a:r>
            <a:r>
              <a:rPr kumimoji="0" lang="en-US" sz="1100" b="0" i="0" u="none" strike="noStrike" kern="0" cap="none" spc="0" normalizeH="0" baseline="0" noProof="0">
                <a:ln>
                  <a:noFill/>
                </a:ln>
                <a:solidFill>
                  <a:srgbClr val="000000"/>
                </a:solidFill>
                <a:effectLst/>
                <a:uLnTx/>
                <a:uFillTx/>
                <a:latin typeface="EYInterstate"/>
                <a:cs typeface="Arial" charset="0"/>
              </a:rPr>
              <a:t>with required capabilities &amp; governance.</a:t>
            </a:r>
          </a:p>
        </p:txBody>
      </p:sp>
      <p:sp>
        <p:nvSpPr>
          <p:cNvPr id="155" name="TextBox 154">
            <a:extLst>
              <a:ext uri="{FF2B5EF4-FFF2-40B4-BE49-F238E27FC236}">
                <a16:creationId xmlns:a16="http://schemas.microsoft.com/office/drawing/2014/main" id="{8E6D95C4-72B3-4A50-B113-6E8D8505955B}"/>
              </a:ext>
            </a:extLst>
          </p:cNvPr>
          <p:cNvSpPr txBox="1"/>
          <p:nvPr/>
        </p:nvSpPr>
        <p:spPr>
          <a:xfrm>
            <a:off x="8967304" y="1640888"/>
            <a:ext cx="3223560" cy="430887"/>
          </a:xfrm>
          <a:prstGeom prst="rect">
            <a:avLst/>
          </a:prstGeom>
        </p:spPr>
        <p:txBody>
          <a:bodyPr wrap="square">
            <a:spAutoFit/>
          </a:bodyPr>
          <a:lstStyle>
            <a:defPPr>
              <a:defRPr lang="en-US"/>
            </a:defPPr>
            <a:lvl1pPr algn="ctr" eaLnBrk="0" hangingPunct="0">
              <a:spcAft>
                <a:spcPct val="0"/>
              </a:spcAft>
              <a:buClrTx/>
              <a:buSzTx/>
              <a:defRPr sz="1100" b="1" kern="0">
                <a:solidFill>
                  <a:srgbClr val="000000"/>
                </a:solidFill>
                <a:latin typeface="EYInterstate"/>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A2AD"/>
                </a:solidFill>
                <a:effectLst/>
                <a:uLnTx/>
                <a:uFillTx/>
                <a:latin typeface="EYInterstate"/>
                <a:cs typeface="Arial" charset="0"/>
              </a:rPr>
              <a:t>Work Product: </a:t>
            </a:r>
            <a:r>
              <a:rPr kumimoji="0" lang="en-US" sz="1100" b="0" i="0" u="none" strike="noStrike" kern="0" cap="none" spc="0" normalizeH="0" baseline="0" noProof="0">
                <a:ln>
                  <a:noFill/>
                </a:ln>
                <a:solidFill>
                  <a:srgbClr val="000000"/>
                </a:solidFill>
                <a:effectLst/>
                <a:uLnTx/>
                <a:uFillTx/>
                <a:latin typeface="EYInterstate"/>
                <a:cs typeface="Arial" charset="0"/>
              </a:rPr>
              <a:t>Data Platform Capability Gap Report</a:t>
            </a:r>
          </a:p>
        </p:txBody>
      </p:sp>
      <p:sp>
        <p:nvSpPr>
          <p:cNvPr id="156" name="Rectangle 155">
            <a:extLst>
              <a:ext uri="{FF2B5EF4-FFF2-40B4-BE49-F238E27FC236}">
                <a16:creationId xmlns:a16="http://schemas.microsoft.com/office/drawing/2014/main" id="{5C97D5A3-5092-409D-90BB-21DFF9F6FC53}"/>
              </a:ext>
            </a:extLst>
          </p:cNvPr>
          <p:cNvSpPr/>
          <p:nvPr/>
        </p:nvSpPr>
        <p:spPr>
          <a:xfrm>
            <a:off x="981115" y="2991582"/>
            <a:ext cx="1890760"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AIAT’s Data Platform Gap Analysis</a:t>
            </a:r>
          </a:p>
        </p:txBody>
      </p:sp>
      <p:sp>
        <p:nvSpPr>
          <p:cNvPr id="158" name="Rectangle 157">
            <a:extLst>
              <a:ext uri="{FF2B5EF4-FFF2-40B4-BE49-F238E27FC236}">
                <a16:creationId xmlns:a16="http://schemas.microsoft.com/office/drawing/2014/main" id="{340B9055-8199-458E-82ED-DEDF74C39130}"/>
              </a:ext>
            </a:extLst>
          </p:cNvPr>
          <p:cNvSpPr/>
          <p:nvPr/>
        </p:nvSpPr>
        <p:spPr>
          <a:xfrm>
            <a:off x="991370" y="5072232"/>
            <a:ext cx="1862231"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100" b="1" kern="0">
                <a:solidFill>
                  <a:srgbClr val="000000"/>
                </a:solidFill>
                <a:latin typeface="EYInterstate"/>
              </a:rPr>
              <a:t>Capabilities for prioritized use-cases</a:t>
            </a:r>
            <a:endParaRPr kumimoji="0" lang="en-US" sz="1100" b="1" i="0" u="none" strike="noStrike" kern="0" cap="none" spc="0" normalizeH="0" baseline="0" noProof="0">
              <a:ln>
                <a:noFill/>
              </a:ln>
              <a:solidFill>
                <a:srgbClr val="000000"/>
              </a:solidFill>
              <a:effectLst/>
              <a:uLnTx/>
              <a:uFillTx/>
              <a:latin typeface="EYInterstate"/>
              <a:cs typeface="Arial" charset="0"/>
            </a:endParaRPr>
          </a:p>
        </p:txBody>
      </p:sp>
      <p:sp>
        <p:nvSpPr>
          <p:cNvPr id="162" name="TextBox 161">
            <a:extLst>
              <a:ext uri="{FF2B5EF4-FFF2-40B4-BE49-F238E27FC236}">
                <a16:creationId xmlns:a16="http://schemas.microsoft.com/office/drawing/2014/main" id="{8BCCFA91-C62B-4AFC-9E86-5C683DB4C972}"/>
              </a:ext>
            </a:extLst>
          </p:cNvPr>
          <p:cNvSpPr txBox="1"/>
          <p:nvPr/>
        </p:nvSpPr>
        <p:spPr>
          <a:xfrm>
            <a:off x="3864474" y="4669209"/>
            <a:ext cx="4572000" cy="599677"/>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5: Identify the relevant Azure Modules </a:t>
            </a:r>
            <a:r>
              <a:rPr kumimoji="0" lang="en-US" sz="1100" b="0" i="0" u="none" strike="noStrike" kern="0" cap="none" spc="0" normalizeH="0" baseline="0" noProof="0">
                <a:ln>
                  <a:noFill/>
                </a:ln>
                <a:solidFill>
                  <a:srgbClr val="000000"/>
                </a:solidFill>
                <a:effectLst/>
                <a:uLnTx/>
                <a:uFillTx/>
                <a:latin typeface="EYInterstate"/>
                <a:cs typeface="Arial" charset="0"/>
              </a:rPr>
              <a:t>and their implementation cost required</a:t>
            </a:r>
            <a:endParaRPr kumimoji="0" lang="it-IT" sz="1100" b="0" i="0" u="none" strike="noStrike" kern="0" cap="none" spc="0" normalizeH="0" baseline="0" noProof="0">
              <a:ln>
                <a:noFill/>
              </a:ln>
              <a:solidFill>
                <a:srgbClr val="000000"/>
              </a:solidFill>
              <a:effectLst/>
              <a:uLnTx/>
              <a:uFillTx/>
              <a:latin typeface="EYInterstate"/>
              <a:cs typeface="Arial" charset="0"/>
            </a:endParaRPr>
          </a:p>
        </p:txBody>
      </p:sp>
      <p:sp>
        <p:nvSpPr>
          <p:cNvPr id="164" name="Rectangle 163">
            <a:extLst>
              <a:ext uri="{FF2B5EF4-FFF2-40B4-BE49-F238E27FC236}">
                <a16:creationId xmlns:a16="http://schemas.microsoft.com/office/drawing/2014/main" id="{18BEB7E2-4CEA-4B16-A0C7-5950138F8079}"/>
              </a:ext>
            </a:extLst>
          </p:cNvPr>
          <p:cNvSpPr/>
          <p:nvPr/>
        </p:nvSpPr>
        <p:spPr>
          <a:xfrm>
            <a:off x="9497267" y="3347477"/>
            <a:ext cx="2014975" cy="430887"/>
          </a:xfrm>
          <a:prstGeom prst="rect">
            <a:avLst/>
          </a:prstGeom>
        </p:spPr>
        <p:txBody>
          <a:bodyPr wrap="square">
            <a:spAutoFit/>
          </a:bodyPr>
          <a:lstStyle/>
          <a:p>
            <a:pPr lvl="0" algn="ctr">
              <a:defRPr/>
            </a:pPr>
            <a:r>
              <a:rPr lang="en-US" sz="1100" b="1" kern="0">
                <a:solidFill>
                  <a:srgbClr val="000000"/>
                </a:solidFill>
                <a:latin typeface="EYInterstate"/>
              </a:rPr>
              <a:t>Data Platform Architecture Design </a:t>
            </a:r>
            <a:endParaRPr kumimoji="0" lang="en-US" sz="1100" b="1" i="0" u="none" strike="noStrike" kern="0" cap="none" spc="0" normalizeH="0" baseline="0" noProof="0">
              <a:ln>
                <a:noFill/>
              </a:ln>
              <a:solidFill>
                <a:srgbClr val="000000"/>
              </a:solidFill>
              <a:effectLst/>
              <a:uLnTx/>
              <a:uFillTx/>
              <a:latin typeface="EYInterstate"/>
              <a:cs typeface="Arial" charset="0"/>
            </a:endParaRPr>
          </a:p>
        </p:txBody>
      </p:sp>
      <p:pic>
        <p:nvPicPr>
          <p:cNvPr id="174" name="Picture 173">
            <a:extLst>
              <a:ext uri="{FF2B5EF4-FFF2-40B4-BE49-F238E27FC236}">
                <a16:creationId xmlns:a16="http://schemas.microsoft.com/office/drawing/2014/main" id="{3FCA2F6A-91AB-43F5-85F1-1DE36C1E209E}"/>
              </a:ext>
            </a:extLst>
          </p:cNvPr>
          <p:cNvPicPr>
            <a:picLocks noChangeAspect="1"/>
          </p:cNvPicPr>
          <p:nvPr/>
        </p:nvPicPr>
        <p:blipFill>
          <a:blip r:embed="rId8"/>
          <a:stretch>
            <a:fillRect/>
          </a:stretch>
        </p:blipFill>
        <p:spPr>
          <a:xfrm>
            <a:off x="846161" y="1897246"/>
            <a:ext cx="2280509" cy="1016864"/>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176" name="TextBox 175">
            <a:extLst>
              <a:ext uri="{FF2B5EF4-FFF2-40B4-BE49-F238E27FC236}">
                <a16:creationId xmlns:a16="http://schemas.microsoft.com/office/drawing/2014/main" id="{963963BC-DBBB-4467-BFA2-30E897DDB507}"/>
              </a:ext>
            </a:extLst>
          </p:cNvPr>
          <p:cNvSpPr txBox="1"/>
          <p:nvPr/>
        </p:nvSpPr>
        <p:spPr>
          <a:xfrm>
            <a:off x="858329" y="5856524"/>
            <a:ext cx="1221800" cy="472209"/>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EYInterstate"/>
                <a:cs typeface="Arial" charset="0"/>
              </a:rPr>
              <a:t>EY Accelerator:</a:t>
            </a:r>
          </a:p>
        </p:txBody>
      </p:sp>
      <p:sp>
        <p:nvSpPr>
          <p:cNvPr id="177" name="TextBox 176">
            <a:extLst>
              <a:ext uri="{FF2B5EF4-FFF2-40B4-BE49-F238E27FC236}">
                <a16:creationId xmlns:a16="http://schemas.microsoft.com/office/drawing/2014/main" id="{1AC9B613-63E5-40B4-80B9-7032CD10F81C}"/>
              </a:ext>
            </a:extLst>
          </p:cNvPr>
          <p:cNvSpPr txBox="1"/>
          <p:nvPr/>
        </p:nvSpPr>
        <p:spPr>
          <a:xfrm>
            <a:off x="1990758" y="5820726"/>
            <a:ext cx="9675291" cy="895003"/>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endParaRPr kumimoji="0" lang="en-US" sz="1100" b="0" i="0" u="none" strike="noStrike" kern="0" cap="none" spc="0" normalizeH="0" baseline="0" noProof="0">
              <a:ln>
                <a:noFill/>
              </a:ln>
              <a:solidFill>
                <a:srgbClr val="000000"/>
              </a:solidFill>
              <a:effectLst/>
              <a:uLnTx/>
              <a:uFillTx/>
              <a:latin typeface="EYInterstate"/>
              <a:cs typeface="Arial" charset="0"/>
            </a:endParaRPr>
          </a:p>
        </p:txBody>
      </p:sp>
      <p:pic>
        <p:nvPicPr>
          <p:cNvPr id="2" name="Picture 1">
            <a:extLst>
              <a:ext uri="{FF2B5EF4-FFF2-40B4-BE49-F238E27FC236}">
                <a16:creationId xmlns:a16="http://schemas.microsoft.com/office/drawing/2014/main" id="{FEBB992D-4BB9-4645-9C62-D289C40B043A}"/>
              </a:ext>
            </a:extLst>
          </p:cNvPr>
          <p:cNvPicPr>
            <a:picLocks/>
          </p:cNvPicPr>
          <p:nvPr/>
        </p:nvPicPr>
        <p:blipFill>
          <a:blip r:embed="rId9"/>
          <a:stretch>
            <a:fillRect/>
          </a:stretch>
        </p:blipFill>
        <p:spPr>
          <a:xfrm>
            <a:off x="2287055" y="5990384"/>
            <a:ext cx="1005840" cy="548640"/>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32" name="TextBox 31">
            <a:extLst>
              <a:ext uri="{FF2B5EF4-FFF2-40B4-BE49-F238E27FC236}">
                <a16:creationId xmlns:a16="http://schemas.microsoft.com/office/drawing/2014/main" id="{A2BAEBBB-20C7-4B25-B9B7-E60BB6681E48}"/>
              </a:ext>
            </a:extLst>
          </p:cNvPr>
          <p:cNvSpPr txBox="1"/>
          <p:nvPr/>
        </p:nvSpPr>
        <p:spPr>
          <a:xfrm>
            <a:off x="3373307" y="6043989"/>
            <a:ext cx="2286000" cy="441431"/>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EYInterstate"/>
                <a:cs typeface="Arial" charset="0"/>
              </a:rPr>
              <a:t>EY Next Generation Data Platform Architecture</a:t>
            </a:r>
          </a:p>
        </p:txBody>
      </p:sp>
      <p:sp>
        <p:nvSpPr>
          <p:cNvPr id="33" name="TextBox 32">
            <a:extLst>
              <a:ext uri="{FF2B5EF4-FFF2-40B4-BE49-F238E27FC236}">
                <a16:creationId xmlns:a16="http://schemas.microsoft.com/office/drawing/2014/main" id="{E2ADE75E-D488-42CF-8EB3-B2CAE2210040}"/>
              </a:ext>
            </a:extLst>
          </p:cNvPr>
          <p:cNvSpPr txBox="1"/>
          <p:nvPr/>
        </p:nvSpPr>
        <p:spPr>
          <a:xfrm>
            <a:off x="6577956" y="6051520"/>
            <a:ext cx="2286000" cy="426042"/>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EYInterstate"/>
                <a:cs typeface="Arial" charset="0"/>
              </a:rPr>
              <a:t>EY Client Technology Azure Solution Architecture</a:t>
            </a:r>
          </a:p>
        </p:txBody>
      </p:sp>
      <p:grpSp>
        <p:nvGrpSpPr>
          <p:cNvPr id="35" name="Group 34">
            <a:extLst>
              <a:ext uri="{FF2B5EF4-FFF2-40B4-BE49-F238E27FC236}">
                <a16:creationId xmlns:a16="http://schemas.microsoft.com/office/drawing/2014/main" id="{B21AB2D0-63FB-4B07-87F7-F0DB8FDA5738}"/>
              </a:ext>
            </a:extLst>
          </p:cNvPr>
          <p:cNvGrpSpPr/>
          <p:nvPr/>
        </p:nvGrpSpPr>
        <p:grpSpPr>
          <a:xfrm>
            <a:off x="10825808" y="1902950"/>
            <a:ext cx="1275262" cy="253916"/>
            <a:chOff x="11862118" y="1197553"/>
            <a:chExt cx="1275262" cy="253916"/>
          </a:xfrm>
        </p:grpSpPr>
        <p:sp>
          <p:nvSpPr>
            <p:cNvPr id="36" name="Rectangle 35">
              <a:extLst>
                <a:ext uri="{FF2B5EF4-FFF2-40B4-BE49-F238E27FC236}">
                  <a16:creationId xmlns:a16="http://schemas.microsoft.com/office/drawing/2014/main" id="{6A564D94-EA53-462A-B15B-CA4E453E663E}"/>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a:ln>
                  <a:noFill/>
                </a:ln>
                <a:solidFill>
                  <a:srgbClr val="000000"/>
                </a:solidFill>
                <a:effectLst/>
                <a:uLnTx/>
                <a:uFillTx/>
                <a:latin typeface="Arial" charset="0"/>
                <a:cs typeface="Arial" charset="0"/>
              </a:endParaRPr>
            </a:p>
          </p:txBody>
        </p:sp>
        <p:cxnSp>
          <p:nvCxnSpPr>
            <p:cNvPr id="37" name="Straight Connector 36">
              <a:extLst>
                <a:ext uri="{FF2B5EF4-FFF2-40B4-BE49-F238E27FC236}">
                  <a16:creationId xmlns:a16="http://schemas.microsoft.com/office/drawing/2014/main" id="{6C300859-8353-4780-822C-6FFCDD66F6DF}"/>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29CD925-9C7F-47E3-8C09-7F477A47B92D}"/>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4F0A82AE-2C5C-4144-A447-29F2AB44ACA6}"/>
              </a:ext>
            </a:extLst>
          </p:cNvPr>
          <p:cNvGrpSpPr/>
          <p:nvPr/>
        </p:nvGrpSpPr>
        <p:grpSpPr>
          <a:xfrm>
            <a:off x="2108956" y="1587643"/>
            <a:ext cx="1275262" cy="253916"/>
            <a:chOff x="11862118" y="1197553"/>
            <a:chExt cx="1275262" cy="253916"/>
          </a:xfrm>
        </p:grpSpPr>
        <p:sp>
          <p:nvSpPr>
            <p:cNvPr id="44" name="Rectangle 43">
              <a:extLst>
                <a:ext uri="{FF2B5EF4-FFF2-40B4-BE49-F238E27FC236}">
                  <a16:creationId xmlns:a16="http://schemas.microsoft.com/office/drawing/2014/main" id="{D79308A4-5C0E-4DFE-907A-2BB6C4DD1F46}"/>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a:ln>
                  <a:noFill/>
                </a:ln>
                <a:solidFill>
                  <a:srgbClr val="000000"/>
                </a:solidFill>
                <a:effectLst/>
                <a:uLnTx/>
                <a:uFillTx/>
                <a:latin typeface="Arial" charset="0"/>
                <a:cs typeface="Arial" charset="0"/>
              </a:endParaRPr>
            </a:p>
          </p:txBody>
        </p:sp>
        <p:cxnSp>
          <p:nvCxnSpPr>
            <p:cNvPr id="45" name="Straight Connector 44">
              <a:extLst>
                <a:ext uri="{FF2B5EF4-FFF2-40B4-BE49-F238E27FC236}">
                  <a16:creationId xmlns:a16="http://schemas.microsoft.com/office/drawing/2014/main" id="{7147C43B-5139-47AE-9C6B-7DE4130AF96F}"/>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2D91FDE-1677-4557-9936-E2B491AC8112}"/>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41" name="Chevron 26">
            <a:extLst>
              <a:ext uri="{FF2B5EF4-FFF2-40B4-BE49-F238E27FC236}">
                <a16:creationId xmlns:a16="http://schemas.microsoft.com/office/drawing/2014/main" id="{BD2844A1-CCFD-41D9-8659-4B5602C4290B}"/>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a:solidFill>
                  <a:schemeClr val="bg2"/>
                </a:solidFill>
                <a:latin typeface="EYInterstate"/>
                <a:sym typeface="EYInterstate Light" panose="02000506000000020004" pitchFamily="2" charset="0"/>
              </a:rPr>
              <a:t>Approach</a:t>
            </a:r>
          </a:p>
        </p:txBody>
      </p:sp>
      <p:pic>
        <p:nvPicPr>
          <p:cNvPr id="42" name="Picture 41">
            <a:extLst>
              <a:ext uri="{FF2B5EF4-FFF2-40B4-BE49-F238E27FC236}">
                <a16:creationId xmlns:a16="http://schemas.microsoft.com/office/drawing/2014/main" id="{88AA8981-10A5-44F2-A9C1-3453446DFA14}"/>
              </a:ext>
            </a:extLst>
          </p:cNvPr>
          <p:cNvPicPr>
            <a:picLocks noChangeAspect="1"/>
          </p:cNvPicPr>
          <p:nvPr/>
        </p:nvPicPr>
        <p:blipFill>
          <a:blip r:embed="rId10"/>
          <a:stretch>
            <a:fillRect/>
          </a:stretch>
        </p:blipFill>
        <p:spPr>
          <a:xfrm>
            <a:off x="9373935" y="2203583"/>
            <a:ext cx="2105881" cy="1109183"/>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48" name="Picture 47">
            <a:extLst>
              <a:ext uri="{FF2B5EF4-FFF2-40B4-BE49-F238E27FC236}">
                <a16:creationId xmlns:a16="http://schemas.microsoft.com/office/drawing/2014/main" id="{A7E5567F-B630-4998-B7E9-40E97BADA09F}"/>
              </a:ext>
            </a:extLst>
          </p:cNvPr>
          <p:cNvPicPr>
            <a:picLocks noChangeAspect="1"/>
          </p:cNvPicPr>
          <p:nvPr/>
        </p:nvPicPr>
        <p:blipFill>
          <a:blip r:embed="rId11"/>
          <a:stretch>
            <a:fillRect/>
          </a:stretch>
        </p:blipFill>
        <p:spPr>
          <a:xfrm>
            <a:off x="9546264" y="3995226"/>
            <a:ext cx="1916867" cy="918959"/>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49" name="Rectangle 48">
            <a:extLst>
              <a:ext uri="{FF2B5EF4-FFF2-40B4-BE49-F238E27FC236}">
                <a16:creationId xmlns:a16="http://schemas.microsoft.com/office/drawing/2014/main" id="{CCEF1169-A0B0-42EC-95FA-B3DE296D8143}"/>
              </a:ext>
            </a:extLst>
          </p:cNvPr>
          <p:cNvSpPr/>
          <p:nvPr/>
        </p:nvSpPr>
        <p:spPr>
          <a:xfrm>
            <a:off x="9468084" y="4896432"/>
            <a:ext cx="2014975" cy="430887"/>
          </a:xfrm>
          <a:prstGeom prst="rect">
            <a:avLst/>
          </a:prstGeom>
        </p:spPr>
        <p:txBody>
          <a:bodyPr wrap="square">
            <a:spAutoFit/>
          </a:bodyPr>
          <a:lstStyle/>
          <a:p>
            <a:pPr lvl="0" algn="ctr">
              <a:defRPr/>
            </a:pPr>
            <a:r>
              <a:rPr lang="en-US" sz="1100" b="1" kern="0">
                <a:solidFill>
                  <a:srgbClr val="000000"/>
                </a:solidFill>
                <a:latin typeface="EYInterstate"/>
              </a:rPr>
              <a:t>Azure’s module &amp; implementation cost</a:t>
            </a:r>
            <a:endParaRPr kumimoji="0" lang="en-US" sz="1100" b="1" i="0" u="none" strike="noStrike" kern="0" cap="none" spc="0" normalizeH="0" baseline="0" noProof="0">
              <a:ln>
                <a:noFill/>
              </a:ln>
              <a:solidFill>
                <a:srgbClr val="000000"/>
              </a:solidFill>
              <a:effectLst/>
              <a:uLnTx/>
              <a:uFillTx/>
              <a:latin typeface="EYInterstate"/>
              <a:cs typeface="Arial" charset="0"/>
            </a:endParaRPr>
          </a:p>
        </p:txBody>
      </p:sp>
      <p:pic>
        <p:nvPicPr>
          <p:cNvPr id="6" name="Picture 5">
            <a:extLst>
              <a:ext uri="{FF2B5EF4-FFF2-40B4-BE49-F238E27FC236}">
                <a16:creationId xmlns:a16="http://schemas.microsoft.com/office/drawing/2014/main" id="{8BBAFE4C-5FBC-4243-B284-9E7B7E49FAFC}"/>
              </a:ext>
            </a:extLst>
          </p:cNvPr>
          <p:cNvPicPr>
            <a:picLocks noChangeAspect="1"/>
          </p:cNvPicPr>
          <p:nvPr/>
        </p:nvPicPr>
        <p:blipFill>
          <a:blip r:embed="rId12"/>
          <a:stretch>
            <a:fillRect/>
          </a:stretch>
        </p:blipFill>
        <p:spPr>
          <a:xfrm>
            <a:off x="979168" y="3856913"/>
            <a:ext cx="1890761" cy="1165163"/>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grpSp>
        <p:nvGrpSpPr>
          <p:cNvPr id="50" name="Group 49">
            <a:extLst>
              <a:ext uri="{FF2B5EF4-FFF2-40B4-BE49-F238E27FC236}">
                <a16:creationId xmlns:a16="http://schemas.microsoft.com/office/drawing/2014/main" id="{CF5B6B16-BDC1-4EB9-891D-1DF174CCA955}"/>
              </a:ext>
            </a:extLst>
          </p:cNvPr>
          <p:cNvGrpSpPr/>
          <p:nvPr/>
        </p:nvGrpSpPr>
        <p:grpSpPr>
          <a:xfrm>
            <a:off x="2001950" y="3525235"/>
            <a:ext cx="1275262" cy="253916"/>
            <a:chOff x="11862118" y="1197553"/>
            <a:chExt cx="1275262" cy="253916"/>
          </a:xfrm>
        </p:grpSpPr>
        <p:sp>
          <p:nvSpPr>
            <p:cNvPr id="51" name="Rectangle 50">
              <a:extLst>
                <a:ext uri="{FF2B5EF4-FFF2-40B4-BE49-F238E27FC236}">
                  <a16:creationId xmlns:a16="http://schemas.microsoft.com/office/drawing/2014/main" id="{F5EE42F9-3E51-4F69-9523-87EC422E4B91}"/>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a:ln>
                  <a:noFill/>
                </a:ln>
                <a:solidFill>
                  <a:srgbClr val="000000"/>
                </a:solidFill>
                <a:effectLst/>
                <a:uLnTx/>
                <a:uFillTx/>
                <a:latin typeface="Arial" charset="0"/>
                <a:cs typeface="Arial" charset="0"/>
              </a:endParaRPr>
            </a:p>
          </p:txBody>
        </p:sp>
        <p:cxnSp>
          <p:nvCxnSpPr>
            <p:cNvPr id="52" name="Straight Connector 51">
              <a:extLst>
                <a:ext uri="{FF2B5EF4-FFF2-40B4-BE49-F238E27FC236}">
                  <a16:creationId xmlns:a16="http://schemas.microsoft.com/office/drawing/2014/main" id="{58DB5471-6B26-43D6-9478-37325A269EDC}"/>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D8380AB-C77C-416F-B0F5-8DD8877074B5}"/>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pic>
        <p:nvPicPr>
          <p:cNvPr id="55" name="Picture 54">
            <a:extLst>
              <a:ext uri="{FF2B5EF4-FFF2-40B4-BE49-F238E27FC236}">
                <a16:creationId xmlns:a16="http://schemas.microsoft.com/office/drawing/2014/main" id="{1674D365-8862-40C9-88C3-8F72F0FBA26D}"/>
              </a:ext>
            </a:extLst>
          </p:cNvPr>
          <p:cNvPicPr preferRelativeResize="0">
            <a:picLocks/>
          </p:cNvPicPr>
          <p:nvPr/>
        </p:nvPicPr>
        <p:blipFill>
          <a:blip r:embed="rId13"/>
          <a:stretch>
            <a:fillRect/>
          </a:stretch>
        </p:blipFill>
        <p:spPr>
          <a:xfrm>
            <a:off x="5533204" y="5939844"/>
            <a:ext cx="1005840" cy="666121"/>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grpSp>
        <p:nvGrpSpPr>
          <p:cNvPr id="56" name="Group 55">
            <a:extLst>
              <a:ext uri="{FF2B5EF4-FFF2-40B4-BE49-F238E27FC236}">
                <a16:creationId xmlns:a16="http://schemas.microsoft.com/office/drawing/2014/main" id="{7E90E9C5-F2B4-4ED9-B02E-559041A8DE68}"/>
              </a:ext>
            </a:extLst>
          </p:cNvPr>
          <p:cNvGrpSpPr/>
          <p:nvPr/>
        </p:nvGrpSpPr>
        <p:grpSpPr>
          <a:xfrm>
            <a:off x="10825808" y="3734354"/>
            <a:ext cx="1275262" cy="253916"/>
            <a:chOff x="11862118" y="1197553"/>
            <a:chExt cx="1275262" cy="253916"/>
          </a:xfrm>
        </p:grpSpPr>
        <p:sp>
          <p:nvSpPr>
            <p:cNvPr id="57" name="Rectangle 56">
              <a:extLst>
                <a:ext uri="{FF2B5EF4-FFF2-40B4-BE49-F238E27FC236}">
                  <a16:creationId xmlns:a16="http://schemas.microsoft.com/office/drawing/2014/main" id="{274607AA-DF4E-4C99-A8E2-529D597C2A85}"/>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a:ln>
                  <a:noFill/>
                </a:ln>
                <a:solidFill>
                  <a:srgbClr val="000000"/>
                </a:solidFill>
                <a:effectLst/>
                <a:uLnTx/>
                <a:uFillTx/>
                <a:latin typeface="Arial" charset="0"/>
                <a:cs typeface="Arial" charset="0"/>
              </a:endParaRPr>
            </a:p>
          </p:txBody>
        </p:sp>
        <p:cxnSp>
          <p:nvCxnSpPr>
            <p:cNvPr id="58" name="Straight Connector 57">
              <a:extLst>
                <a:ext uri="{FF2B5EF4-FFF2-40B4-BE49-F238E27FC236}">
                  <a16:creationId xmlns:a16="http://schemas.microsoft.com/office/drawing/2014/main" id="{CCF65079-C28A-4DA7-9A24-BFE1F634F749}"/>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8495EC4-789F-4879-A20F-702AB5BC4F8F}"/>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97FE27B3-BFBA-4B31-8F7E-BCF784C491BE}"/>
              </a:ext>
            </a:extLst>
          </p:cNvPr>
          <p:cNvSpPr txBox="1"/>
          <p:nvPr/>
        </p:nvSpPr>
        <p:spPr>
          <a:xfrm>
            <a:off x="3864474" y="3133003"/>
            <a:ext cx="4572000" cy="599677"/>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3: Analyze the identified capabilities</a:t>
            </a:r>
            <a:r>
              <a:rPr kumimoji="0" lang="en-US" sz="1100" b="0" i="0" u="none" strike="noStrike" kern="0" cap="none" spc="0" normalizeH="0" baseline="0" noProof="0">
                <a:ln>
                  <a:noFill/>
                </a:ln>
                <a:solidFill>
                  <a:srgbClr val="000000"/>
                </a:solidFill>
                <a:effectLst/>
                <a:uLnTx/>
                <a:uFillTx/>
                <a:latin typeface="EYInterstate"/>
                <a:cs typeface="Arial" charset="0"/>
              </a:rPr>
              <a:t> to recommend on Data Science Lab – VM vs Azure ML</a:t>
            </a:r>
          </a:p>
        </p:txBody>
      </p:sp>
    </p:spTree>
    <p:extLst>
      <p:ext uri="{BB962C8B-B14F-4D97-AF65-F5344CB8AC3E}">
        <p14:creationId xmlns:p14="http://schemas.microsoft.com/office/powerpoint/2010/main" val="2274508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A9C3EF-EC79-EF41-AEE2-C98A0561165D}"/>
              </a:ext>
            </a:extLst>
          </p:cNvPr>
          <p:cNvGraphicFramePr>
            <a:graphicFrameLocks noChangeAspect="1"/>
          </p:cNvGraphicFramePr>
          <p:nvPr>
            <p:custDataLst>
              <p:tags r:id="rId2"/>
            </p:custDataLst>
          </p:nvPr>
        </p:nvGraphicFramePr>
        <p:xfrm>
          <a:off x="4296" y="1441"/>
          <a:ext cx="1439" cy="1439"/>
        </p:xfrm>
        <a:graphic>
          <a:graphicData uri="http://schemas.openxmlformats.org/presentationml/2006/ole">
            <mc:AlternateContent xmlns:mc="http://schemas.openxmlformats.org/markup-compatibility/2006">
              <mc:Choice xmlns:v="urn:schemas-microsoft-com:vml" Requires="v">
                <p:oleObj spid="_x0000_s200713"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A7A9C3EF-EC79-EF41-AEE2-C98A0561165D}"/>
                          </a:ext>
                        </a:extLst>
                      </p:cNvPr>
                      <p:cNvPicPr/>
                      <p:nvPr/>
                    </p:nvPicPr>
                    <p:blipFill>
                      <a:blip r:embed="rId7"/>
                      <a:stretch>
                        <a:fillRect/>
                      </a:stretch>
                    </p:blipFill>
                    <p:spPr>
                      <a:xfrm>
                        <a:off x="4296" y="1441"/>
                        <a:ext cx="1439"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389429-FF38-8644-86AD-26B3FFE70C1E}"/>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defTabSz="829361" eaLnBrk="1" hangingPunct="1">
              <a:spcAft>
                <a:spcPct val="50000"/>
              </a:spcAft>
              <a:buClr>
                <a:srgbClr val="FFE600"/>
              </a:buClr>
              <a:buSzPct val="80000"/>
              <a:defRPr/>
            </a:pPr>
            <a:endParaRPr lang="en-GB" sz="2177" b="1" dirty="0">
              <a:solidFill>
                <a:srgbClr val="646464"/>
              </a:solidFill>
              <a:latin typeface="EYInterstate" panose="02000503020000020004" pitchFamily="2" charset="0"/>
              <a:sym typeface="EYInterstate" panose="02000503020000020004" pitchFamily="2" charset="0"/>
            </a:endParaRPr>
          </a:p>
        </p:txBody>
      </p:sp>
      <p:sp>
        <p:nvSpPr>
          <p:cNvPr id="2" name="Title 1">
            <a:extLst>
              <a:ext uri="{FF2B5EF4-FFF2-40B4-BE49-F238E27FC236}">
                <a16:creationId xmlns:a16="http://schemas.microsoft.com/office/drawing/2014/main" id="{C4C23136-0F1A-2043-A138-823BF069E3FE}"/>
              </a:ext>
            </a:extLst>
          </p:cNvPr>
          <p:cNvSpPr>
            <a:spLocks noGrp="1"/>
          </p:cNvSpPr>
          <p:nvPr>
            <p:ph type="title"/>
          </p:nvPr>
        </p:nvSpPr>
        <p:spPr/>
        <p:txBody>
          <a:bodyPr/>
          <a:lstStyle/>
          <a:p>
            <a:r>
              <a:rPr lang="en-GB" dirty="0">
                <a:solidFill>
                  <a:srgbClr val="FFFFFF"/>
                </a:solidFill>
              </a:rPr>
              <a:t>Table of Contents</a:t>
            </a:r>
            <a:endParaRPr lang="en-GB" dirty="0"/>
          </a:p>
        </p:txBody>
      </p:sp>
      <p:sp>
        <p:nvSpPr>
          <p:cNvPr id="5" name="Rectangle 4">
            <a:extLst>
              <a:ext uri="{FF2B5EF4-FFF2-40B4-BE49-F238E27FC236}">
                <a16:creationId xmlns:a16="http://schemas.microsoft.com/office/drawing/2014/main" id="{1A6C3D31-1A5E-F641-AEFF-8DE3943F771A}"/>
              </a:ext>
            </a:extLst>
          </p:cNvPr>
          <p:cNvSpPr/>
          <p:nvPr/>
        </p:nvSpPr>
        <p:spPr>
          <a:xfrm>
            <a:off x="856514" y="1438885"/>
            <a:ext cx="8278250" cy="4034438"/>
          </a:xfrm>
          <a:prstGeom prst="rect">
            <a:avLst/>
          </a:prstGeom>
        </p:spPr>
        <p:txBody>
          <a:bodyPr wrap="square" lIns="81629" anchor="t" anchorCtr="0">
            <a:spAutoFit/>
          </a:bodyPr>
          <a:lstStyle/>
          <a:p>
            <a:pPr marL="673856" lvl="3" indent="-673856" defTabSz="945404" eaLnBrk="1" hangingPunct="1">
              <a:spcAft>
                <a:spcPts val="1088"/>
              </a:spcAft>
              <a:buClr>
                <a:srgbClr val="FFE600"/>
              </a:buClr>
              <a:buSzPct val="100000"/>
              <a:buFont typeface="+mj-lt"/>
              <a:buAutoNum type="arabicPeriod"/>
              <a:defRPr/>
            </a:pPr>
            <a:r>
              <a:rPr lang="en-US" sz="2400" b="1" kern="0" dirty="0">
                <a:solidFill>
                  <a:schemeClr val="bg2">
                    <a:lumMod val="95000"/>
                  </a:schemeClr>
                </a:solidFill>
                <a:latin typeface="EYInterstate" panose="02000503020000020004" pitchFamily="2" charset="0"/>
                <a:ea typeface="+mn-ea"/>
                <a:cs typeface="+mn-cs"/>
              </a:rPr>
              <a:t>Our Understanding of Your Needs</a:t>
            </a:r>
          </a:p>
          <a:p>
            <a:pPr marL="673856" lvl="3" indent="-673856" defTabSz="945404" eaLnBrk="1" hangingPunct="1">
              <a:spcAft>
                <a:spcPts val="1088"/>
              </a:spcAft>
              <a:buClr>
                <a:srgbClr val="FFE600"/>
              </a:buClr>
              <a:buSzPct val="100000"/>
              <a:buFont typeface="+mj-lt"/>
              <a:buAutoNum type="arabicPeriod"/>
              <a:defRPr/>
            </a:pPr>
            <a:r>
              <a:rPr lang="en-US" sz="2400" b="1" kern="0" dirty="0">
                <a:solidFill>
                  <a:schemeClr val="bg2">
                    <a:lumMod val="95000"/>
                  </a:schemeClr>
                </a:solidFill>
                <a:latin typeface="EYInterstate" panose="02000503020000020004" pitchFamily="2" charset="0"/>
              </a:rPr>
              <a:t>Why EY</a:t>
            </a:r>
          </a:p>
          <a:p>
            <a:pPr marL="673856" lvl="3" indent="-673856" defTabSz="945404" eaLnBrk="1" hangingPunct="1">
              <a:spcAft>
                <a:spcPts val="1088"/>
              </a:spcAft>
              <a:buClr>
                <a:srgbClr val="FFE600"/>
              </a:buClr>
              <a:buSzPct val="100000"/>
              <a:buFont typeface="+mj-lt"/>
              <a:buAutoNum type="arabicPeriod"/>
              <a:defRPr/>
            </a:pPr>
            <a:r>
              <a:rPr lang="en-US" sz="2400" b="1" kern="0" dirty="0">
                <a:solidFill>
                  <a:schemeClr val="bg2">
                    <a:lumMod val="95000"/>
                  </a:schemeClr>
                </a:solidFill>
                <a:latin typeface="EYInterstate" panose="02000503020000020004" pitchFamily="2" charset="0"/>
                <a:ea typeface="+mn-ea"/>
                <a:cs typeface="+mn-cs"/>
              </a:rPr>
              <a:t>Our Point of View &amp; Approach</a:t>
            </a:r>
          </a:p>
          <a:p>
            <a:pPr marL="673856" lvl="3" indent="-673856" defTabSz="945404" eaLnBrk="1" hangingPunct="1">
              <a:spcAft>
                <a:spcPts val="1088"/>
              </a:spcAft>
              <a:buClr>
                <a:srgbClr val="FFE600"/>
              </a:buClr>
              <a:buSzPct val="100000"/>
              <a:buFont typeface="+mj-lt"/>
              <a:buAutoNum type="arabicPeriod"/>
              <a:defRPr/>
            </a:pPr>
            <a:r>
              <a:rPr lang="en-US" sz="2400" b="1" kern="0" dirty="0">
                <a:solidFill>
                  <a:schemeClr val="bg2">
                    <a:lumMod val="95000"/>
                  </a:schemeClr>
                </a:solidFill>
                <a:latin typeface="EYInterstate" panose="02000503020000020004" pitchFamily="2" charset="0"/>
                <a:ea typeface="+mn-ea"/>
                <a:cs typeface="+mn-cs"/>
              </a:rPr>
              <a:t>Value Added</a:t>
            </a:r>
          </a:p>
          <a:p>
            <a:pPr marL="673856" lvl="3" indent="-673856" defTabSz="945404" eaLnBrk="1" hangingPunct="1">
              <a:spcAft>
                <a:spcPts val="1088"/>
              </a:spcAft>
              <a:buClr>
                <a:srgbClr val="FFE600"/>
              </a:buClr>
              <a:buSzPct val="100000"/>
              <a:buFont typeface="+mj-lt"/>
              <a:buAutoNum type="arabicPeriod"/>
              <a:defRPr/>
            </a:pPr>
            <a:r>
              <a:rPr lang="en-US" sz="2400" b="1" kern="0" dirty="0">
                <a:solidFill>
                  <a:schemeClr val="bg2">
                    <a:lumMod val="95000"/>
                  </a:schemeClr>
                </a:solidFill>
                <a:latin typeface="EYInterstate" panose="02000503020000020004" pitchFamily="2" charset="0"/>
              </a:rPr>
              <a:t>Timeline</a:t>
            </a:r>
          </a:p>
          <a:p>
            <a:pPr marL="673856" lvl="3" indent="-673856" defTabSz="945404" eaLnBrk="1" hangingPunct="1">
              <a:spcAft>
                <a:spcPts val="1088"/>
              </a:spcAft>
              <a:buClr>
                <a:srgbClr val="FFE600"/>
              </a:buClr>
              <a:buSzPct val="100000"/>
              <a:buFont typeface="+mj-lt"/>
              <a:buAutoNum type="arabicPeriod"/>
              <a:defRPr/>
            </a:pPr>
            <a:r>
              <a:rPr lang="en-US" sz="2400" b="1" kern="0" dirty="0">
                <a:solidFill>
                  <a:schemeClr val="bg2">
                    <a:lumMod val="95000"/>
                  </a:schemeClr>
                </a:solidFill>
                <a:latin typeface="EYInterstate" panose="02000503020000020004" pitchFamily="2" charset="0"/>
              </a:rPr>
              <a:t>Our Team Structure</a:t>
            </a:r>
          </a:p>
          <a:p>
            <a:pPr marL="673856" lvl="3" indent="-673856" defTabSz="945404" eaLnBrk="1" hangingPunct="1">
              <a:spcAft>
                <a:spcPts val="1088"/>
              </a:spcAft>
              <a:buClr>
                <a:srgbClr val="FFE600"/>
              </a:buClr>
              <a:buSzPct val="100000"/>
              <a:buFont typeface="+mj-lt"/>
              <a:buAutoNum type="arabicPeriod"/>
              <a:defRPr/>
            </a:pPr>
            <a:r>
              <a:rPr lang="en-US" sz="2400" b="1" kern="0" dirty="0">
                <a:solidFill>
                  <a:schemeClr val="bg2">
                    <a:lumMod val="95000"/>
                  </a:schemeClr>
                </a:solidFill>
                <a:latin typeface="EYInterstate" panose="02000503020000020004" pitchFamily="2" charset="0"/>
              </a:rPr>
              <a:t>Our Credentials</a:t>
            </a:r>
          </a:p>
          <a:p>
            <a:pPr marL="673856" lvl="3" indent="-673856" defTabSz="945404" eaLnBrk="1" hangingPunct="1">
              <a:spcAft>
                <a:spcPts val="1088"/>
              </a:spcAft>
              <a:buClr>
                <a:srgbClr val="FFE600"/>
              </a:buClr>
              <a:buSzPct val="100000"/>
              <a:buFont typeface="+mj-lt"/>
              <a:buAutoNum type="arabicPeriod"/>
              <a:defRPr/>
            </a:pPr>
            <a:r>
              <a:rPr lang="en-US" sz="2400" b="1" kern="0" dirty="0">
                <a:solidFill>
                  <a:schemeClr val="bg2">
                    <a:lumMod val="95000"/>
                  </a:schemeClr>
                </a:solidFill>
                <a:latin typeface="EYInterstate" panose="02000503020000020004" pitchFamily="2" charset="0"/>
              </a:rPr>
              <a:t>Assumptions</a:t>
            </a:r>
          </a:p>
        </p:txBody>
      </p:sp>
    </p:spTree>
    <p:extLst>
      <p:ext uri="{BB962C8B-B14F-4D97-AF65-F5344CB8AC3E}">
        <p14:creationId xmlns:p14="http://schemas.microsoft.com/office/powerpoint/2010/main" val="12276245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20D8B3F-5E92-478E-BA3B-6A9A550BAF9D}"/>
              </a:ext>
            </a:extLst>
          </p:cNvPr>
          <p:cNvPicPr>
            <a:picLocks noChangeAspect="1"/>
          </p:cNvPicPr>
          <p:nvPr/>
        </p:nvPicPr>
        <p:blipFill>
          <a:blip r:embed="rId6"/>
          <a:stretch>
            <a:fillRect/>
          </a:stretch>
        </p:blipFill>
        <p:spPr>
          <a:xfrm>
            <a:off x="127" y="0"/>
            <a:ext cx="12198096" cy="6858000"/>
          </a:xfrm>
          <a:prstGeom prst="rect">
            <a:avLst/>
          </a:prstGeom>
        </p:spPr>
      </p:pic>
      <p:graphicFrame>
        <p:nvGraphicFramePr>
          <p:cNvPr id="2" name="Object 1" hidden="1"/>
          <p:cNvGraphicFramePr>
            <a:graphicFrameLocks/>
          </p:cNvGraphicFramePr>
          <p:nvPr>
            <p:custDataLst>
              <p:tags r:id="rId3"/>
            </p:custDataLst>
          </p:nvPr>
        </p:nvGraphicFramePr>
        <p:xfrm>
          <a:off x="2463223" y="702378"/>
          <a:ext cx="1079" cy="1145"/>
        </p:xfrm>
        <a:graphic>
          <a:graphicData uri="http://schemas.openxmlformats.org/presentationml/2006/ole">
            <mc:AlternateContent xmlns:mc="http://schemas.openxmlformats.org/markup-compatibility/2006">
              <mc:Choice xmlns:v="urn:schemas-microsoft-com:vml" Requires="v">
                <p:oleObj spid="_x0000_s243721"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2463223" y="702378"/>
                        <a:ext cx="1079" cy="1145"/>
                      </a:xfrm>
                      <a:prstGeom prst="rect">
                        <a:avLst/>
                      </a:prstGeom>
                    </p:spPr>
                  </p:pic>
                </p:oleObj>
              </mc:Fallback>
            </mc:AlternateContent>
          </a:graphicData>
        </a:graphic>
      </p:graphicFrame>
      <p:sp>
        <p:nvSpPr>
          <p:cNvPr id="6" name="Freeform 12"/>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algn="ctr" defTabSz="634556" eaLnBrk="1" hangingPunct="1">
              <a:spcAft>
                <a:spcPct val="50000"/>
              </a:spcAft>
              <a:buClr>
                <a:srgbClr val="FFE600"/>
              </a:buClr>
              <a:buSzPct val="80000"/>
            </a:pPr>
            <a:endParaRPr lang="en-US" sz="637">
              <a:solidFill>
                <a:srgbClr val="FFFFFF"/>
              </a:solidFill>
              <a:latin typeface="EYInterstate Light" panose="02000506000000020004" pitchFamily="2" charset="0"/>
            </a:endParaRPr>
          </a:p>
        </p:txBody>
      </p:sp>
      <p:sp>
        <p:nvSpPr>
          <p:cNvPr id="7" name="Text Placeholder 9"/>
          <p:cNvSpPr txBox="1">
            <a:spLocks/>
          </p:cNvSpPr>
          <p:nvPr/>
        </p:nvSpPr>
        <p:spPr bwMode="gray">
          <a:xfrm>
            <a:off x="36029" y="1865549"/>
            <a:ext cx="5147864"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defTabSz="634779" eaLnBrk="1" hangingPunct="1">
              <a:buClr>
                <a:srgbClr val="FFE600"/>
              </a:buClr>
              <a:buSzPct val="80000"/>
            </a:pPr>
            <a:r>
              <a:rPr lang="en-US" sz="2177">
                <a:solidFill>
                  <a:srgbClr val="000000"/>
                </a:solidFill>
                <a:latin typeface="EYInterstate" panose="02000503020000020004" pitchFamily="2" charset="0"/>
              </a:rPr>
              <a:t>3.4 | </a:t>
            </a:r>
            <a:r>
              <a:rPr lang="en-US" sz="2177">
                <a:solidFill>
                  <a:srgbClr val="000000"/>
                </a:solidFill>
                <a:latin typeface="EYInterstate" panose="02000503020000020004" pitchFamily="2" charset="0"/>
                <a:cs typeface="Calibri" panose="020F0502020204030204" pitchFamily="34" charset="0"/>
              </a:rPr>
              <a:t>Our Point of View &amp; Approach</a:t>
            </a:r>
          </a:p>
          <a:p>
            <a:pPr defTabSz="634779" eaLnBrk="1" hangingPunct="1">
              <a:buClr>
                <a:srgbClr val="FFE600"/>
              </a:buClr>
              <a:buSzPct val="80000"/>
            </a:pPr>
            <a:r>
              <a:rPr lang="en-US" sz="1633">
                <a:solidFill>
                  <a:srgbClr val="000000"/>
                </a:solidFill>
                <a:latin typeface="EYInterstate" panose="02000503020000020004" pitchFamily="2" charset="0"/>
                <a:cs typeface="Calibri" panose="020F0502020204030204" pitchFamily="34" charset="0"/>
              </a:rPr>
              <a:t>Target Operating Model</a:t>
            </a:r>
          </a:p>
        </p:txBody>
      </p:sp>
      <p:sp>
        <p:nvSpPr>
          <p:cNvPr id="11" name="Rectangle 10">
            <a:extLst>
              <a:ext uri="{FF2B5EF4-FFF2-40B4-BE49-F238E27FC236}">
                <a16:creationId xmlns:a16="http://schemas.microsoft.com/office/drawing/2014/main" id="{627C101E-12A4-40D6-B470-7487B836B68D}"/>
              </a:ext>
            </a:extLst>
          </p:cNvPr>
          <p:cNvSpPr/>
          <p:nvPr/>
        </p:nvSpPr>
        <p:spPr>
          <a:xfrm>
            <a:off x="8583616" y="-213122"/>
            <a:ext cx="3312045" cy="2529957"/>
          </a:xfrm>
          <a:prstGeom prst="rect">
            <a:avLst/>
          </a:prstGeom>
          <a:noFill/>
        </p:spPr>
        <p:txBody>
          <a:bodyPr wrap="square" lIns="72742" tIns="36370" rIns="72742" bIns="36370">
            <a:spAutoFit/>
          </a:bodyPr>
          <a:lstStyle/>
          <a:p>
            <a:pPr algn="ctr" defTabSz="945990" eaLnBrk="1" fontAlgn="auto" hangingPunct="1">
              <a:spcBef>
                <a:spcPts val="0"/>
              </a:spcBef>
              <a:spcAft>
                <a:spcPts val="0"/>
              </a:spcAft>
            </a:pPr>
            <a:r>
              <a:rPr lang="en-US" sz="15963" b="1">
                <a:ln w="22225">
                  <a:solidFill>
                    <a:srgbClr val="FFE600"/>
                  </a:solidFill>
                  <a:prstDash val="solid"/>
                </a:ln>
                <a:solidFill>
                  <a:srgbClr val="FFE600"/>
                </a:solidFill>
                <a:latin typeface="EYInterstate" panose="02000503020000020004" pitchFamily="2" charset="0"/>
                <a:ea typeface="+mn-ea"/>
                <a:cs typeface="Calibri" panose="020F0502020204030204" pitchFamily="34" charset="0"/>
              </a:rPr>
              <a:t>3.4</a:t>
            </a:r>
          </a:p>
        </p:txBody>
      </p:sp>
      <p:graphicFrame>
        <p:nvGraphicFramePr>
          <p:cNvPr id="8" name="Diagram 7">
            <a:extLst>
              <a:ext uri="{FF2B5EF4-FFF2-40B4-BE49-F238E27FC236}">
                <a16:creationId xmlns:a16="http://schemas.microsoft.com/office/drawing/2014/main" id="{51745B4B-48AD-41F4-903E-E6D557D3CC7E}"/>
              </a:ext>
            </a:extLst>
          </p:cNvPr>
          <p:cNvGraphicFramePr/>
          <p:nvPr>
            <p:extLst>
              <p:ext uri="{D42A27DB-BD31-4B8C-83A1-F6EECF244321}">
                <p14:modId xmlns:p14="http://schemas.microsoft.com/office/powerpoint/2010/main" val="3876709233"/>
              </p:ext>
            </p:extLst>
          </p:nvPr>
        </p:nvGraphicFramePr>
        <p:xfrm>
          <a:off x="-37787" y="5273384"/>
          <a:ext cx="8119987" cy="100235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2"/>
    </p:custDataLst>
    <p:extLst>
      <p:ext uri="{BB962C8B-B14F-4D97-AF65-F5344CB8AC3E}">
        <p14:creationId xmlns:p14="http://schemas.microsoft.com/office/powerpoint/2010/main" val="11415538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45769"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807393" cy="672625"/>
          </a:xfrm>
        </p:spPr>
        <p:txBody>
          <a:bodyPr vert="horz" lIns="0" tIns="0" rIns="0" bIns="0" rtlCol="0" anchor="t" anchorCtr="0">
            <a:noAutofit/>
          </a:bodyPr>
          <a:lstStyle/>
          <a:p>
            <a:r>
              <a:rPr lang="en-US"/>
              <a:t>The target operating model will encompass with roles and responsibilities that would drive AIAT to deliver data related use cases </a:t>
            </a:r>
          </a:p>
        </p:txBody>
      </p:sp>
      <p:sp>
        <p:nvSpPr>
          <p:cNvPr id="103" name="object 4">
            <a:extLst>
              <a:ext uri="{FF2B5EF4-FFF2-40B4-BE49-F238E27FC236}">
                <a16:creationId xmlns:a16="http://schemas.microsoft.com/office/drawing/2014/main" id="{CB18BB4F-025D-4953-9244-F23650659DE1}"/>
              </a:ext>
            </a:extLst>
          </p:cNvPr>
          <p:cNvSpPr txBox="1"/>
          <p:nvPr/>
        </p:nvSpPr>
        <p:spPr>
          <a:xfrm>
            <a:off x="855537" y="1522144"/>
            <a:ext cx="3822860" cy="312813"/>
          </a:xfrm>
          <a:prstGeom prst="rect">
            <a:avLst/>
          </a:prstGeom>
          <a:solidFill>
            <a:srgbClr val="636363"/>
          </a:solidFill>
        </p:spPr>
        <p:txBody>
          <a:bodyPr vert="horz" wrap="square" lIns="0" tIns="0" rIns="0" bIns="0" rtlCol="0" anchor="ctr" anchorCtr="0">
            <a:noAutofit/>
          </a:bodyPr>
          <a:lstStyle/>
          <a:p>
            <a:pPr marL="576" marR="0" lvl="0" indent="0" algn="ctr" defTabSz="829195" rtl="0" eaLnBrk="1" fontAlgn="auto" latinLnBrk="0" hangingPunct="1">
              <a:lnSpc>
                <a:spcPct val="100000"/>
              </a:lnSpc>
              <a:spcBef>
                <a:spcPts val="540"/>
              </a:spcBef>
              <a:spcAft>
                <a:spcPts val="0"/>
              </a:spcAft>
              <a:buClrTx/>
              <a:buSzTx/>
              <a:buFontTx/>
              <a:buNone/>
              <a:tabLst/>
              <a:defRPr/>
            </a:pPr>
            <a:r>
              <a:rPr kumimoji="0" lang="en-US" sz="1400" b="1" i="0" u="none" strike="noStrike" kern="1200" cap="none" spc="50" normalizeH="0" baseline="0" noProof="0">
                <a:ln>
                  <a:noFill/>
                </a:ln>
                <a:solidFill>
                  <a:srgbClr val="FFFFFF"/>
                </a:solidFill>
                <a:effectLst/>
                <a:uLnTx/>
                <a:uFillTx/>
                <a:latin typeface="EYInterstate" panose="02000503020000020004" pitchFamily="2" charset="0"/>
                <a:ea typeface="+mn-ea"/>
                <a:cs typeface="Trebuchet MS"/>
              </a:rPr>
              <a:t>TOM</a:t>
            </a:r>
            <a:r>
              <a:rPr kumimoji="0" lang="en-US" sz="1400" b="1" i="0" u="none" strike="noStrike" kern="1200" cap="none" spc="-9" normalizeH="0" baseline="0" noProof="0">
                <a:ln>
                  <a:noFill/>
                </a:ln>
                <a:solidFill>
                  <a:srgbClr val="FFFFFF"/>
                </a:solidFill>
                <a:effectLst/>
                <a:uLnTx/>
                <a:uFillTx/>
                <a:latin typeface="EYInterstate" panose="02000503020000020004" pitchFamily="2" charset="0"/>
                <a:ea typeface="+mn-ea"/>
                <a:cs typeface="Trebuchet MS"/>
              </a:rPr>
              <a:t> </a:t>
            </a:r>
            <a:r>
              <a:rPr kumimoji="0" lang="en-US" sz="1400" b="1" i="0" u="none" strike="noStrike" kern="1200" cap="none" spc="0" normalizeH="0" baseline="0" noProof="0">
                <a:ln>
                  <a:noFill/>
                </a:ln>
                <a:solidFill>
                  <a:srgbClr val="FFFFFF"/>
                </a:solidFill>
                <a:effectLst/>
                <a:uLnTx/>
                <a:uFillTx/>
                <a:latin typeface="EYInterstate" panose="02000503020000020004" pitchFamily="2" charset="0"/>
                <a:ea typeface="+mn-ea"/>
                <a:cs typeface="Trebuchet MS"/>
              </a:rPr>
              <a:t>Capabilities</a:t>
            </a:r>
            <a:endParaRPr kumimoji="0" lang="en-US" sz="1400" b="0" i="0" u="none" strike="noStrike" kern="1200" cap="none" spc="0" normalizeH="0" baseline="0" noProof="0">
              <a:ln>
                <a:noFill/>
              </a:ln>
              <a:solidFill>
                <a:prstClr val="black"/>
              </a:solidFill>
              <a:effectLst/>
              <a:uLnTx/>
              <a:uFillTx/>
              <a:latin typeface="EYInterstate" panose="02000503020000020004" pitchFamily="2" charset="0"/>
              <a:ea typeface="+mn-ea"/>
              <a:cs typeface="Trebuchet MS"/>
            </a:endParaRPr>
          </a:p>
        </p:txBody>
      </p:sp>
      <p:sp>
        <p:nvSpPr>
          <p:cNvPr id="110" name="object 5">
            <a:extLst>
              <a:ext uri="{FF2B5EF4-FFF2-40B4-BE49-F238E27FC236}">
                <a16:creationId xmlns:a16="http://schemas.microsoft.com/office/drawing/2014/main" id="{BBE85BAC-023E-4BDB-A0E8-50C93C45833E}"/>
              </a:ext>
            </a:extLst>
          </p:cNvPr>
          <p:cNvSpPr/>
          <p:nvPr/>
        </p:nvSpPr>
        <p:spPr>
          <a:xfrm>
            <a:off x="4718128" y="1534986"/>
            <a:ext cx="0" cy="4415124"/>
          </a:xfrm>
          <a:custGeom>
            <a:avLst/>
            <a:gdLst/>
            <a:ahLst/>
            <a:cxnLst/>
            <a:rect l="l" t="t" r="r" b="b"/>
            <a:pathLst>
              <a:path h="5486400">
                <a:moveTo>
                  <a:pt x="0" y="0"/>
                </a:moveTo>
                <a:lnTo>
                  <a:pt x="0" y="5486400"/>
                </a:lnTo>
              </a:path>
            </a:pathLst>
          </a:custGeom>
          <a:ln w="9144">
            <a:solidFill>
              <a:srgbClr val="999999"/>
            </a:solidFill>
            <a:prstDash val="sysDash"/>
          </a:ln>
        </p:spPr>
        <p:txBody>
          <a:bodyPr wrap="square" lIns="0" tIns="0" rIns="0" bIns="0" rtlCol="0"/>
          <a:lstStyle/>
          <a:p>
            <a:pPr marL="0" marR="0" lvl="0" indent="0" algn="l" defTabSz="829195" rtl="0" eaLnBrk="1" fontAlgn="auto"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prstClr val="black"/>
              </a:solidFill>
              <a:effectLst/>
              <a:uLnTx/>
              <a:uFillTx/>
              <a:latin typeface="Calibri"/>
              <a:ea typeface="+mn-ea"/>
              <a:cs typeface="Arial" charset="0"/>
            </a:endParaRPr>
          </a:p>
        </p:txBody>
      </p:sp>
      <p:sp>
        <p:nvSpPr>
          <p:cNvPr id="134" name="object 22">
            <a:extLst>
              <a:ext uri="{FF2B5EF4-FFF2-40B4-BE49-F238E27FC236}">
                <a16:creationId xmlns:a16="http://schemas.microsoft.com/office/drawing/2014/main" id="{B3FE7D90-39B2-4C00-AE3F-87B4AFCBC566}"/>
              </a:ext>
            </a:extLst>
          </p:cNvPr>
          <p:cNvSpPr txBox="1"/>
          <p:nvPr/>
        </p:nvSpPr>
        <p:spPr>
          <a:xfrm>
            <a:off x="4758205" y="1522144"/>
            <a:ext cx="4159714" cy="312813"/>
          </a:xfrm>
          <a:prstGeom prst="rect">
            <a:avLst/>
          </a:prstGeom>
          <a:solidFill>
            <a:srgbClr val="636363"/>
          </a:solidFill>
        </p:spPr>
        <p:txBody>
          <a:bodyPr vert="horz" wrap="square" lIns="0" tIns="0" rIns="0" bIns="0" rtlCol="0" anchor="ctr" anchorCtr="0">
            <a:noAutofit/>
          </a:bodyPr>
          <a:lstStyle>
            <a:defPPr>
              <a:defRPr lang="en-US"/>
            </a:defPPr>
            <a:lvl1pPr marL="576" algn="ctr" defTabSz="829195" eaLnBrk="1" fontAlgn="auto" hangingPunct="1">
              <a:spcBef>
                <a:spcPts val="540"/>
              </a:spcBef>
              <a:spcAft>
                <a:spcPts val="0"/>
              </a:spcAft>
              <a:defRPr sz="1400" b="1" spc="50">
                <a:solidFill>
                  <a:srgbClr val="FFFFFF"/>
                </a:solidFill>
                <a:latin typeface="EYInterstate" panose="02000503020000020004" pitchFamily="2" charset="0"/>
                <a:ea typeface="+mn-ea"/>
                <a:cs typeface="Trebuchet MS"/>
              </a:defRPr>
            </a:lvl1pPr>
          </a:lstStyle>
          <a:p>
            <a:pPr marL="576" marR="0" lvl="0" indent="0" algn="ctr" defTabSz="829195" rtl="0" eaLnBrk="1" fontAlgn="auto" latinLnBrk="0" hangingPunct="1">
              <a:lnSpc>
                <a:spcPct val="100000"/>
              </a:lnSpc>
              <a:spcBef>
                <a:spcPts val="540"/>
              </a:spcBef>
              <a:spcAft>
                <a:spcPts val="0"/>
              </a:spcAft>
              <a:buClrTx/>
              <a:buSzTx/>
              <a:buFontTx/>
              <a:buNone/>
              <a:tabLst/>
              <a:defRPr/>
            </a:pPr>
            <a:r>
              <a:rPr kumimoji="0" lang="en-US" sz="1400" b="1" i="0" u="none" strike="noStrike" kern="1200" cap="none" spc="50" normalizeH="0" baseline="0" noProof="0">
                <a:ln>
                  <a:noFill/>
                </a:ln>
                <a:solidFill>
                  <a:srgbClr val="FFFFFF"/>
                </a:solidFill>
                <a:effectLst/>
                <a:uLnTx/>
                <a:uFillTx/>
                <a:latin typeface="EYInterstate" panose="02000503020000020004" pitchFamily="2" charset="0"/>
                <a:ea typeface="+mn-ea"/>
              </a:rPr>
              <a:t>Key Processes</a:t>
            </a:r>
          </a:p>
        </p:txBody>
      </p:sp>
      <p:sp>
        <p:nvSpPr>
          <p:cNvPr id="135" name="object 24">
            <a:extLst>
              <a:ext uri="{FF2B5EF4-FFF2-40B4-BE49-F238E27FC236}">
                <a16:creationId xmlns:a16="http://schemas.microsoft.com/office/drawing/2014/main" id="{0A0F84E3-9AD6-48CA-9CA8-CEFF69EA068C}"/>
              </a:ext>
            </a:extLst>
          </p:cNvPr>
          <p:cNvSpPr txBox="1"/>
          <p:nvPr/>
        </p:nvSpPr>
        <p:spPr>
          <a:xfrm>
            <a:off x="4810951" y="4587094"/>
            <a:ext cx="2017093" cy="1162250"/>
          </a:xfrm>
          <a:prstGeom prst="rect">
            <a:avLst/>
          </a:prstGeom>
        </p:spPr>
        <p:txBody>
          <a:bodyPr vert="horz" wrap="square" lIns="0" tIns="85797" rIns="0" bIns="0" rtlCol="0">
            <a:spAutoFit/>
          </a:bodyPr>
          <a:lstStyle/>
          <a:p>
            <a:pPr marL="139927" marR="0" lvl="0" indent="-105377" algn="l" defTabSz="829195" rtl="0" eaLnBrk="1" fontAlgn="auto" latinLnBrk="0" hangingPunct="1">
              <a:lnSpc>
                <a:spcPct val="100000"/>
              </a:lnSpc>
              <a:spcBef>
                <a:spcPts val="676"/>
              </a:spcBef>
              <a:spcAft>
                <a:spcPts val="0"/>
              </a:spcAft>
              <a:buClr>
                <a:srgbClr val="636363"/>
              </a:buClr>
              <a:buSzPct val="77272"/>
              <a:buFont typeface="Arial"/>
              <a:buChar char="•"/>
              <a:tabLst>
                <a:tab pos="139927" algn="l"/>
              </a:tabLst>
              <a:defRPr/>
            </a:pPr>
            <a:r>
              <a:rPr kumimoji="0" lang="en-US" sz="998" b="0" i="0" u="none" strike="noStrike" kern="1200" cap="none" spc="27" normalizeH="0" baseline="0" noProof="0">
                <a:ln>
                  <a:noFill/>
                </a:ln>
                <a:solidFill>
                  <a:prstClr val="black"/>
                </a:solidFill>
                <a:effectLst/>
                <a:uLnTx/>
                <a:uFillTx/>
                <a:latin typeface="EYInterstate Light" panose="02000506000000020004" pitchFamily="2" charset="0"/>
                <a:ea typeface="+mn-ea"/>
                <a:cs typeface="Trebuchet MS"/>
              </a:rPr>
              <a:t>Business</a:t>
            </a:r>
            <a:r>
              <a:rPr kumimoji="0" lang="en-US" sz="998" b="0" i="0" u="none" strike="noStrike" kern="1200" cap="none" spc="-59"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23" normalizeH="0" baseline="0" noProof="0">
                <a:ln>
                  <a:noFill/>
                </a:ln>
                <a:solidFill>
                  <a:prstClr val="black"/>
                </a:solidFill>
                <a:effectLst/>
                <a:uLnTx/>
                <a:uFillTx/>
                <a:latin typeface="EYInterstate Light" panose="02000506000000020004" pitchFamily="2" charset="0"/>
                <a:ea typeface="+mn-ea"/>
                <a:cs typeface="Trebuchet MS"/>
              </a:rPr>
              <a:t>Analysts</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a:p>
            <a:pPr marL="139927" marR="0" lvl="0" indent="-105377" algn="l" defTabSz="829195" rtl="0" eaLnBrk="1" fontAlgn="auto" latinLnBrk="0" hangingPunct="1">
              <a:lnSpc>
                <a:spcPct val="100000"/>
              </a:lnSpc>
              <a:spcBef>
                <a:spcPts val="590"/>
              </a:spcBef>
              <a:spcAft>
                <a:spcPts val="0"/>
              </a:spcAft>
              <a:buClr>
                <a:srgbClr val="636363"/>
              </a:buClr>
              <a:buSzPct val="77272"/>
              <a:buFont typeface="Arial"/>
              <a:buChar char="•"/>
              <a:tabLst>
                <a:tab pos="139927" algn="l"/>
              </a:tabLst>
              <a:defRPr/>
            </a:pP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Database</a:t>
            </a:r>
            <a:r>
              <a:rPr kumimoji="0" lang="en-US" sz="998" b="0" i="0" u="none" strike="noStrike" kern="1200" cap="none" spc="-68"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18" normalizeH="0" baseline="0" noProof="0">
                <a:ln>
                  <a:noFill/>
                </a:ln>
                <a:solidFill>
                  <a:prstClr val="black"/>
                </a:solidFill>
                <a:effectLst/>
                <a:uLnTx/>
                <a:uFillTx/>
                <a:latin typeface="EYInterstate Light" panose="02000506000000020004" pitchFamily="2" charset="0"/>
                <a:ea typeface="+mn-ea"/>
                <a:cs typeface="Trebuchet MS"/>
              </a:rPr>
              <a:t>Admin</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a:p>
            <a:pPr marL="139927" marR="0" lvl="0" indent="-105377" algn="l" defTabSz="829195" rtl="0" eaLnBrk="1" fontAlgn="auto" latinLnBrk="0" hangingPunct="1">
              <a:lnSpc>
                <a:spcPct val="100000"/>
              </a:lnSpc>
              <a:spcBef>
                <a:spcPts val="608"/>
              </a:spcBef>
              <a:spcAft>
                <a:spcPts val="0"/>
              </a:spcAft>
              <a:buClr>
                <a:srgbClr val="636363"/>
              </a:buClr>
              <a:buSzPct val="77272"/>
              <a:buFont typeface="Arial"/>
              <a:buChar char="•"/>
              <a:tabLst>
                <a:tab pos="139927" algn="l"/>
              </a:tabLst>
              <a:defRPr/>
            </a:pPr>
            <a:r>
              <a:rPr kumimoji="0" lang="en-US" sz="998" b="0" i="0" u="none" strike="noStrike" kern="1200" cap="none" spc="32" normalizeH="0" baseline="0" noProof="0">
                <a:ln>
                  <a:noFill/>
                </a:ln>
                <a:solidFill>
                  <a:prstClr val="black"/>
                </a:solidFill>
                <a:effectLst/>
                <a:uLnTx/>
                <a:uFillTx/>
                <a:latin typeface="EYInterstate Light" panose="02000506000000020004" pitchFamily="2" charset="0"/>
                <a:ea typeface="+mn-ea"/>
                <a:cs typeface="Trebuchet MS"/>
              </a:rPr>
              <a:t>Big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Data </a:t>
            </a:r>
            <a:r>
              <a:rPr kumimoji="0" lang="en-US" sz="998" b="0" i="0" u="none" strike="noStrike" kern="1200" cap="none" spc="14" normalizeH="0" baseline="0" noProof="0">
                <a:ln>
                  <a:noFill/>
                </a:ln>
                <a:solidFill>
                  <a:prstClr val="black"/>
                </a:solidFill>
                <a:effectLst/>
                <a:uLnTx/>
                <a:uFillTx/>
                <a:latin typeface="EYInterstate Light" panose="02000506000000020004" pitchFamily="2" charset="0"/>
                <a:ea typeface="+mn-ea"/>
                <a:cs typeface="Trebuchet MS"/>
              </a:rPr>
              <a:t>Lake</a:t>
            </a:r>
            <a:r>
              <a:rPr kumimoji="0" lang="en-US" sz="998" b="0" i="0" u="none" strike="noStrike" kern="1200" cap="none" spc="-218"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Architects</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a:p>
            <a:pPr marL="139927" marR="0" lvl="0" indent="-105377" algn="l" defTabSz="829195" rtl="0" eaLnBrk="1" fontAlgn="auto" latinLnBrk="0" hangingPunct="1">
              <a:lnSpc>
                <a:spcPct val="100000"/>
              </a:lnSpc>
              <a:spcBef>
                <a:spcPts val="590"/>
              </a:spcBef>
              <a:spcAft>
                <a:spcPts val="0"/>
              </a:spcAft>
              <a:buClr>
                <a:srgbClr val="636363"/>
              </a:buClr>
              <a:buSzPct val="77272"/>
              <a:buFont typeface="Arial"/>
              <a:buChar char="•"/>
              <a:tabLst>
                <a:tab pos="139927" algn="l"/>
              </a:tabLst>
              <a:defRPr/>
            </a:pP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Data</a:t>
            </a:r>
            <a:r>
              <a:rPr kumimoji="0" lang="en-US" sz="998" b="0" i="0" u="none" strike="noStrike" kern="1200" cap="none" spc="-73"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Modeler</a:t>
            </a:r>
            <a:r>
              <a:rPr kumimoji="0" lang="en-US" sz="998" b="0" i="0" u="none" strike="noStrike" kern="1200" cap="none" spc="-68"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for</a:t>
            </a:r>
            <a:r>
              <a:rPr kumimoji="0" lang="en-US" sz="998" b="0" i="0" u="none" strike="noStrike" kern="1200" cap="none" spc="-41"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32" normalizeH="0" baseline="0" noProof="0">
                <a:ln>
                  <a:noFill/>
                </a:ln>
                <a:solidFill>
                  <a:prstClr val="black"/>
                </a:solidFill>
                <a:effectLst/>
                <a:uLnTx/>
                <a:uFillTx/>
                <a:latin typeface="EYInterstate Light" panose="02000506000000020004" pitchFamily="2" charset="0"/>
                <a:ea typeface="+mn-ea"/>
                <a:cs typeface="Trebuchet MS"/>
              </a:rPr>
              <a:t>Big</a:t>
            </a:r>
            <a:r>
              <a:rPr kumimoji="0" lang="en-US" sz="998" b="0" i="0" u="none" strike="noStrike" kern="1200" cap="none" spc="-86"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Data</a:t>
            </a:r>
          </a:p>
          <a:p>
            <a:pPr marL="139927" marR="0" lvl="0" indent="-105377" algn="l" defTabSz="829195" rtl="0" eaLnBrk="1" fontAlgn="auto" latinLnBrk="0" hangingPunct="1">
              <a:lnSpc>
                <a:spcPct val="100000"/>
              </a:lnSpc>
              <a:spcBef>
                <a:spcPts val="590"/>
              </a:spcBef>
              <a:spcAft>
                <a:spcPts val="0"/>
              </a:spcAft>
              <a:buClr>
                <a:srgbClr val="636363"/>
              </a:buClr>
              <a:buSzPct val="77272"/>
              <a:buFont typeface="Arial"/>
              <a:buChar char="•"/>
              <a:tabLst>
                <a:tab pos="139927" algn="l"/>
              </a:tabLst>
              <a:defRPr/>
            </a:pPr>
            <a:r>
              <a:rPr kumimoji="0" lang="en-US" sz="998" b="0" i="0" u="none" strike="noStrike" kern="1200" cap="none" spc="27" normalizeH="0" baseline="0" noProof="0">
                <a:ln>
                  <a:noFill/>
                </a:ln>
                <a:solidFill>
                  <a:prstClr val="black"/>
                </a:solidFill>
                <a:effectLst/>
                <a:uLnTx/>
                <a:uFillTx/>
                <a:latin typeface="EYInterstate Light" panose="02000506000000020004" pitchFamily="2" charset="0"/>
                <a:ea typeface="+mn-ea"/>
                <a:cs typeface="Trebuchet MS"/>
              </a:rPr>
              <a:t>DevSecOps</a:t>
            </a:r>
            <a:r>
              <a:rPr kumimoji="0" lang="en-US" sz="998" b="0" i="0" u="none" strike="noStrike" kern="1200" cap="none" spc="-181"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18" normalizeH="0" baseline="0" noProof="0">
                <a:ln>
                  <a:noFill/>
                </a:ln>
                <a:solidFill>
                  <a:prstClr val="black"/>
                </a:solidFill>
                <a:effectLst/>
                <a:uLnTx/>
                <a:uFillTx/>
                <a:latin typeface="EYInterstate Light" panose="02000506000000020004" pitchFamily="2" charset="0"/>
                <a:ea typeface="+mn-ea"/>
                <a:cs typeface="Trebuchet MS"/>
              </a:rPr>
              <a:t>Engineer</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p:txBody>
      </p:sp>
      <p:sp>
        <p:nvSpPr>
          <p:cNvPr id="136" name="object 25">
            <a:extLst>
              <a:ext uri="{FF2B5EF4-FFF2-40B4-BE49-F238E27FC236}">
                <a16:creationId xmlns:a16="http://schemas.microsoft.com/office/drawing/2014/main" id="{04958FE6-423B-4D30-B119-9C442F83DE85}"/>
              </a:ext>
            </a:extLst>
          </p:cNvPr>
          <p:cNvSpPr txBox="1"/>
          <p:nvPr/>
        </p:nvSpPr>
        <p:spPr>
          <a:xfrm>
            <a:off x="6892303" y="4578270"/>
            <a:ext cx="1790220" cy="1085306"/>
          </a:xfrm>
          <a:prstGeom prst="rect">
            <a:avLst/>
          </a:prstGeom>
        </p:spPr>
        <p:txBody>
          <a:bodyPr vert="horz" wrap="square" lIns="0" tIns="85797" rIns="0" bIns="0" rtlCol="0">
            <a:spAutoFit/>
          </a:bodyPr>
          <a:lstStyle/>
          <a:p>
            <a:pPr marL="147988" marR="39156" lvl="0" indent="-102497" algn="l" defTabSz="829195" rtl="0" eaLnBrk="1" fontAlgn="auto" latinLnBrk="0" hangingPunct="1">
              <a:lnSpc>
                <a:spcPct val="100000"/>
              </a:lnSpc>
              <a:spcBef>
                <a:spcPts val="590"/>
              </a:spcBef>
              <a:spcAft>
                <a:spcPts val="0"/>
              </a:spcAft>
              <a:buClr>
                <a:srgbClr val="636363"/>
              </a:buClr>
              <a:buSzPct val="77272"/>
              <a:buFont typeface="Arial"/>
              <a:buChar char="•"/>
              <a:tabLst>
                <a:tab pos="148564" algn="l"/>
              </a:tabLst>
              <a:defRPr/>
            </a:pP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Data </a:t>
            </a:r>
            <a:r>
              <a:rPr kumimoji="0" lang="en-US" sz="998" b="0" i="0" u="none" strike="noStrike" kern="1200" cap="none" spc="14" normalizeH="0" baseline="0" noProof="0">
                <a:ln>
                  <a:noFill/>
                </a:ln>
                <a:solidFill>
                  <a:prstClr val="black"/>
                </a:solidFill>
                <a:effectLst/>
                <a:uLnTx/>
                <a:uFillTx/>
                <a:latin typeface="EYInterstate Light" panose="02000506000000020004" pitchFamily="2" charset="0"/>
                <a:ea typeface="+mn-ea"/>
                <a:cs typeface="Trebuchet MS"/>
              </a:rPr>
              <a:t>Security </a:t>
            </a:r>
            <a:r>
              <a:rPr kumimoji="0" lang="en-US" sz="998" b="0" i="0" u="none" strike="noStrike" kern="1200" cap="none" spc="-63" normalizeH="0" baseline="0" noProof="0">
                <a:ln>
                  <a:noFill/>
                </a:ln>
                <a:solidFill>
                  <a:prstClr val="black"/>
                </a:solidFill>
                <a:effectLst/>
                <a:uLnTx/>
                <a:uFillTx/>
                <a:latin typeface="EYInterstate Light" panose="02000506000000020004" pitchFamily="2" charset="0"/>
                <a:ea typeface="+mn-ea"/>
                <a:cs typeface="Trebuchet MS"/>
              </a:rPr>
              <a:t>&amp;</a:t>
            </a:r>
            <a:r>
              <a:rPr kumimoji="0" lang="en-US" sz="998" b="0" i="0" u="none" strike="noStrike" kern="1200" cap="none" spc="-213"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5" normalizeH="0" baseline="0" noProof="0">
                <a:ln>
                  <a:noFill/>
                </a:ln>
                <a:solidFill>
                  <a:prstClr val="black"/>
                </a:solidFill>
                <a:effectLst/>
                <a:uLnTx/>
                <a:uFillTx/>
                <a:latin typeface="EYInterstate Light" panose="02000506000000020004" pitchFamily="2" charset="0"/>
                <a:ea typeface="+mn-ea"/>
                <a:cs typeface="Trebuchet MS"/>
              </a:rPr>
              <a:t>Compliance  </a:t>
            </a:r>
            <a:r>
              <a:rPr kumimoji="0" lang="en-US" sz="998" b="0" i="0" u="none" strike="noStrike" kern="1200" cap="none" spc="18" normalizeH="0" baseline="0" noProof="0">
                <a:ln>
                  <a:noFill/>
                </a:ln>
                <a:solidFill>
                  <a:prstClr val="black"/>
                </a:solidFill>
                <a:effectLst/>
                <a:uLnTx/>
                <a:uFillTx/>
                <a:latin typeface="EYInterstate Light" panose="02000506000000020004" pitchFamily="2" charset="0"/>
                <a:ea typeface="+mn-ea"/>
                <a:cs typeface="Trebuchet MS"/>
              </a:rPr>
              <a:t>Admin</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a:p>
            <a:pPr marL="147988" marR="0" lvl="0" indent="-102497" algn="l" defTabSz="829195" rtl="0" eaLnBrk="1" fontAlgn="auto" latinLnBrk="0" hangingPunct="1">
              <a:lnSpc>
                <a:spcPct val="100000"/>
              </a:lnSpc>
              <a:spcBef>
                <a:spcPts val="612"/>
              </a:spcBef>
              <a:spcAft>
                <a:spcPts val="0"/>
              </a:spcAft>
              <a:buClr>
                <a:srgbClr val="636363"/>
              </a:buClr>
              <a:buSzPct val="77272"/>
              <a:buFont typeface="Arial"/>
              <a:buChar char="•"/>
              <a:tabLst>
                <a:tab pos="148564" algn="l"/>
              </a:tabLst>
              <a:defRPr/>
            </a:pP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Data</a:t>
            </a:r>
            <a:r>
              <a:rPr kumimoji="0" lang="en-US" sz="998" b="0" i="0" u="none" strike="noStrike" kern="1200" cap="none" spc="-68"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23" normalizeH="0" baseline="0" noProof="0">
                <a:ln>
                  <a:noFill/>
                </a:ln>
                <a:solidFill>
                  <a:prstClr val="black"/>
                </a:solidFill>
                <a:effectLst/>
                <a:uLnTx/>
                <a:uFillTx/>
                <a:latin typeface="EYInterstate Light" panose="02000506000000020004" pitchFamily="2" charset="0"/>
                <a:ea typeface="+mn-ea"/>
                <a:cs typeface="Trebuchet MS"/>
              </a:rPr>
              <a:t>Analysts</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a:p>
            <a:pPr marL="147988" marR="0" lvl="0" indent="-102497" algn="l" defTabSz="829195" rtl="0" eaLnBrk="1" fontAlgn="auto" latinLnBrk="0" hangingPunct="1">
              <a:lnSpc>
                <a:spcPct val="100000"/>
              </a:lnSpc>
              <a:spcBef>
                <a:spcPts val="585"/>
              </a:spcBef>
              <a:spcAft>
                <a:spcPts val="0"/>
              </a:spcAft>
              <a:buClr>
                <a:srgbClr val="636363"/>
              </a:buClr>
              <a:buSzPct val="77272"/>
              <a:buFont typeface="Arial"/>
              <a:buChar char="•"/>
              <a:tabLst>
                <a:tab pos="148564" algn="l"/>
              </a:tabLst>
              <a:defRPr/>
            </a:pP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Data Scientists</a:t>
            </a:r>
            <a:r>
              <a:rPr kumimoji="0" lang="en-US" sz="998" b="0" i="0" u="none" strike="noStrike" kern="1200" cap="none" spc="-132"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AI/ML)</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a:p>
            <a:pPr marL="147988" marR="0" lvl="0" indent="-102497" algn="l" defTabSz="829195" rtl="0" eaLnBrk="1" fontAlgn="auto" latinLnBrk="0" hangingPunct="1">
              <a:lnSpc>
                <a:spcPct val="100000"/>
              </a:lnSpc>
              <a:spcBef>
                <a:spcPts val="612"/>
              </a:spcBef>
              <a:spcAft>
                <a:spcPts val="0"/>
              </a:spcAft>
              <a:buClr>
                <a:srgbClr val="636363"/>
              </a:buClr>
              <a:buSzPct val="77272"/>
              <a:buFont typeface="Arial"/>
              <a:buChar char="•"/>
              <a:tabLst>
                <a:tab pos="148564" algn="l"/>
              </a:tabLst>
              <a:defRPr/>
            </a:pP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Data Visualization</a:t>
            </a:r>
            <a:r>
              <a:rPr kumimoji="0" lang="en-US" sz="998" b="0" i="0" u="none" strike="noStrike" kern="1200" cap="none" spc="-204"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14" normalizeH="0" baseline="0" noProof="0">
                <a:ln>
                  <a:noFill/>
                </a:ln>
                <a:solidFill>
                  <a:prstClr val="black"/>
                </a:solidFill>
                <a:effectLst/>
                <a:uLnTx/>
                <a:uFillTx/>
                <a:latin typeface="EYInterstate Light" panose="02000506000000020004" pitchFamily="2" charset="0"/>
                <a:ea typeface="+mn-ea"/>
                <a:cs typeface="Trebuchet MS"/>
              </a:rPr>
              <a:t>Experts</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p:txBody>
      </p:sp>
      <p:sp>
        <p:nvSpPr>
          <p:cNvPr id="137" name="object 26">
            <a:extLst>
              <a:ext uri="{FF2B5EF4-FFF2-40B4-BE49-F238E27FC236}">
                <a16:creationId xmlns:a16="http://schemas.microsoft.com/office/drawing/2014/main" id="{60A69AD0-5B5D-4B57-A316-467C13E3665F}"/>
              </a:ext>
            </a:extLst>
          </p:cNvPr>
          <p:cNvSpPr txBox="1"/>
          <p:nvPr/>
        </p:nvSpPr>
        <p:spPr>
          <a:xfrm>
            <a:off x="5028187" y="3669226"/>
            <a:ext cx="1580151" cy="226490"/>
          </a:xfrm>
          <a:prstGeom prst="rect">
            <a:avLst/>
          </a:prstGeom>
        </p:spPr>
        <p:txBody>
          <a:bodyPr vert="horz" wrap="square" lIns="0" tIns="10940" rIns="0" bIns="0" rtlCol="0">
            <a:spAutoFit/>
          </a:bodyPr>
          <a:lstStyle/>
          <a:p>
            <a:pPr marL="11516" marR="0" lvl="0" indent="0" algn="ctr" defTabSz="829195" rtl="0" eaLnBrk="1" fontAlgn="auto" latinLnBrk="0" hangingPunct="1">
              <a:lnSpc>
                <a:spcPct val="100000"/>
              </a:lnSpc>
              <a:spcBef>
                <a:spcPts val="86"/>
              </a:spcBef>
              <a:spcAft>
                <a:spcPts val="0"/>
              </a:spcAft>
              <a:buClrTx/>
              <a:buSzTx/>
              <a:buFontTx/>
              <a:buNone/>
              <a:tabLst/>
              <a:defRPr/>
            </a:pPr>
            <a:r>
              <a:rPr kumimoji="0" lang="en-US" sz="1400" b="1" i="0" u="none" strike="noStrike" kern="1200" cap="none" spc="23" normalizeH="0" baseline="0" noProof="0">
                <a:ln>
                  <a:noFill/>
                </a:ln>
                <a:solidFill>
                  <a:srgbClr val="000000"/>
                </a:solidFill>
                <a:effectLst/>
                <a:uLnTx/>
                <a:uFillTx/>
                <a:latin typeface="EYInterstate"/>
                <a:ea typeface="+mn-ea"/>
                <a:cs typeface="Trebuchet MS"/>
              </a:rPr>
              <a:t>Data</a:t>
            </a:r>
            <a:r>
              <a:rPr kumimoji="0" lang="en-US" sz="1400" b="1" i="0" u="none" strike="noStrike" kern="1200" cap="none" spc="-77" normalizeH="0" baseline="0" noProof="0">
                <a:ln>
                  <a:noFill/>
                </a:ln>
                <a:solidFill>
                  <a:srgbClr val="000000"/>
                </a:solidFill>
                <a:effectLst/>
                <a:uLnTx/>
                <a:uFillTx/>
                <a:latin typeface="EYInterstate"/>
                <a:ea typeface="+mn-ea"/>
                <a:cs typeface="Trebuchet MS"/>
              </a:rPr>
              <a:t> </a:t>
            </a:r>
            <a:r>
              <a:rPr kumimoji="0" lang="en-US" sz="1400" b="1" i="0" u="none" strike="noStrike" kern="1200" cap="none" spc="14" normalizeH="0" baseline="0" noProof="0">
                <a:ln>
                  <a:noFill/>
                </a:ln>
                <a:solidFill>
                  <a:srgbClr val="000000"/>
                </a:solidFill>
                <a:effectLst/>
                <a:uLnTx/>
                <a:uFillTx/>
                <a:latin typeface="EYInterstate"/>
                <a:ea typeface="+mn-ea"/>
                <a:cs typeface="Trebuchet MS"/>
              </a:rPr>
              <a:t>Governance</a:t>
            </a:r>
            <a:endParaRPr kumimoji="0" lang="en-US" sz="1400" b="1" i="0" u="none" strike="noStrike" kern="1200" cap="none" spc="0" normalizeH="0" baseline="0" noProof="0">
              <a:ln>
                <a:noFill/>
              </a:ln>
              <a:solidFill>
                <a:srgbClr val="000000"/>
              </a:solidFill>
              <a:effectLst/>
              <a:uLnTx/>
              <a:uFillTx/>
              <a:latin typeface="EYInterstate"/>
              <a:ea typeface="+mn-ea"/>
              <a:cs typeface="Trebuchet MS"/>
            </a:endParaRPr>
          </a:p>
        </p:txBody>
      </p:sp>
      <p:sp>
        <p:nvSpPr>
          <p:cNvPr id="138" name="object 27">
            <a:extLst>
              <a:ext uri="{FF2B5EF4-FFF2-40B4-BE49-F238E27FC236}">
                <a16:creationId xmlns:a16="http://schemas.microsoft.com/office/drawing/2014/main" id="{12BD3ABF-D1EF-48CB-8400-877594A99C74}"/>
              </a:ext>
            </a:extLst>
          </p:cNvPr>
          <p:cNvSpPr txBox="1"/>
          <p:nvPr/>
        </p:nvSpPr>
        <p:spPr>
          <a:xfrm>
            <a:off x="6967348" y="2701700"/>
            <a:ext cx="1759015" cy="225910"/>
          </a:xfrm>
          <a:prstGeom prst="rect">
            <a:avLst/>
          </a:prstGeom>
        </p:spPr>
        <p:txBody>
          <a:bodyPr vert="horz" wrap="square" lIns="0" tIns="10365" rIns="0" bIns="0" rtlCol="0">
            <a:spAutoFit/>
          </a:bodyPr>
          <a:lstStyle/>
          <a:p>
            <a:pPr marL="11516" marR="0" lvl="0" indent="0" algn="ctr" defTabSz="829195" rtl="0" eaLnBrk="1" fontAlgn="auto" latinLnBrk="0" hangingPunct="1">
              <a:lnSpc>
                <a:spcPct val="100000"/>
              </a:lnSpc>
              <a:spcBef>
                <a:spcPts val="82"/>
              </a:spcBef>
              <a:spcAft>
                <a:spcPts val="0"/>
              </a:spcAft>
              <a:buClrTx/>
              <a:buSzTx/>
              <a:buFontTx/>
              <a:buNone/>
              <a:tabLst/>
              <a:defRPr/>
            </a:pPr>
            <a:r>
              <a:rPr kumimoji="0" lang="en-US" sz="1400" b="1" i="0" u="none" strike="noStrike" kern="1200" cap="none" spc="23" normalizeH="0" baseline="0" noProof="0">
                <a:ln>
                  <a:noFill/>
                </a:ln>
                <a:solidFill>
                  <a:srgbClr val="000000"/>
                </a:solidFill>
                <a:effectLst/>
                <a:uLnTx/>
                <a:uFillTx/>
                <a:latin typeface="EYInterstate"/>
                <a:ea typeface="+mn-ea"/>
                <a:cs typeface="Trebuchet MS"/>
              </a:rPr>
              <a:t>Data</a:t>
            </a:r>
            <a:r>
              <a:rPr kumimoji="0" lang="en-US" sz="1400" b="1" i="0" u="none" strike="noStrike" kern="1200" cap="none" spc="-59" normalizeH="0" baseline="0" noProof="0">
                <a:ln>
                  <a:noFill/>
                </a:ln>
                <a:solidFill>
                  <a:srgbClr val="000000"/>
                </a:solidFill>
                <a:effectLst/>
                <a:uLnTx/>
                <a:uFillTx/>
                <a:latin typeface="EYInterstate"/>
                <a:ea typeface="+mn-ea"/>
                <a:cs typeface="Trebuchet MS"/>
              </a:rPr>
              <a:t> </a:t>
            </a:r>
            <a:r>
              <a:rPr kumimoji="0" lang="en-US" sz="1400" b="1" i="0" u="none" strike="noStrike" kern="1200" cap="none" spc="32" normalizeH="0" baseline="0" noProof="0">
                <a:ln>
                  <a:noFill/>
                </a:ln>
                <a:solidFill>
                  <a:srgbClr val="000000"/>
                </a:solidFill>
                <a:effectLst/>
                <a:uLnTx/>
                <a:uFillTx/>
                <a:latin typeface="EYInterstate"/>
                <a:ea typeface="+mn-ea"/>
                <a:cs typeface="Trebuchet MS"/>
              </a:rPr>
              <a:t>Management</a:t>
            </a:r>
            <a:endParaRPr kumimoji="0" lang="en-US" sz="1400" b="1" i="0" u="none" strike="noStrike" kern="1200" cap="none" spc="0" normalizeH="0" baseline="0" noProof="0">
              <a:ln>
                <a:noFill/>
              </a:ln>
              <a:solidFill>
                <a:srgbClr val="000000"/>
              </a:solidFill>
              <a:effectLst/>
              <a:uLnTx/>
              <a:uFillTx/>
              <a:latin typeface="EYInterstate"/>
              <a:ea typeface="+mn-ea"/>
              <a:cs typeface="Trebuchet MS"/>
            </a:endParaRPr>
          </a:p>
        </p:txBody>
      </p:sp>
      <p:sp>
        <p:nvSpPr>
          <p:cNvPr id="139" name="object 28">
            <a:extLst>
              <a:ext uri="{FF2B5EF4-FFF2-40B4-BE49-F238E27FC236}">
                <a16:creationId xmlns:a16="http://schemas.microsoft.com/office/drawing/2014/main" id="{7CEBC226-8C86-4113-BCE0-CA54A7B97778}"/>
              </a:ext>
            </a:extLst>
          </p:cNvPr>
          <p:cNvSpPr txBox="1"/>
          <p:nvPr/>
        </p:nvSpPr>
        <p:spPr>
          <a:xfrm>
            <a:off x="5130450" y="2719579"/>
            <a:ext cx="1375625" cy="225910"/>
          </a:xfrm>
          <a:prstGeom prst="rect">
            <a:avLst/>
          </a:prstGeom>
        </p:spPr>
        <p:txBody>
          <a:bodyPr vert="horz" wrap="square" lIns="0" tIns="10365" rIns="0" bIns="0" rtlCol="0">
            <a:spAutoFit/>
          </a:bodyPr>
          <a:lstStyle/>
          <a:p>
            <a:pPr marL="11516" marR="0" lvl="0" indent="0" algn="ctr" defTabSz="829195" rtl="0" eaLnBrk="1" fontAlgn="auto" latinLnBrk="0" hangingPunct="1">
              <a:lnSpc>
                <a:spcPct val="100000"/>
              </a:lnSpc>
              <a:spcBef>
                <a:spcPts val="82"/>
              </a:spcBef>
              <a:spcAft>
                <a:spcPts val="0"/>
              </a:spcAft>
              <a:buClrTx/>
              <a:buSzTx/>
              <a:buFontTx/>
              <a:buNone/>
              <a:tabLst/>
              <a:defRPr/>
            </a:pPr>
            <a:r>
              <a:rPr kumimoji="0" lang="en-US" sz="1400" b="1" i="0" u="none" strike="noStrike" kern="1200" cap="none" spc="23" normalizeH="0" baseline="0" noProof="0">
                <a:ln>
                  <a:noFill/>
                </a:ln>
                <a:solidFill>
                  <a:srgbClr val="000000"/>
                </a:solidFill>
                <a:effectLst/>
                <a:uLnTx/>
                <a:uFillTx/>
                <a:latin typeface="EYInterstate"/>
                <a:ea typeface="+mn-ea"/>
                <a:cs typeface="Trebuchet MS"/>
              </a:rPr>
              <a:t>Data</a:t>
            </a:r>
            <a:r>
              <a:rPr kumimoji="0" lang="en-US" sz="1400" b="1" i="0" u="none" strike="noStrike" kern="1200" cap="none" spc="-63" normalizeH="0" baseline="0" noProof="0">
                <a:ln>
                  <a:noFill/>
                </a:ln>
                <a:solidFill>
                  <a:srgbClr val="000000"/>
                </a:solidFill>
                <a:effectLst/>
                <a:uLnTx/>
                <a:uFillTx/>
                <a:latin typeface="EYInterstate"/>
                <a:ea typeface="+mn-ea"/>
                <a:cs typeface="Trebuchet MS"/>
              </a:rPr>
              <a:t> </a:t>
            </a:r>
            <a:r>
              <a:rPr kumimoji="0" lang="en-US" sz="1400" b="1" i="0" u="none" strike="noStrike" kern="1200" cap="none" spc="32" normalizeH="0" baseline="0" noProof="0">
                <a:ln>
                  <a:noFill/>
                </a:ln>
                <a:solidFill>
                  <a:srgbClr val="000000"/>
                </a:solidFill>
                <a:effectLst/>
                <a:uLnTx/>
                <a:uFillTx/>
                <a:latin typeface="EYInterstate"/>
                <a:ea typeface="+mn-ea"/>
                <a:cs typeface="Trebuchet MS"/>
              </a:rPr>
              <a:t>Analytics</a:t>
            </a:r>
            <a:endParaRPr kumimoji="0" lang="en-US" sz="1400" b="1" i="0" u="none" strike="noStrike" kern="1200" cap="none" spc="0" normalizeH="0" baseline="0" noProof="0">
              <a:ln>
                <a:noFill/>
              </a:ln>
              <a:solidFill>
                <a:srgbClr val="000000"/>
              </a:solidFill>
              <a:effectLst/>
              <a:uLnTx/>
              <a:uFillTx/>
              <a:latin typeface="EYInterstate"/>
              <a:ea typeface="+mn-ea"/>
              <a:cs typeface="Trebuchet MS"/>
            </a:endParaRPr>
          </a:p>
        </p:txBody>
      </p:sp>
      <p:sp>
        <p:nvSpPr>
          <p:cNvPr id="140" name="object 29">
            <a:extLst>
              <a:ext uri="{FF2B5EF4-FFF2-40B4-BE49-F238E27FC236}">
                <a16:creationId xmlns:a16="http://schemas.microsoft.com/office/drawing/2014/main" id="{40D36550-5412-4E85-B7B4-D73424D0D27D}"/>
              </a:ext>
            </a:extLst>
          </p:cNvPr>
          <p:cNvSpPr txBox="1"/>
          <p:nvPr/>
        </p:nvSpPr>
        <p:spPr>
          <a:xfrm>
            <a:off x="7186764" y="3669516"/>
            <a:ext cx="1320182" cy="225910"/>
          </a:xfrm>
          <a:prstGeom prst="rect">
            <a:avLst/>
          </a:prstGeom>
        </p:spPr>
        <p:txBody>
          <a:bodyPr vert="horz" wrap="square" lIns="0" tIns="10365" rIns="0" bIns="0" rtlCol="0">
            <a:spAutoFit/>
          </a:bodyPr>
          <a:lstStyle/>
          <a:p>
            <a:pPr marL="11516" marR="0" lvl="0" indent="0" algn="ctr" defTabSz="829195" rtl="0" eaLnBrk="1" fontAlgn="auto" latinLnBrk="0" hangingPunct="1">
              <a:lnSpc>
                <a:spcPct val="100000"/>
              </a:lnSpc>
              <a:spcBef>
                <a:spcPts val="82"/>
              </a:spcBef>
              <a:spcAft>
                <a:spcPts val="0"/>
              </a:spcAft>
              <a:buClrTx/>
              <a:buSzTx/>
              <a:buFontTx/>
              <a:buNone/>
              <a:tabLst/>
              <a:defRPr/>
            </a:pPr>
            <a:r>
              <a:rPr kumimoji="0" lang="en-US" sz="1400" b="1" i="0" u="none" strike="noStrike" kern="1200" cap="none" spc="23" normalizeH="0" baseline="0" noProof="0">
                <a:ln>
                  <a:noFill/>
                </a:ln>
                <a:solidFill>
                  <a:srgbClr val="000000"/>
                </a:solidFill>
                <a:effectLst/>
                <a:uLnTx/>
                <a:uFillTx/>
                <a:latin typeface="EYInterstate"/>
                <a:ea typeface="+mn-ea"/>
                <a:cs typeface="Trebuchet MS"/>
              </a:rPr>
              <a:t>Data</a:t>
            </a:r>
            <a:r>
              <a:rPr kumimoji="0" lang="en-US" sz="1400" b="1" i="0" u="none" strike="noStrike" kern="1200" cap="none" spc="-68" normalizeH="0" baseline="0" noProof="0">
                <a:ln>
                  <a:noFill/>
                </a:ln>
                <a:solidFill>
                  <a:srgbClr val="000000"/>
                </a:solidFill>
                <a:effectLst/>
                <a:uLnTx/>
                <a:uFillTx/>
                <a:latin typeface="EYInterstate"/>
                <a:ea typeface="+mn-ea"/>
                <a:cs typeface="Trebuchet MS"/>
              </a:rPr>
              <a:t> </a:t>
            </a:r>
            <a:r>
              <a:rPr kumimoji="0" lang="en-US" sz="1400" b="1" i="0" u="none" strike="noStrike" kern="1200" cap="none" spc="27" normalizeH="0" baseline="0" noProof="0">
                <a:ln>
                  <a:noFill/>
                </a:ln>
                <a:solidFill>
                  <a:srgbClr val="000000"/>
                </a:solidFill>
                <a:effectLst/>
                <a:uLnTx/>
                <a:uFillTx/>
                <a:latin typeface="EYInterstate"/>
                <a:ea typeface="+mn-ea"/>
                <a:cs typeface="Trebuchet MS"/>
              </a:rPr>
              <a:t>Security</a:t>
            </a:r>
            <a:endParaRPr kumimoji="0" lang="en-US" sz="1400" b="1" i="0" u="none" strike="noStrike" kern="1200" cap="none" spc="0" normalizeH="0" baseline="0" noProof="0">
              <a:ln>
                <a:noFill/>
              </a:ln>
              <a:solidFill>
                <a:srgbClr val="000000"/>
              </a:solidFill>
              <a:effectLst/>
              <a:uLnTx/>
              <a:uFillTx/>
              <a:latin typeface="EYInterstate"/>
              <a:ea typeface="+mn-ea"/>
              <a:cs typeface="Trebuchet MS"/>
            </a:endParaRPr>
          </a:p>
        </p:txBody>
      </p:sp>
      <p:sp>
        <p:nvSpPr>
          <p:cNvPr id="141" name="object 32">
            <a:extLst>
              <a:ext uri="{FF2B5EF4-FFF2-40B4-BE49-F238E27FC236}">
                <a16:creationId xmlns:a16="http://schemas.microsoft.com/office/drawing/2014/main" id="{00157BDB-96C1-4C0B-9C22-6EF30F2620AF}"/>
              </a:ext>
            </a:extLst>
          </p:cNvPr>
          <p:cNvSpPr txBox="1"/>
          <p:nvPr/>
        </p:nvSpPr>
        <p:spPr>
          <a:xfrm>
            <a:off x="7015874" y="5908044"/>
            <a:ext cx="1368721" cy="165197"/>
          </a:xfrm>
          <a:prstGeom prst="rect">
            <a:avLst/>
          </a:prstGeom>
        </p:spPr>
        <p:txBody>
          <a:bodyPr vert="horz" wrap="square" lIns="0" tIns="11516" rIns="0" bIns="0" rtlCol="0">
            <a:spAutoFit/>
          </a:bodyPr>
          <a:lstStyle/>
          <a:p>
            <a:pPr marL="11516" marR="0" lvl="0" indent="0" algn="l" defTabSz="829195" rtl="0" eaLnBrk="1" fontAlgn="auto" latinLnBrk="0" hangingPunct="1">
              <a:lnSpc>
                <a:spcPct val="100000"/>
              </a:lnSpc>
              <a:spcBef>
                <a:spcPts val="91"/>
              </a:spcBef>
              <a:spcAft>
                <a:spcPts val="0"/>
              </a:spcAft>
              <a:buClrTx/>
              <a:buSzTx/>
              <a:buFontTx/>
              <a:buNone/>
              <a:tabLst/>
              <a:defRPr/>
            </a:pPr>
            <a:r>
              <a:rPr kumimoji="0" lang="en-US" sz="998" b="1" i="1" u="none" strike="noStrike" kern="1200" cap="none" spc="68" normalizeH="0" baseline="0" noProof="0">
                <a:ln>
                  <a:noFill/>
                </a:ln>
                <a:solidFill>
                  <a:srgbClr val="00A2AD"/>
                </a:solidFill>
                <a:effectLst/>
                <a:uLnTx/>
                <a:uFillTx/>
                <a:latin typeface="EYInterstate Light" panose="02000506000000020004" pitchFamily="2" charset="0"/>
                <a:ea typeface="+mn-ea"/>
                <a:cs typeface="Trebuchet MS"/>
              </a:rPr>
              <a:t>*</a:t>
            </a:r>
            <a:r>
              <a:rPr kumimoji="0" lang="en-US" sz="998" b="1" i="1" u="none" strike="noStrike" kern="1200" cap="none" spc="-168" normalizeH="0" baseline="0" noProof="0">
                <a:ln>
                  <a:noFill/>
                </a:ln>
                <a:solidFill>
                  <a:srgbClr val="00A2AD"/>
                </a:solidFill>
                <a:effectLst/>
                <a:uLnTx/>
                <a:uFillTx/>
                <a:latin typeface="EYInterstate Light" panose="02000506000000020004" pitchFamily="2" charset="0"/>
                <a:ea typeface="+mn-ea"/>
                <a:cs typeface="Trebuchet MS"/>
              </a:rPr>
              <a:t> </a:t>
            </a:r>
            <a:r>
              <a:rPr kumimoji="0" lang="en-US" sz="998" b="1" i="1" u="none" strike="noStrike" kern="1200" cap="none" spc="-5" normalizeH="0" baseline="0" noProof="0">
                <a:ln>
                  <a:noFill/>
                </a:ln>
                <a:solidFill>
                  <a:srgbClr val="00A2AD"/>
                </a:solidFill>
                <a:effectLst/>
                <a:uLnTx/>
                <a:uFillTx/>
                <a:latin typeface="EYInterstate Light" panose="02000506000000020004" pitchFamily="2" charset="0"/>
                <a:ea typeface="+mn-ea"/>
                <a:cs typeface="Trebuchet MS"/>
              </a:rPr>
              <a:t>List </a:t>
            </a:r>
            <a:r>
              <a:rPr kumimoji="0" lang="en-US" sz="998" b="1" i="1" u="none" strike="noStrike" kern="1200" cap="none" spc="-14" normalizeH="0" baseline="0" noProof="0">
                <a:ln>
                  <a:noFill/>
                </a:ln>
                <a:solidFill>
                  <a:srgbClr val="00A2AD"/>
                </a:solidFill>
                <a:effectLst/>
                <a:uLnTx/>
                <a:uFillTx/>
                <a:latin typeface="EYInterstate Light" panose="02000506000000020004" pitchFamily="2" charset="0"/>
                <a:ea typeface="+mn-ea"/>
                <a:cs typeface="Trebuchet MS"/>
              </a:rPr>
              <a:t>is not </a:t>
            </a:r>
            <a:r>
              <a:rPr kumimoji="0" lang="en-US" sz="998" b="1" i="1" u="none" strike="noStrike" kern="1200" cap="none" spc="-18" normalizeH="0" baseline="0" noProof="0">
                <a:ln>
                  <a:noFill/>
                </a:ln>
                <a:solidFill>
                  <a:srgbClr val="00A2AD"/>
                </a:solidFill>
                <a:effectLst/>
                <a:uLnTx/>
                <a:uFillTx/>
                <a:latin typeface="EYInterstate Light" panose="02000506000000020004" pitchFamily="2" charset="0"/>
                <a:ea typeface="+mn-ea"/>
                <a:cs typeface="Trebuchet MS"/>
              </a:rPr>
              <a:t>exhaustive</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p:txBody>
      </p:sp>
      <p:sp>
        <p:nvSpPr>
          <p:cNvPr id="142" name="object 33">
            <a:extLst>
              <a:ext uri="{FF2B5EF4-FFF2-40B4-BE49-F238E27FC236}">
                <a16:creationId xmlns:a16="http://schemas.microsoft.com/office/drawing/2014/main" id="{0A1A13CB-D59B-4CA4-9D1B-7F92809CF7BA}"/>
              </a:ext>
            </a:extLst>
          </p:cNvPr>
          <p:cNvSpPr txBox="1"/>
          <p:nvPr/>
        </p:nvSpPr>
        <p:spPr>
          <a:xfrm>
            <a:off x="922239" y="1897003"/>
            <a:ext cx="3491188" cy="472914"/>
          </a:xfrm>
          <a:prstGeom prst="rect">
            <a:avLst/>
          </a:prstGeom>
        </p:spPr>
        <p:txBody>
          <a:bodyPr vert="horz" wrap="square" lIns="0" tIns="12092" rIns="0" bIns="0" rtlCol="0">
            <a:spAutoFit/>
          </a:bodyPr>
          <a:lstStyle/>
          <a:p>
            <a:pPr marL="11516" marR="4607" lvl="0" indent="0" algn="l" defTabSz="829195" rtl="0" eaLnBrk="1" fontAlgn="auto" latinLnBrk="0" hangingPunct="1">
              <a:lnSpc>
                <a:spcPct val="100000"/>
              </a:lnSpc>
              <a:spcBef>
                <a:spcPts val="95"/>
              </a:spcBef>
              <a:spcAft>
                <a:spcPts val="0"/>
              </a:spcAft>
              <a:buClrTx/>
              <a:buSzTx/>
              <a:buFontTx/>
              <a:buNone/>
              <a:tabLst/>
              <a:defRPr/>
            </a:pP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The </a:t>
            </a:r>
            <a:r>
              <a:rPr kumimoji="0" lang="en-US" sz="998" b="0" i="0" u="none" strike="noStrike" kern="1200" cap="none" spc="36" normalizeH="0" baseline="0" noProof="0">
                <a:ln>
                  <a:noFill/>
                </a:ln>
                <a:solidFill>
                  <a:prstClr val="black"/>
                </a:solidFill>
                <a:effectLst/>
                <a:uLnTx/>
                <a:uFillTx/>
                <a:latin typeface="EYInterstate Light" panose="02000506000000020004" pitchFamily="2" charset="0"/>
                <a:ea typeface="+mn-ea"/>
                <a:cs typeface="Trebuchet MS"/>
              </a:rPr>
              <a:t>TOM </a:t>
            </a:r>
            <a:r>
              <a:rPr kumimoji="0" lang="en-US" sz="998" b="0" i="0" u="none" strike="noStrike" kern="1200" cap="none" spc="18" normalizeH="0" baseline="0" noProof="0">
                <a:ln>
                  <a:noFill/>
                </a:ln>
                <a:solidFill>
                  <a:prstClr val="black"/>
                </a:solidFill>
                <a:effectLst/>
                <a:uLnTx/>
                <a:uFillTx/>
                <a:latin typeface="EYInterstate Light" panose="02000506000000020004" pitchFamily="2" charset="0"/>
                <a:ea typeface="+mn-ea"/>
                <a:cs typeface="Trebuchet MS"/>
              </a:rPr>
              <a:t>is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comprised of </a:t>
            </a:r>
            <a:r>
              <a:rPr kumimoji="0" lang="en-US" sz="998" b="0" i="0" u="none" strike="noStrike" kern="1200" cap="none" spc="14" normalizeH="0" baseline="0" noProof="0">
                <a:ln>
                  <a:noFill/>
                </a:ln>
                <a:solidFill>
                  <a:prstClr val="black"/>
                </a:solidFill>
                <a:effectLst/>
                <a:uLnTx/>
                <a:uFillTx/>
                <a:latin typeface="EYInterstate Light" panose="02000506000000020004" pitchFamily="2" charset="0"/>
                <a:ea typeface="+mn-ea"/>
                <a:cs typeface="Trebuchet MS"/>
              </a:rPr>
              <a:t>a </a:t>
            </a:r>
            <a:r>
              <a:rPr kumimoji="0" lang="en-US" sz="998" b="0" i="0" u="none" strike="noStrike" kern="1200" cap="none" spc="5" normalizeH="0" baseline="0" noProof="0">
                <a:ln>
                  <a:noFill/>
                </a:ln>
                <a:solidFill>
                  <a:prstClr val="black"/>
                </a:solidFill>
                <a:effectLst/>
                <a:uLnTx/>
                <a:uFillTx/>
                <a:latin typeface="EYInterstate Light" panose="02000506000000020004" pitchFamily="2" charset="0"/>
                <a:ea typeface="+mn-ea"/>
                <a:cs typeface="Trebuchet MS"/>
              </a:rPr>
              <a:t>set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of </a:t>
            </a:r>
            <a:r>
              <a:rPr kumimoji="0" lang="en-US" sz="998" b="0" i="0" u="none" strike="noStrike" kern="1200" cap="none" spc="18" normalizeH="0" baseline="0" noProof="0">
                <a:ln>
                  <a:noFill/>
                </a:ln>
                <a:solidFill>
                  <a:prstClr val="black"/>
                </a:solidFill>
                <a:effectLst/>
                <a:uLnTx/>
                <a:uFillTx/>
                <a:latin typeface="EYInterstate Light" panose="02000506000000020004" pitchFamily="2" charset="0"/>
                <a:ea typeface="+mn-ea"/>
                <a:cs typeface="Trebuchet MS"/>
              </a:rPr>
              <a:t>Business, </a:t>
            </a:r>
            <a:r>
              <a:rPr kumimoji="0" lang="en-US" sz="998" b="0" i="0" u="none" strike="noStrike" kern="1200" cap="none" spc="5" normalizeH="0" baseline="0" noProof="0">
                <a:ln>
                  <a:noFill/>
                </a:ln>
                <a:solidFill>
                  <a:prstClr val="black"/>
                </a:solidFill>
                <a:effectLst/>
                <a:uLnTx/>
                <a:uFillTx/>
                <a:latin typeface="EYInterstate Light" panose="02000506000000020004" pitchFamily="2" charset="0"/>
                <a:ea typeface="+mn-ea"/>
                <a:cs typeface="Trebuchet MS"/>
              </a:rPr>
              <a:t>Analytics,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Data  </a:t>
            </a:r>
            <a:r>
              <a:rPr kumimoji="0" lang="en-US" sz="998" b="0" i="0" u="none" strike="noStrike" kern="1200" cap="none" spc="18" normalizeH="0" baseline="0" noProof="0">
                <a:ln>
                  <a:noFill/>
                </a:ln>
                <a:solidFill>
                  <a:prstClr val="black"/>
                </a:solidFill>
                <a:effectLst/>
                <a:uLnTx/>
                <a:uFillTx/>
                <a:latin typeface="EYInterstate Light" panose="02000506000000020004" pitchFamily="2" charset="0"/>
                <a:ea typeface="+mn-ea"/>
                <a:cs typeface="Trebuchet MS"/>
              </a:rPr>
              <a:t>Management </a:t>
            </a:r>
            <a:r>
              <a:rPr kumimoji="0" lang="en-US" sz="998" b="0" i="0" u="none" strike="noStrike" kern="1200" cap="none" spc="-63" normalizeH="0" baseline="0" noProof="0">
                <a:ln>
                  <a:noFill/>
                </a:ln>
                <a:solidFill>
                  <a:prstClr val="black"/>
                </a:solidFill>
                <a:effectLst/>
                <a:uLnTx/>
                <a:uFillTx/>
                <a:latin typeface="EYInterstate Light" panose="02000506000000020004" pitchFamily="2" charset="0"/>
                <a:ea typeface="+mn-ea"/>
                <a:cs typeface="Trebuchet MS"/>
              </a:rPr>
              <a:t>&amp; </a:t>
            </a:r>
            <a:r>
              <a:rPr kumimoji="0" lang="en-US" sz="998" b="0" i="0" u="none" strike="noStrike" kern="1200" cap="none" spc="14" normalizeH="0" baseline="0" noProof="0">
                <a:ln>
                  <a:noFill/>
                </a:ln>
                <a:solidFill>
                  <a:prstClr val="black"/>
                </a:solidFill>
                <a:effectLst/>
                <a:uLnTx/>
                <a:uFillTx/>
                <a:latin typeface="EYInterstate Light" panose="02000506000000020004" pitchFamily="2" charset="0"/>
                <a:ea typeface="+mn-ea"/>
                <a:cs typeface="Trebuchet MS"/>
              </a:rPr>
              <a:t>Technology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capabilities, </a:t>
            </a:r>
            <a:r>
              <a:rPr kumimoji="0" lang="en-US" sz="998" b="0" i="0" u="none" strike="noStrike" kern="1200" cap="none" spc="5" normalizeH="0" baseline="0" noProof="0">
                <a:ln>
                  <a:noFill/>
                </a:ln>
                <a:solidFill>
                  <a:prstClr val="black"/>
                </a:solidFill>
                <a:effectLst/>
                <a:uLnTx/>
                <a:uFillTx/>
                <a:latin typeface="EYInterstate Light" panose="02000506000000020004" pitchFamily="2" charset="0"/>
                <a:ea typeface="+mn-ea"/>
                <a:cs typeface="Trebuchet MS"/>
              </a:rPr>
              <a:t>underpinned </a:t>
            </a:r>
            <a:r>
              <a:rPr kumimoji="0" lang="en-US" sz="998" b="0" i="0" u="none" strike="noStrike" kern="1200" cap="none" spc="23" normalizeH="0" baseline="0" noProof="0">
                <a:ln>
                  <a:noFill/>
                </a:ln>
                <a:solidFill>
                  <a:prstClr val="black"/>
                </a:solidFill>
                <a:effectLst/>
                <a:uLnTx/>
                <a:uFillTx/>
                <a:latin typeface="EYInterstate Light" panose="02000506000000020004" pitchFamily="2" charset="0"/>
                <a:ea typeface="+mn-ea"/>
                <a:cs typeface="Trebuchet MS"/>
              </a:rPr>
              <a:t>by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key  </a:t>
            </a:r>
            <a:r>
              <a:rPr kumimoji="0" lang="en-US" sz="998" b="0" i="0" u="none" strike="noStrike" kern="1200" cap="none" spc="23" normalizeH="0" baseline="0" noProof="0">
                <a:ln>
                  <a:noFill/>
                </a:ln>
                <a:solidFill>
                  <a:prstClr val="black"/>
                </a:solidFill>
                <a:effectLst/>
                <a:uLnTx/>
                <a:uFillTx/>
                <a:latin typeface="EYInterstate Light" panose="02000506000000020004" pitchFamily="2" charset="0"/>
                <a:ea typeface="+mn-ea"/>
                <a:cs typeface="Trebuchet MS"/>
              </a:rPr>
              <a:t>processes</a:t>
            </a:r>
            <a:r>
              <a:rPr kumimoji="0" lang="en-US" sz="998" b="0" i="0" u="none" strike="noStrike" kern="1200" cap="none" spc="-54"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and</a:t>
            </a:r>
            <a:r>
              <a:rPr kumimoji="0" lang="en-US" sz="998" b="0" i="0" u="none" strike="noStrike" kern="1200" cap="none" spc="-54"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rPr>
              <a:t>roles,</a:t>
            </a:r>
            <a:r>
              <a:rPr kumimoji="0" lang="en-US" sz="998" b="0" i="0" u="none" strike="noStrike" kern="1200" cap="none" spc="-50"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9" normalizeH="0" baseline="0" noProof="0">
                <a:ln>
                  <a:noFill/>
                </a:ln>
                <a:solidFill>
                  <a:prstClr val="black"/>
                </a:solidFill>
                <a:effectLst/>
                <a:uLnTx/>
                <a:uFillTx/>
                <a:latin typeface="EYInterstate Light" panose="02000506000000020004" pitchFamily="2" charset="0"/>
                <a:ea typeface="+mn-ea"/>
                <a:cs typeface="Trebuchet MS"/>
              </a:rPr>
              <a:t>and</a:t>
            </a:r>
            <a:r>
              <a:rPr kumimoji="0" lang="en-US" sz="998" b="0" i="0" u="none" strike="noStrike" kern="1200" cap="none" spc="-54"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5" normalizeH="0" baseline="0" noProof="0">
                <a:ln>
                  <a:noFill/>
                </a:ln>
                <a:solidFill>
                  <a:prstClr val="black"/>
                </a:solidFill>
                <a:effectLst/>
                <a:uLnTx/>
                <a:uFillTx/>
                <a:latin typeface="EYInterstate Light" panose="02000506000000020004" pitchFamily="2" charset="0"/>
                <a:ea typeface="+mn-ea"/>
                <a:cs typeface="Trebuchet MS"/>
              </a:rPr>
              <a:t>the</a:t>
            </a:r>
            <a:r>
              <a:rPr kumimoji="0" lang="en-US" sz="998" b="0" i="0" u="none" strike="noStrike" kern="1200" cap="none" spc="-41"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5" normalizeH="0" baseline="0" noProof="0">
                <a:ln>
                  <a:noFill/>
                </a:ln>
                <a:solidFill>
                  <a:prstClr val="black"/>
                </a:solidFill>
                <a:effectLst/>
                <a:uLnTx/>
                <a:uFillTx/>
                <a:latin typeface="EYInterstate Light" panose="02000506000000020004" pitchFamily="2" charset="0"/>
                <a:ea typeface="+mn-ea"/>
                <a:cs typeface="Trebuchet MS"/>
              </a:rPr>
              <a:t>required</a:t>
            </a:r>
            <a:r>
              <a:rPr kumimoji="0" lang="en-US" sz="998" b="0" i="0" u="none" strike="noStrike" kern="1200" cap="none" spc="-77"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rPr>
              <a:t>skills</a:t>
            </a:r>
            <a:r>
              <a:rPr kumimoji="0" lang="en-US" sz="998" b="0" i="0" u="none" strike="noStrike" kern="1200" cap="none" spc="-73"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rPr>
              <a:t>to</a:t>
            </a:r>
            <a:r>
              <a:rPr kumimoji="0" lang="en-US" sz="998" b="0" i="0" u="none" strike="noStrike" kern="1200" cap="none" spc="-41"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5" normalizeH="0" baseline="0" noProof="0">
                <a:ln>
                  <a:noFill/>
                </a:ln>
                <a:solidFill>
                  <a:prstClr val="black"/>
                </a:solidFill>
                <a:effectLst/>
                <a:uLnTx/>
                <a:uFillTx/>
                <a:latin typeface="EYInterstate Light" panose="02000506000000020004" pitchFamily="2" charset="0"/>
                <a:ea typeface="+mn-ea"/>
                <a:cs typeface="Trebuchet MS"/>
              </a:rPr>
              <a:t>execute</a:t>
            </a:r>
            <a:r>
              <a:rPr kumimoji="0" lang="en-US" sz="998" b="0" i="0" u="none" strike="noStrike" kern="1200" cap="none" spc="-41" normalizeH="0" baseline="0" noProof="0">
                <a:ln>
                  <a:noFill/>
                </a:ln>
                <a:solidFill>
                  <a:prstClr val="black"/>
                </a:solidFill>
                <a:effectLst/>
                <a:uLnTx/>
                <a:uFillTx/>
                <a:latin typeface="EYInterstate Light" panose="02000506000000020004" pitchFamily="2" charset="0"/>
                <a:ea typeface="+mn-ea"/>
                <a:cs typeface="Trebuchet MS"/>
              </a:rPr>
              <a:t> </a:t>
            </a:r>
            <a:r>
              <a:rPr kumimoji="0" lang="en-US" sz="998" b="0" i="0" u="none" strike="noStrike" kern="1200" cap="none" spc="-14" normalizeH="0" baseline="0" noProof="0">
                <a:ln>
                  <a:noFill/>
                </a:ln>
                <a:solidFill>
                  <a:prstClr val="black"/>
                </a:solidFill>
                <a:effectLst/>
                <a:uLnTx/>
                <a:uFillTx/>
                <a:latin typeface="EYInterstate Light" panose="02000506000000020004" pitchFamily="2" charset="0"/>
                <a:ea typeface="+mn-ea"/>
                <a:cs typeface="Trebuchet MS"/>
              </a:rPr>
              <a:t>them.</a:t>
            </a:r>
            <a:endParaRPr kumimoji="0" lang="en-US" sz="998" b="0" i="0" u="none" strike="noStrike" kern="1200" cap="none" spc="0" normalizeH="0" baseline="0" noProof="0">
              <a:ln>
                <a:noFill/>
              </a:ln>
              <a:solidFill>
                <a:prstClr val="black"/>
              </a:solidFill>
              <a:effectLst/>
              <a:uLnTx/>
              <a:uFillTx/>
              <a:latin typeface="EYInterstate Light" panose="02000506000000020004" pitchFamily="2" charset="0"/>
              <a:ea typeface="+mn-ea"/>
              <a:cs typeface="Trebuchet MS"/>
            </a:endParaRPr>
          </a:p>
        </p:txBody>
      </p:sp>
      <p:sp>
        <p:nvSpPr>
          <p:cNvPr id="153" name="object 45">
            <a:extLst>
              <a:ext uri="{FF2B5EF4-FFF2-40B4-BE49-F238E27FC236}">
                <a16:creationId xmlns:a16="http://schemas.microsoft.com/office/drawing/2014/main" id="{F19BCDD9-C25C-4259-98D6-37B337FC7BBD}"/>
              </a:ext>
            </a:extLst>
          </p:cNvPr>
          <p:cNvSpPr txBox="1"/>
          <p:nvPr/>
        </p:nvSpPr>
        <p:spPr>
          <a:xfrm>
            <a:off x="9000837" y="1527672"/>
            <a:ext cx="2664889" cy="4422437"/>
          </a:xfrm>
          <a:prstGeom prst="rect">
            <a:avLst/>
          </a:prstGeom>
          <a:solidFill>
            <a:srgbClr val="FFE600"/>
          </a:solidFill>
        </p:spPr>
        <p:txBody>
          <a:bodyPr vert="horz" wrap="square" lIns="0" tIns="47216" rIns="0" bIns="0" rtlCol="0" anchor="t" anchorCtr="0">
            <a:noAutofit/>
          </a:bodyPr>
          <a:lstStyle/>
          <a:p>
            <a:pPr marL="772188" marR="0" lvl="0" indent="0" algn="l" defTabSz="829195" rtl="0" eaLnBrk="1" fontAlgn="auto" latinLnBrk="0" hangingPunct="1">
              <a:lnSpc>
                <a:spcPct val="100000"/>
              </a:lnSpc>
              <a:spcBef>
                <a:spcPts val="371"/>
              </a:spcBef>
              <a:spcAft>
                <a:spcPts val="0"/>
              </a:spcAft>
              <a:buClrTx/>
              <a:buSzTx/>
              <a:buFontTx/>
              <a:buNone/>
              <a:tabLst/>
              <a:defRPr/>
            </a:pPr>
            <a:r>
              <a:rPr kumimoji="0" lang="en-US" sz="1270" b="1" i="0" u="none" strike="noStrike" kern="1200" cap="none" spc="36" normalizeH="0" baseline="0" noProof="0">
                <a:ln>
                  <a:noFill/>
                </a:ln>
                <a:solidFill>
                  <a:srgbClr val="404040"/>
                </a:solidFill>
                <a:effectLst/>
                <a:uLnTx/>
                <a:uFillTx/>
                <a:latin typeface="EYInterstate" panose="02000503020000020004" pitchFamily="2" charset="0"/>
                <a:ea typeface="+mn-ea"/>
                <a:cs typeface="Trebuchet MS"/>
              </a:rPr>
              <a:t>Skills </a:t>
            </a:r>
            <a:r>
              <a:rPr kumimoji="0" lang="en-US" sz="1270" b="1" i="0" u="none" strike="noStrike" kern="1200" cap="none" spc="-14" normalizeH="0" baseline="0" noProof="0">
                <a:ln>
                  <a:noFill/>
                </a:ln>
                <a:solidFill>
                  <a:srgbClr val="404040"/>
                </a:solidFill>
                <a:effectLst/>
                <a:uLnTx/>
                <a:uFillTx/>
                <a:latin typeface="EYInterstate" panose="02000503020000020004" pitchFamily="2" charset="0"/>
                <a:ea typeface="+mn-ea"/>
                <a:cs typeface="Trebuchet MS"/>
              </a:rPr>
              <a:t>Required</a:t>
            </a:r>
            <a:endParaRPr kumimoji="0" lang="en-US" sz="1270" b="0" i="0" u="none" strike="noStrike" kern="1200" cap="none" spc="0" normalizeH="0" baseline="0" noProof="0">
              <a:ln>
                <a:noFill/>
              </a:ln>
              <a:solidFill>
                <a:prstClr val="black"/>
              </a:solidFill>
              <a:effectLst/>
              <a:uLnTx/>
              <a:uFillTx/>
              <a:latin typeface="EYInterstate" panose="02000503020000020004" pitchFamily="2" charset="0"/>
              <a:ea typeface="+mn-ea"/>
              <a:cs typeface="Trebuchet MS"/>
            </a:endParaRPr>
          </a:p>
        </p:txBody>
      </p:sp>
      <p:sp>
        <p:nvSpPr>
          <p:cNvPr id="154" name="object 46">
            <a:extLst>
              <a:ext uri="{FF2B5EF4-FFF2-40B4-BE49-F238E27FC236}">
                <a16:creationId xmlns:a16="http://schemas.microsoft.com/office/drawing/2014/main" id="{B1F82746-FE9E-4A0A-9D06-8DBBDABA2629}"/>
              </a:ext>
            </a:extLst>
          </p:cNvPr>
          <p:cNvSpPr txBox="1"/>
          <p:nvPr/>
        </p:nvSpPr>
        <p:spPr>
          <a:xfrm>
            <a:off x="9080478" y="1864323"/>
            <a:ext cx="2496174" cy="3740095"/>
          </a:xfrm>
          <a:prstGeom prst="rect">
            <a:avLst/>
          </a:prstGeom>
          <a:solidFill>
            <a:srgbClr val="FFFFFF"/>
          </a:solidFill>
        </p:spPr>
        <p:txBody>
          <a:bodyPr vert="horz" wrap="square" lIns="0" tIns="6334" rIns="0" bIns="0" rtlCol="0">
            <a:noAutofit/>
          </a:bodyPr>
          <a:lstStyle/>
          <a:p>
            <a:pPr marL="0" marR="0" lvl="0" indent="0" algn="l" defTabSz="829195" rtl="0" eaLnBrk="1" fontAlgn="auto" latinLnBrk="0" hangingPunct="1">
              <a:lnSpc>
                <a:spcPct val="100000"/>
              </a:lnSpc>
              <a:spcBef>
                <a:spcPts val="5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imes New Roman"/>
            </a:endParaRPr>
          </a:p>
          <a:p>
            <a:pPr marL="227453" marR="0" lvl="0" indent="-103072" algn="l" defTabSz="829195" rtl="0" eaLnBrk="1" fontAlgn="auto" latinLnBrk="0" hangingPunct="1">
              <a:lnSpc>
                <a:spcPct val="100000"/>
              </a:lnSpc>
              <a:spcBef>
                <a:spcPts val="0"/>
              </a:spcBef>
              <a:spcAft>
                <a:spcPts val="0"/>
              </a:spcAft>
              <a:buClr>
                <a:srgbClr val="636363"/>
              </a:buClr>
              <a:buSzPct val="77272"/>
              <a:buFont typeface="Arial"/>
              <a:buChar char="•"/>
              <a:tabLst>
                <a:tab pos="228029" algn="l"/>
              </a:tabLst>
              <a:defRPr/>
            </a:pPr>
            <a:r>
              <a:rPr kumimoji="0" lang="en-US" sz="1100" b="1" i="0" u="none" strike="noStrike" kern="1200" cap="none" spc="18" normalizeH="0" baseline="0" noProof="0">
                <a:ln>
                  <a:noFill/>
                </a:ln>
                <a:solidFill>
                  <a:srgbClr val="000000"/>
                </a:solidFill>
                <a:effectLst/>
                <a:uLnTx/>
                <a:uFillTx/>
                <a:latin typeface="EYInterstate Light" panose="02000506000000020004" pitchFamily="2" charset="0"/>
                <a:ea typeface="+mn-ea"/>
                <a:cs typeface="Trebuchet MS"/>
              </a:rPr>
              <a:t>Advanced </a:t>
            </a: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Data</a:t>
            </a:r>
            <a:r>
              <a:rPr kumimoji="0" lang="en-US" sz="1100" b="1" i="0" u="none" strike="noStrike" kern="1200" cap="none" spc="-145"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4" normalizeH="0" baseline="0" noProof="0">
                <a:ln>
                  <a:noFill/>
                </a:ln>
                <a:solidFill>
                  <a:srgbClr val="000000"/>
                </a:solidFill>
                <a:effectLst/>
                <a:uLnTx/>
                <a:uFillTx/>
                <a:latin typeface="EYInterstate Light" panose="02000506000000020004" pitchFamily="2" charset="0"/>
                <a:ea typeface="+mn-ea"/>
                <a:cs typeface="Trebuchet MS"/>
              </a:rPr>
              <a:t>Analytics</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585"/>
              </a:spcBef>
              <a:spcAft>
                <a:spcPts val="0"/>
              </a:spcAft>
              <a:buClr>
                <a:srgbClr val="636363"/>
              </a:buClr>
              <a:buSzPct val="77272"/>
              <a:buFont typeface="Arial"/>
              <a:buChar char="•"/>
              <a:tabLst>
                <a:tab pos="228029" algn="l"/>
              </a:tabLst>
              <a:defRPr/>
            </a:pP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Self-Service</a:t>
            </a:r>
            <a:r>
              <a:rPr kumimoji="0" lang="en-US" sz="1100" b="1" i="0" u="none" strike="noStrike" kern="1200" cap="none" spc="-86"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Visualization</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612"/>
              </a:spcBef>
              <a:spcAft>
                <a:spcPts val="0"/>
              </a:spcAft>
              <a:buClr>
                <a:srgbClr val="636363"/>
              </a:buClr>
              <a:buSzPct val="77272"/>
              <a:buFont typeface="Arial"/>
              <a:buChar char="•"/>
              <a:tabLst>
                <a:tab pos="228029" algn="l"/>
              </a:tabLst>
              <a:defRPr/>
            </a:pPr>
            <a:r>
              <a:rPr kumimoji="0" lang="en-US" sz="1100" b="1" i="0" u="none" strike="noStrike" kern="1200" cap="none" spc="5" normalizeH="0" baseline="0" noProof="0">
                <a:ln>
                  <a:noFill/>
                </a:ln>
                <a:solidFill>
                  <a:srgbClr val="000000"/>
                </a:solidFill>
                <a:effectLst/>
                <a:uLnTx/>
                <a:uFillTx/>
                <a:latin typeface="EYInterstate Light" panose="02000506000000020004" pitchFamily="2" charset="0"/>
                <a:ea typeface="+mn-ea"/>
                <a:cs typeface="Trebuchet MS"/>
              </a:rPr>
              <a:t>Metadata</a:t>
            </a:r>
            <a:r>
              <a:rPr kumimoji="0" lang="en-US" sz="1100" b="1" i="0" u="none" strike="noStrike" kern="1200" cap="none" spc="-86"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8" normalizeH="0" baseline="0" noProof="0">
                <a:ln>
                  <a:noFill/>
                </a:ln>
                <a:solidFill>
                  <a:srgbClr val="000000"/>
                </a:solidFill>
                <a:effectLst/>
                <a:uLnTx/>
                <a:uFillTx/>
                <a:latin typeface="EYInterstate Light" panose="02000506000000020004" pitchFamily="2" charset="0"/>
                <a:ea typeface="+mn-ea"/>
                <a:cs typeface="Trebuchet MS"/>
              </a:rPr>
              <a:t>Management</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590"/>
              </a:spcBef>
              <a:spcAft>
                <a:spcPts val="0"/>
              </a:spcAft>
              <a:buClr>
                <a:srgbClr val="636363"/>
              </a:buClr>
              <a:buSzPct val="77272"/>
              <a:buFont typeface="Arial"/>
              <a:buChar char="•"/>
              <a:tabLst>
                <a:tab pos="228029" algn="l"/>
              </a:tabLst>
              <a:defRPr/>
            </a:pPr>
            <a:r>
              <a:rPr kumimoji="0" lang="en-US" sz="1100" b="1" i="0" u="none" strike="noStrike" kern="1200" cap="none" spc="5" normalizeH="0" baseline="0" noProof="0">
                <a:ln>
                  <a:noFill/>
                </a:ln>
                <a:solidFill>
                  <a:srgbClr val="000000"/>
                </a:solidFill>
                <a:effectLst/>
                <a:uLnTx/>
                <a:uFillTx/>
                <a:latin typeface="EYInterstate Light" panose="02000506000000020004" pitchFamily="2" charset="0"/>
                <a:ea typeface="+mn-ea"/>
                <a:cs typeface="Trebuchet MS"/>
              </a:rPr>
              <a:t>Integrated</a:t>
            </a:r>
            <a:r>
              <a:rPr kumimoji="0" lang="en-US" sz="1100" b="1" i="0" u="none" strike="noStrike" kern="1200" cap="none" spc="-86"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8" normalizeH="0" baseline="0" noProof="0">
                <a:ln>
                  <a:noFill/>
                </a:ln>
                <a:solidFill>
                  <a:srgbClr val="000000"/>
                </a:solidFill>
                <a:effectLst/>
                <a:uLnTx/>
                <a:uFillTx/>
                <a:latin typeface="EYInterstate Light" panose="02000506000000020004" pitchFamily="2" charset="0"/>
                <a:ea typeface="+mn-ea"/>
                <a:cs typeface="Trebuchet MS"/>
              </a:rPr>
              <a:t>Coding</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608"/>
              </a:spcBef>
              <a:spcAft>
                <a:spcPts val="0"/>
              </a:spcAft>
              <a:buClr>
                <a:srgbClr val="636363"/>
              </a:buClr>
              <a:buSzPct val="77272"/>
              <a:buFont typeface="Arial"/>
              <a:buChar char="•"/>
              <a:tabLst>
                <a:tab pos="228029" algn="l"/>
              </a:tabLst>
              <a:defRPr/>
            </a:pPr>
            <a:r>
              <a:rPr kumimoji="0" lang="en-US" sz="1100" b="1" i="0" u="none" strike="noStrike" kern="1200" cap="none" spc="27" normalizeH="0" baseline="0" noProof="0">
                <a:ln>
                  <a:noFill/>
                </a:ln>
                <a:solidFill>
                  <a:srgbClr val="000000"/>
                </a:solidFill>
                <a:effectLst/>
                <a:uLnTx/>
                <a:uFillTx/>
                <a:latin typeface="EYInterstate Light" panose="02000506000000020004" pitchFamily="2" charset="0"/>
                <a:ea typeface="+mn-ea"/>
                <a:cs typeface="Trebuchet MS"/>
              </a:rPr>
              <a:t>Shared </a:t>
            </a: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and Documented</a:t>
            </a:r>
            <a:r>
              <a:rPr kumimoji="0" lang="en-US" sz="1100" b="1" i="0" u="none" strike="noStrike" kern="1200" cap="none" spc="-200"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8" normalizeH="0" baseline="0" noProof="0">
                <a:ln>
                  <a:noFill/>
                </a:ln>
                <a:solidFill>
                  <a:srgbClr val="000000"/>
                </a:solidFill>
                <a:effectLst/>
                <a:uLnTx/>
                <a:uFillTx/>
                <a:latin typeface="EYInterstate Light" panose="02000506000000020004" pitchFamily="2" charset="0"/>
                <a:ea typeface="+mn-ea"/>
                <a:cs typeface="Trebuchet MS"/>
              </a:rPr>
              <a:t>Coding</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590"/>
              </a:spcBef>
              <a:spcAft>
                <a:spcPts val="0"/>
              </a:spcAft>
              <a:buClr>
                <a:srgbClr val="636363"/>
              </a:buClr>
              <a:buSzPct val="77272"/>
              <a:buFont typeface="Arial"/>
              <a:buChar char="•"/>
              <a:tabLst>
                <a:tab pos="228029" algn="l"/>
              </a:tabLst>
              <a:defRPr/>
            </a:pPr>
            <a:r>
              <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rPr>
              <a:t>Scalability </a:t>
            </a:r>
            <a:r>
              <a:rPr kumimoji="0" lang="en-US" sz="1100" b="1" i="0" u="none" strike="noStrike" kern="1200" cap="none" spc="5" normalizeH="0" baseline="0" noProof="0">
                <a:ln>
                  <a:noFill/>
                </a:ln>
                <a:solidFill>
                  <a:srgbClr val="000000"/>
                </a:solidFill>
                <a:effectLst/>
                <a:uLnTx/>
                <a:uFillTx/>
                <a:latin typeface="EYInterstate Light" panose="02000506000000020004" pitchFamily="2" charset="0"/>
                <a:ea typeface="+mn-ea"/>
                <a:cs typeface="Trebuchet MS"/>
              </a:rPr>
              <a:t>per</a:t>
            </a:r>
            <a:r>
              <a:rPr kumimoji="0" lang="en-US" sz="1100" b="1" i="0" u="none" strike="noStrike" kern="1200" cap="none" spc="-163"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8" normalizeH="0" baseline="0" noProof="0">
                <a:ln>
                  <a:noFill/>
                </a:ln>
                <a:solidFill>
                  <a:srgbClr val="000000"/>
                </a:solidFill>
                <a:effectLst/>
                <a:uLnTx/>
                <a:uFillTx/>
                <a:latin typeface="EYInterstate Light" panose="02000506000000020004" pitchFamily="2" charset="0"/>
                <a:ea typeface="+mn-ea"/>
                <a:cs typeface="Trebuchet MS"/>
              </a:rPr>
              <a:t>Query</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612"/>
              </a:spcBef>
              <a:spcAft>
                <a:spcPts val="0"/>
              </a:spcAft>
              <a:buClr>
                <a:srgbClr val="636363"/>
              </a:buClr>
              <a:buSzPct val="77272"/>
              <a:buFont typeface="Arial"/>
              <a:buChar char="•"/>
              <a:tabLst>
                <a:tab pos="228029" algn="l"/>
              </a:tabLst>
              <a:defRPr/>
            </a:pP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Data</a:t>
            </a:r>
            <a:r>
              <a:rPr kumimoji="0" lang="en-US" sz="1100" b="1" i="0" u="none" strike="noStrike" kern="1200" cap="none" spc="-68"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Governance</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585"/>
              </a:spcBef>
              <a:spcAft>
                <a:spcPts val="0"/>
              </a:spcAft>
              <a:buClr>
                <a:srgbClr val="636363"/>
              </a:buClr>
              <a:buSzPct val="77272"/>
              <a:buFont typeface="Arial"/>
              <a:buChar char="•"/>
              <a:tabLst>
                <a:tab pos="228029" algn="l"/>
              </a:tabLst>
              <a:defRPr/>
            </a:pP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Data</a:t>
            </a:r>
            <a:r>
              <a:rPr kumimoji="0" lang="en-US" sz="1100" b="1" i="0" u="none" strike="noStrike" kern="1200" cap="none" spc="-141"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rPr>
              <a:t>Quality</a:t>
            </a:r>
          </a:p>
          <a:p>
            <a:pPr marL="227453" marR="0" lvl="0" indent="-103072" algn="l" defTabSz="829195" rtl="0" eaLnBrk="1" fontAlgn="auto" latinLnBrk="0" hangingPunct="1">
              <a:lnSpc>
                <a:spcPct val="100000"/>
              </a:lnSpc>
              <a:spcBef>
                <a:spcPts val="612"/>
              </a:spcBef>
              <a:spcAft>
                <a:spcPts val="0"/>
              </a:spcAft>
              <a:buClr>
                <a:srgbClr val="636363"/>
              </a:buClr>
              <a:buSzPct val="81818"/>
              <a:buFont typeface="Arial"/>
              <a:buChar char="•"/>
              <a:tabLst>
                <a:tab pos="228029" algn="l"/>
              </a:tabLst>
              <a:defRPr/>
            </a:pP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Data</a:t>
            </a:r>
            <a:r>
              <a:rPr kumimoji="0" lang="en-US" sz="1100" b="1" i="0" u="none" strike="noStrike" kern="1200" cap="none" spc="-136"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8" normalizeH="0" baseline="0" noProof="0">
                <a:ln>
                  <a:noFill/>
                </a:ln>
                <a:solidFill>
                  <a:srgbClr val="000000"/>
                </a:solidFill>
                <a:effectLst/>
                <a:uLnTx/>
                <a:uFillTx/>
                <a:latin typeface="EYInterstate Light" panose="02000506000000020004" pitchFamily="2" charset="0"/>
                <a:ea typeface="+mn-ea"/>
                <a:cs typeface="Trebuchet MS"/>
              </a:rPr>
              <a:t>Privacy</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590"/>
              </a:spcBef>
              <a:spcAft>
                <a:spcPts val="0"/>
              </a:spcAft>
              <a:buClr>
                <a:srgbClr val="636363"/>
              </a:buClr>
              <a:buSzPct val="77272"/>
              <a:buFont typeface="Arial"/>
              <a:buChar char="•"/>
              <a:tabLst>
                <a:tab pos="228029" algn="l"/>
              </a:tabLst>
              <a:defRPr/>
            </a:pP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Data</a:t>
            </a:r>
            <a:r>
              <a:rPr kumimoji="0" lang="en-US" sz="1100" b="1" i="0" u="none" strike="noStrike" kern="1200" cap="none" spc="-68"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8" normalizeH="0" baseline="0" noProof="0">
                <a:ln>
                  <a:noFill/>
                </a:ln>
                <a:solidFill>
                  <a:srgbClr val="000000"/>
                </a:solidFill>
                <a:effectLst/>
                <a:uLnTx/>
                <a:uFillTx/>
                <a:latin typeface="EYInterstate Light" panose="02000506000000020004" pitchFamily="2" charset="0"/>
                <a:ea typeface="+mn-ea"/>
                <a:cs typeface="Trebuchet MS"/>
              </a:rPr>
              <a:t>Engineering</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608"/>
              </a:spcBef>
              <a:spcAft>
                <a:spcPts val="0"/>
              </a:spcAft>
              <a:buClr>
                <a:srgbClr val="636363"/>
              </a:buClr>
              <a:buSzPct val="77272"/>
              <a:buFont typeface="Arial"/>
              <a:buChar char="•"/>
              <a:tabLst>
                <a:tab pos="228029" algn="l"/>
              </a:tabLst>
              <a:defRPr/>
            </a:pPr>
            <a:r>
              <a:rPr kumimoji="0" lang="en-US" sz="1100" b="1" i="0" u="none" strike="noStrike" kern="1200" cap="none" spc="32" normalizeH="0" baseline="0" noProof="0">
                <a:ln>
                  <a:noFill/>
                </a:ln>
                <a:solidFill>
                  <a:srgbClr val="000000"/>
                </a:solidFill>
                <a:effectLst/>
                <a:uLnTx/>
                <a:uFillTx/>
                <a:latin typeface="EYInterstate Light" panose="02000506000000020004" pitchFamily="2" charset="0"/>
                <a:ea typeface="+mn-ea"/>
                <a:cs typeface="Trebuchet MS"/>
              </a:rPr>
              <a:t>Big </a:t>
            </a: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Data </a:t>
            </a:r>
            <a:r>
              <a:rPr kumimoji="0" lang="en-US" sz="1100" b="1" i="0" u="none" strike="noStrike" kern="1200" cap="none" spc="14" normalizeH="0" baseline="0" noProof="0">
                <a:ln>
                  <a:noFill/>
                </a:ln>
                <a:solidFill>
                  <a:srgbClr val="000000"/>
                </a:solidFill>
                <a:effectLst/>
                <a:uLnTx/>
                <a:uFillTx/>
                <a:latin typeface="EYInterstate Light" panose="02000506000000020004" pitchFamily="2" charset="0"/>
                <a:ea typeface="+mn-ea"/>
                <a:cs typeface="Trebuchet MS"/>
              </a:rPr>
              <a:t>Lake</a:t>
            </a:r>
            <a:r>
              <a:rPr kumimoji="0" lang="en-US" sz="1100" b="1" i="0" u="none" strike="noStrike" kern="1200" cap="none" spc="-213"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Modelling</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590"/>
              </a:spcBef>
              <a:spcAft>
                <a:spcPts val="0"/>
              </a:spcAft>
              <a:buClr>
                <a:srgbClr val="636363"/>
              </a:buClr>
              <a:buSzPct val="81818"/>
              <a:buFont typeface="Arial"/>
              <a:buChar char="•"/>
              <a:tabLst>
                <a:tab pos="228029" algn="l"/>
              </a:tabLst>
              <a:defRPr/>
            </a:pPr>
            <a:r>
              <a:rPr kumimoji="0" lang="en-US" sz="1100" b="1" i="0" u="none" strike="noStrike" kern="1200" cap="none" spc="32" normalizeH="0" baseline="0" noProof="0">
                <a:ln>
                  <a:noFill/>
                </a:ln>
                <a:solidFill>
                  <a:srgbClr val="000000"/>
                </a:solidFill>
                <a:effectLst/>
                <a:uLnTx/>
                <a:uFillTx/>
                <a:latin typeface="EYInterstate Light" panose="02000506000000020004" pitchFamily="2" charset="0"/>
                <a:ea typeface="+mn-ea"/>
                <a:cs typeface="Trebuchet MS"/>
              </a:rPr>
              <a:t>Big</a:t>
            </a:r>
            <a:r>
              <a:rPr kumimoji="0" lang="en-US" sz="1100" b="1" i="0" u="none" strike="noStrike" kern="1200" cap="none" spc="-213"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Data </a:t>
            </a:r>
            <a:r>
              <a:rPr kumimoji="0" lang="en-US" sz="1100" b="1" i="0" u="none" strike="noStrike" kern="1200" cap="none" spc="14" normalizeH="0" baseline="0" noProof="0">
                <a:ln>
                  <a:noFill/>
                </a:ln>
                <a:solidFill>
                  <a:srgbClr val="000000"/>
                </a:solidFill>
                <a:effectLst/>
                <a:uLnTx/>
                <a:uFillTx/>
                <a:latin typeface="EYInterstate Light" panose="02000506000000020004" pitchFamily="2" charset="0"/>
                <a:ea typeface="+mn-ea"/>
                <a:cs typeface="Trebuchet MS"/>
              </a:rPr>
              <a:t>Lake </a:t>
            </a:r>
            <a:r>
              <a:rPr kumimoji="0" lang="en-US" sz="1100" b="1" i="0" u="none" strike="noStrike" kern="1200" cap="none" spc="5" normalizeH="0" baseline="0" noProof="0">
                <a:ln>
                  <a:noFill/>
                </a:ln>
                <a:solidFill>
                  <a:srgbClr val="000000"/>
                </a:solidFill>
                <a:effectLst/>
                <a:uLnTx/>
                <a:uFillTx/>
                <a:latin typeface="EYInterstate Light" panose="02000506000000020004" pitchFamily="2" charset="0"/>
                <a:ea typeface="+mn-ea"/>
                <a:cs typeface="Trebuchet MS"/>
              </a:rPr>
              <a:t>Architecture</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612"/>
              </a:spcBef>
              <a:spcAft>
                <a:spcPts val="0"/>
              </a:spcAft>
              <a:buClr>
                <a:srgbClr val="636363"/>
              </a:buClr>
              <a:buSzPct val="77272"/>
              <a:buFont typeface="Arial"/>
              <a:buChar char="•"/>
              <a:tabLst>
                <a:tab pos="228029" algn="l"/>
              </a:tabLst>
              <a:defRPr/>
            </a:pPr>
            <a:r>
              <a:rPr kumimoji="0" lang="en-US" sz="1100" b="1" i="0" u="none" strike="noStrike" kern="1200" cap="none" spc="32" normalizeH="0" baseline="0" noProof="0">
                <a:ln>
                  <a:noFill/>
                </a:ln>
                <a:solidFill>
                  <a:srgbClr val="000000"/>
                </a:solidFill>
                <a:effectLst/>
                <a:uLnTx/>
                <a:uFillTx/>
                <a:latin typeface="EYInterstate Light" panose="02000506000000020004" pitchFamily="2" charset="0"/>
                <a:ea typeface="+mn-ea"/>
                <a:cs typeface="Trebuchet MS"/>
              </a:rPr>
              <a:t>Big</a:t>
            </a:r>
            <a:r>
              <a:rPr kumimoji="0" lang="en-US" sz="1100" b="1" i="0" u="none" strike="noStrike" kern="1200" cap="none" spc="-82"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Data</a:t>
            </a:r>
            <a:r>
              <a:rPr kumimoji="0" lang="en-US" sz="1100" b="1" i="0" u="none" strike="noStrike" kern="1200" cap="none" spc="-82"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4" normalizeH="0" baseline="0" noProof="0">
                <a:ln>
                  <a:noFill/>
                </a:ln>
                <a:solidFill>
                  <a:srgbClr val="000000"/>
                </a:solidFill>
                <a:effectLst/>
                <a:uLnTx/>
                <a:uFillTx/>
                <a:latin typeface="EYInterstate Light" panose="02000506000000020004" pitchFamily="2" charset="0"/>
                <a:ea typeface="+mn-ea"/>
                <a:cs typeface="Trebuchet MS"/>
              </a:rPr>
              <a:t>Lake</a:t>
            </a:r>
            <a:r>
              <a:rPr kumimoji="0" lang="en-US" sz="1100" b="1" i="0" u="none" strike="noStrike" kern="1200" cap="none" spc="-63"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8" normalizeH="0" baseline="0" noProof="0">
                <a:ln>
                  <a:noFill/>
                </a:ln>
                <a:solidFill>
                  <a:srgbClr val="000000"/>
                </a:solidFill>
                <a:effectLst/>
                <a:uLnTx/>
                <a:uFillTx/>
                <a:latin typeface="EYInterstate Light" panose="02000506000000020004" pitchFamily="2" charset="0"/>
                <a:ea typeface="+mn-ea"/>
                <a:cs typeface="Trebuchet MS"/>
              </a:rPr>
              <a:t>Management</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a:p>
            <a:pPr marL="227453" marR="0" lvl="0" indent="-103072" algn="l" defTabSz="829195" rtl="0" eaLnBrk="1" fontAlgn="auto" latinLnBrk="0" hangingPunct="1">
              <a:lnSpc>
                <a:spcPct val="100000"/>
              </a:lnSpc>
              <a:spcBef>
                <a:spcPts val="585"/>
              </a:spcBef>
              <a:spcAft>
                <a:spcPts val="0"/>
              </a:spcAft>
              <a:buClr>
                <a:srgbClr val="636363"/>
              </a:buClr>
              <a:buSzPct val="77272"/>
              <a:buFont typeface="Arial"/>
              <a:buChar char="•"/>
              <a:tabLst>
                <a:tab pos="228029" algn="l"/>
              </a:tabLst>
              <a:defRPr/>
            </a:pPr>
            <a:r>
              <a:rPr kumimoji="0" lang="en-US" sz="1100" b="1" i="0" u="none" strike="noStrike" kern="1200" cap="none" spc="9" normalizeH="0" baseline="0" noProof="0">
                <a:ln>
                  <a:noFill/>
                </a:ln>
                <a:solidFill>
                  <a:srgbClr val="000000"/>
                </a:solidFill>
                <a:effectLst/>
                <a:uLnTx/>
                <a:uFillTx/>
                <a:latin typeface="EYInterstate Light" panose="02000506000000020004" pitchFamily="2" charset="0"/>
                <a:ea typeface="+mn-ea"/>
                <a:cs typeface="Trebuchet MS"/>
              </a:rPr>
              <a:t>Data</a:t>
            </a:r>
            <a:r>
              <a:rPr kumimoji="0" lang="en-US" sz="1100" b="1" i="0" u="none" strike="noStrike" kern="1200" cap="none" spc="-68" normalizeH="0" baseline="0" noProof="0">
                <a:ln>
                  <a:noFill/>
                </a:ln>
                <a:solidFill>
                  <a:srgbClr val="000000"/>
                </a:solidFill>
                <a:effectLst/>
                <a:uLnTx/>
                <a:uFillTx/>
                <a:latin typeface="EYInterstate Light" panose="02000506000000020004" pitchFamily="2" charset="0"/>
                <a:ea typeface="+mn-ea"/>
                <a:cs typeface="Trebuchet MS"/>
              </a:rPr>
              <a:t> </a:t>
            </a:r>
            <a:r>
              <a:rPr kumimoji="0" lang="en-US" sz="1100" b="1" i="0" u="none" strike="noStrike" kern="1200" cap="none" spc="14" normalizeH="0" baseline="0" noProof="0">
                <a:ln>
                  <a:noFill/>
                </a:ln>
                <a:solidFill>
                  <a:srgbClr val="000000"/>
                </a:solidFill>
                <a:effectLst/>
                <a:uLnTx/>
                <a:uFillTx/>
                <a:latin typeface="EYInterstate Light" panose="02000506000000020004" pitchFamily="2" charset="0"/>
                <a:ea typeface="+mn-ea"/>
                <a:cs typeface="Trebuchet MS"/>
              </a:rPr>
              <a:t>Science</a:t>
            </a:r>
            <a:endParaRPr kumimoji="0" lang="en-US"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Trebuchet MS"/>
            </a:endParaRPr>
          </a:p>
        </p:txBody>
      </p:sp>
      <p:sp>
        <p:nvSpPr>
          <p:cNvPr id="156" name="object 5">
            <a:extLst>
              <a:ext uri="{FF2B5EF4-FFF2-40B4-BE49-F238E27FC236}">
                <a16:creationId xmlns:a16="http://schemas.microsoft.com/office/drawing/2014/main" id="{95CB4FA6-124E-4375-A78A-7AABF25777A0}"/>
              </a:ext>
            </a:extLst>
          </p:cNvPr>
          <p:cNvSpPr/>
          <p:nvPr/>
        </p:nvSpPr>
        <p:spPr>
          <a:xfrm>
            <a:off x="8954754" y="1534986"/>
            <a:ext cx="0" cy="4415124"/>
          </a:xfrm>
          <a:custGeom>
            <a:avLst/>
            <a:gdLst/>
            <a:ahLst/>
            <a:cxnLst/>
            <a:rect l="l" t="t" r="r" b="b"/>
            <a:pathLst>
              <a:path h="5486400">
                <a:moveTo>
                  <a:pt x="0" y="0"/>
                </a:moveTo>
                <a:lnTo>
                  <a:pt x="0" y="5486400"/>
                </a:lnTo>
              </a:path>
            </a:pathLst>
          </a:custGeom>
          <a:ln w="9144">
            <a:solidFill>
              <a:srgbClr val="999999"/>
            </a:solidFill>
            <a:prstDash val="sysDash"/>
          </a:ln>
        </p:spPr>
        <p:txBody>
          <a:bodyPr wrap="square" lIns="0" tIns="0" rIns="0" bIns="0" rtlCol="0"/>
          <a:lstStyle/>
          <a:p>
            <a:pPr marL="0" marR="0" lvl="0" indent="0" algn="l" defTabSz="829195" rtl="0" eaLnBrk="1" fontAlgn="auto" latinLnBrk="0" hangingPunct="1">
              <a:lnSpc>
                <a:spcPct val="100000"/>
              </a:lnSpc>
              <a:spcBef>
                <a:spcPts val="0"/>
              </a:spcBef>
              <a:spcAft>
                <a:spcPts val="0"/>
              </a:spcAft>
              <a:buClrTx/>
              <a:buSzTx/>
              <a:buFontTx/>
              <a:buNone/>
              <a:tabLst/>
              <a:defRPr/>
            </a:pPr>
            <a:endParaRPr kumimoji="0" lang="en-US" sz="1633" b="0" i="0" u="none" strike="noStrike" kern="1200" cap="none" spc="0" normalizeH="0" baseline="0" noProof="0">
              <a:ln>
                <a:noFill/>
              </a:ln>
              <a:solidFill>
                <a:prstClr val="black"/>
              </a:solidFill>
              <a:effectLst/>
              <a:uLnTx/>
              <a:uFillTx/>
              <a:latin typeface="Calibri"/>
              <a:ea typeface="+mn-ea"/>
              <a:cs typeface="Arial" charset="0"/>
            </a:endParaRPr>
          </a:p>
        </p:txBody>
      </p:sp>
      <p:sp>
        <p:nvSpPr>
          <p:cNvPr id="157" name="object 22">
            <a:extLst>
              <a:ext uri="{FF2B5EF4-FFF2-40B4-BE49-F238E27FC236}">
                <a16:creationId xmlns:a16="http://schemas.microsoft.com/office/drawing/2014/main" id="{D4CD50BE-D32C-4B5B-B77D-544E4F37504E}"/>
              </a:ext>
            </a:extLst>
          </p:cNvPr>
          <p:cNvSpPr txBox="1"/>
          <p:nvPr/>
        </p:nvSpPr>
        <p:spPr>
          <a:xfrm>
            <a:off x="4758205" y="4164548"/>
            <a:ext cx="4159714" cy="312813"/>
          </a:xfrm>
          <a:prstGeom prst="rect">
            <a:avLst/>
          </a:prstGeom>
          <a:solidFill>
            <a:srgbClr val="636363"/>
          </a:solidFill>
        </p:spPr>
        <p:txBody>
          <a:bodyPr vert="horz" wrap="square" lIns="0" tIns="0" rIns="0" bIns="0" rtlCol="0" anchor="ctr" anchorCtr="0">
            <a:noAutofit/>
          </a:bodyPr>
          <a:lstStyle>
            <a:defPPr>
              <a:defRPr lang="en-US"/>
            </a:defPPr>
            <a:lvl1pPr marL="576" algn="ctr" defTabSz="829195" eaLnBrk="1" fontAlgn="auto" hangingPunct="1">
              <a:spcBef>
                <a:spcPts val="540"/>
              </a:spcBef>
              <a:spcAft>
                <a:spcPts val="0"/>
              </a:spcAft>
              <a:defRPr sz="1400" b="1" spc="50">
                <a:solidFill>
                  <a:srgbClr val="FFFFFF"/>
                </a:solidFill>
                <a:latin typeface="EYInterstate" panose="02000503020000020004" pitchFamily="2" charset="0"/>
                <a:ea typeface="+mn-ea"/>
                <a:cs typeface="Trebuchet MS"/>
              </a:defRPr>
            </a:lvl1pPr>
          </a:lstStyle>
          <a:p>
            <a:pPr marL="576" marR="0" lvl="0" indent="0" algn="ctr" defTabSz="829195" rtl="0" eaLnBrk="1" fontAlgn="auto" latinLnBrk="0" hangingPunct="1">
              <a:lnSpc>
                <a:spcPct val="100000"/>
              </a:lnSpc>
              <a:spcBef>
                <a:spcPts val="540"/>
              </a:spcBef>
              <a:spcAft>
                <a:spcPts val="0"/>
              </a:spcAft>
              <a:buClrTx/>
              <a:buSzTx/>
              <a:buFontTx/>
              <a:buNone/>
              <a:tabLst/>
              <a:defRPr/>
            </a:pPr>
            <a:r>
              <a:rPr kumimoji="0" lang="en-US" sz="1400" b="1" i="0" u="none" strike="noStrike" kern="1200" cap="none" spc="50" normalizeH="0" baseline="0" noProof="0">
                <a:ln>
                  <a:noFill/>
                </a:ln>
                <a:solidFill>
                  <a:srgbClr val="FFFFFF"/>
                </a:solidFill>
                <a:effectLst/>
                <a:uLnTx/>
                <a:uFillTx/>
                <a:latin typeface="EYInterstate" panose="02000503020000020004" pitchFamily="2" charset="0"/>
                <a:ea typeface="+mn-ea"/>
              </a:rPr>
              <a:t>Example of TOM Roles*</a:t>
            </a:r>
          </a:p>
        </p:txBody>
      </p:sp>
      <p:sp>
        <p:nvSpPr>
          <p:cNvPr id="80" name="TextBox 79">
            <a:extLst>
              <a:ext uri="{FF2B5EF4-FFF2-40B4-BE49-F238E27FC236}">
                <a16:creationId xmlns:a16="http://schemas.microsoft.com/office/drawing/2014/main" id="{158FAA72-B024-495B-9E90-2DEE83F0EEE2}"/>
              </a:ext>
            </a:extLst>
          </p:cNvPr>
          <p:cNvSpPr txBox="1"/>
          <p:nvPr/>
        </p:nvSpPr>
        <p:spPr>
          <a:xfrm>
            <a:off x="3020750" y="2872313"/>
            <a:ext cx="1612809" cy="594360"/>
          </a:xfrm>
          <a:prstGeom prst="rect">
            <a:avLst/>
          </a:prstGeom>
          <a:solidFill>
            <a:srgbClr val="164499"/>
          </a:solidFill>
        </p:spPr>
        <p:txBody>
          <a:bodyPr wrap="square" lIns="101882" tIns="50941" rIns="101882"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Data Management</a:t>
            </a:r>
          </a:p>
        </p:txBody>
      </p:sp>
      <p:sp>
        <p:nvSpPr>
          <p:cNvPr id="81" name="TextBox 80">
            <a:extLst>
              <a:ext uri="{FF2B5EF4-FFF2-40B4-BE49-F238E27FC236}">
                <a16:creationId xmlns:a16="http://schemas.microsoft.com/office/drawing/2014/main" id="{C69D45AA-4D7F-48ED-B9A4-EBDBACF32EF0}"/>
              </a:ext>
            </a:extLst>
          </p:cNvPr>
          <p:cNvSpPr txBox="1"/>
          <p:nvPr/>
        </p:nvSpPr>
        <p:spPr>
          <a:xfrm>
            <a:off x="865705" y="2879414"/>
            <a:ext cx="210312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Business Requirements</a:t>
            </a:r>
          </a:p>
        </p:txBody>
      </p:sp>
      <p:sp>
        <p:nvSpPr>
          <p:cNvPr id="82" name="TextBox 81">
            <a:extLst>
              <a:ext uri="{FF2B5EF4-FFF2-40B4-BE49-F238E27FC236}">
                <a16:creationId xmlns:a16="http://schemas.microsoft.com/office/drawing/2014/main" id="{49E529C7-D72E-4D88-9DE7-73706C97CA53}"/>
              </a:ext>
            </a:extLst>
          </p:cNvPr>
          <p:cNvSpPr txBox="1"/>
          <p:nvPr/>
        </p:nvSpPr>
        <p:spPr>
          <a:xfrm>
            <a:off x="855835" y="2542710"/>
            <a:ext cx="3792349" cy="274320"/>
          </a:xfrm>
          <a:prstGeom prst="rect">
            <a:avLst/>
          </a:prstGeom>
          <a:solidFill>
            <a:srgbClr val="000000"/>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Governance</a:t>
            </a:r>
          </a:p>
        </p:txBody>
      </p:sp>
      <p:sp>
        <p:nvSpPr>
          <p:cNvPr id="84" name="TextBox 83">
            <a:extLst>
              <a:ext uri="{FF2B5EF4-FFF2-40B4-BE49-F238E27FC236}">
                <a16:creationId xmlns:a16="http://schemas.microsoft.com/office/drawing/2014/main" id="{658F23F1-5D33-4988-9ED5-AA23BB24BC51}"/>
              </a:ext>
            </a:extLst>
          </p:cNvPr>
          <p:cNvSpPr txBox="1"/>
          <p:nvPr/>
        </p:nvSpPr>
        <p:spPr>
          <a:xfrm>
            <a:off x="3022287" y="3520113"/>
            <a:ext cx="1612809" cy="812684"/>
          </a:xfrm>
          <a:prstGeom prst="rect">
            <a:avLst/>
          </a:prstGeom>
          <a:solidFill>
            <a:srgbClr val="164499"/>
          </a:solidFill>
        </p:spPr>
        <p:txBody>
          <a:bodyPr wrap="square" lIns="0" tIns="50941" rIns="0"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Data Analytics &amp;</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Advanced Analytics</a:t>
            </a:r>
          </a:p>
        </p:txBody>
      </p:sp>
      <p:sp>
        <p:nvSpPr>
          <p:cNvPr id="86" name="TextBox 85">
            <a:extLst>
              <a:ext uri="{FF2B5EF4-FFF2-40B4-BE49-F238E27FC236}">
                <a16:creationId xmlns:a16="http://schemas.microsoft.com/office/drawing/2014/main" id="{34B705DD-E51E-47D4-B780-52B7DECFDAFD}"/>
              </a:ext>
            </a:extLst>
          </p:cNvPr>
          <p:cNvSpPr txBox="1"/>
          <p:nvPr/>
        </p:nvSpPr>
        <p:spPr>
          <a:xfrm>
            <a:off x="865705" y="3208085"/>
            <a:ext cx="2103120" cy="1124712"/>
          </a:xfrm>
          <a:prstGeom prst="rect">
            <a:avLst/>
          </a:prstGeom>
          <a:solidFill>
            <a:srgbClr val="FFE600"/>
          </a:solidFill>
        </p:spPr>
        <p:txBody>
          <a:bodyPr wrap="square" lIns="101882" tIns="50941" rIns="101882" bIns="50941"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646464"/>
                </a:solidFill>
                <a:effectLst/>
                <a:uLnTx/>
                <a:uFillTx/>
                <a:latin typeface="EYInterstate"/>
                <a:cs typeface="Arial" charset="0"/>
              </a:rPr>
              <a:t>Data Sourcing &amp; Ingestion</a:t>
            </a:r>
          </a:p>
        </p:txBody>
      </p:sp>
      <p:sp>
        <p:nvSpPr>
          <p:cNvPr id="88" name="TextBox 87">
            <a:extLst>
              <a:ext uri="{FF2B5EF4-FFF2-40B4-BE49-F238E27FC236}">
                <a16:creationId xmlns:a16="http://schemas.microsoft.com/office/drawing/2014/main" id="{AEA81EED-87B3-482A-B10F-7E17A6865319}"/>
              </a:ext>
            </a:extLst>
          </p:cNvPr>
          <p:cNvSpPr txBox="1"/>
          <p:nvPr/>
        </p:nvSpPr>
        <p:spPr>
          <a:xfrm>
            <a:off x="924470" y="3481000"/>
            <a:ext cx="960120" cy="365760"/>
          </a:xfrm>
          <a:prstGeom prst="rect">
            <a:avLst/>
          </a:prstGeom>
          <a:solidFill>
            <a:schemeClr val="tx2"/>
          </a:solidFill>
        </p:spPr>
        <p:txBody>
          <a:bodyPr wrap="square" lIns="101882" tIns="50941" rIns="101882"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646464"/>
                </a:solidFill>
                <a:effectLst/>
                <a:uLnTx/>
                <a:uFillTx/>
                <a:latin typeface="EYInterstate"/>
                <a:cs typeface="Arial" charset="0"/>
              </a:rPr>
              <a:t>Data </a:t>
            </a:r>
            <a:br>
              <a:rPr kumimoji="0" lang="en-US" sz="1000" b="1" i="0" u="none" strike="noStrike" kern="0" cap="none" spc="0" normalizeH="0" baseline="0" noProof="0">
                <a:ln>
                  <a:noFill/>
                </a:ln>
                <a:solidFill>
                  <a:srgbClr val="646464"/>
                </a:solidFill>
                <a:effectLst/>
                <a:uLnTx/>
                <a:uFillTx/>
                <a:latin typeface="EYInterstate"/>
                <a:cs typeface="Arial" charset="0"/>
              </a:rPr>
            </a:br>
            <a:r>
              <a:rPr kumimoji="0" lang="en-US" sz="1000" b="1" i="0" u="none" strike="noStrike" kern="0" cap="none" spc="0" normalizeH="0" baseline="0" noProof="0">
                <a:ln>
                  <a:noFill/>
                </a:ln>
                <a:solidFill>
                  <a:srgbClr val="646464"/>
                </a:solidFill>
                <a:effectLst/>
                <a:uLnTx/>
                <a:uFillTx/>
                <a:latin typeface="EYInterstate"/>
                <a:cs typeface="Arial" charset="0"/>
              </a:rPr>
              <a:t>Acquisition</a:t>
            </a:r>
          </a:p>
        </p:txBody>
      </p:sp>
      <p:sp>
        <p:nvSpPr>
          <p:cNvPr id="89" name="TextBox 88">
            <a:extLst>
              <a:ext uri="{FF2B5EF4-FFF2-40B4-BE49-F238E27FC236}">
                <a16:creationId xmlns:a16="http://schemas.microsoft.com/office/drawing/2014/main" id="{012A5AEB-BFA3-4AC5-BEA2-4A16F8E1A1F1}"/>
              </a:ext>
            </a:extLst>
          </p:cNvPr>
          <p:cNvSpPr txBox="1"/>
          <p:nvPr/>
        </p:nvSpPr>
        <p:spPr>
          <a:xfrm>
            <a:off x="1938052" y="3463159"/>
            <a:ext cx="960120" cy="365760"/>
          </a:xfrm>
          <a:prstGeom prst="rect">
            <a:avLst/>
          </a:prstGeom>
          <a:solidFill>
            <a:schemeClr val="tx2"/>
          </a:solidFill>
        </p:spPr>
        <p:txBody>
          <a:bodyPr wrap="square" lIns="101882" tIns="50941" rIns="101882"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646464"/>
                </a:solidFill>
                <a:effectLst/>
                <a:uLnTx/>
                <a:uFillTx/>
                <a:latin typeface="EYInterstate"/>
                <a:cs typeface="Arial" charset="0"/>
              </a:rPr>
              <a:t>Data Synthesis</a:t>
            </a:r>
          </a:p>
        </p:txBody>
      </p:sp>
      <p:sp>
        <p:nvSpPr>
          <p:cNvPr id="90" name="TextBox 89">
            <a:extLst>
              <a:ext uri="{FF2B5EF4-FFF2-40B4-BE49-F238E27FC236}">
                <a16:creationId xmlns:a16="http://schemas.microsoft.com/office/drawing/2014/main" id="{B0D4CA92-0E72-43A7-8352-8669EE51E8B3}"/>
              </a:ext>
            </a:extLst>
          </p:cNvPr>
          <p:cNvSpPr txBox="1"/>
          <p:nvPr/>
        </p:nvSpPr>
        <p:spPr>
          <a:xfrm>
            <a:off x="926665" y="3895017"/>
            <a:ext cx="960120" cy="365760"/>
          </a:xfrm>
          <a:prstGeom prst="rect">
            <a:avLst/>
          </a:prstGeom>
          <a:solidFill>
            <a:schemeClr val="tx2"/>
          </a:solidFill>
        </p:spPr>
        <p:txBody>
          <a:bodyPr wrap="square" lIns="101882" tIns="50941" rIns="101882"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646464"/>
                </a:solidFill>
                <a:effectLst/>
                <a:uLnTx/>
                <a:uFillTx/>
                <a:latin typeface="EYInterstate"/>
                <a:cs typeface="Arial" charset="0"/>
              </a:rPr>
              <a:t>Data </a:t>
            </a:r>
            <a:br>
              <a:rPr kumimoji="0" lang="en-US" sz="1000" b="1" i="0" u="none" strike="noStrike" kern="0" cap="none" spc="0" normalizeH="0" baseline="0" noProof="0">
                <a:ln>
                  <a:noFill/>
                </a:ln>
                <a:solidFill>
                  <a:srgbClr val="646464"/>
                </a:solidFill>
                <a:effectLst/>
                <a:uLnTx/>
                <a:uFillTx/>
                <a:latin typeface="EYInterstate"/>
                <a:cs typeface="Arial" charset="0"/>
              </a:rPr>
            </a:br>
            <a:r>
              <a:rPr kumimoji="0" lang="en-US" sz="1000" b="1" i="0" u="none" strike="noStrike" kern="0" cap="none" spc="0" normalizeH="0" baseline="0" noProof="0">
                <a:ln>
                  <a:noFill/>
                </a:ln>
                <a:solidFill>
                  <a:srgbClr val="646464"/>
                </a:solidFill>
                <a:effectLst/>
                <a:uLnTx/>
                <a:uFillTx/>
                <a:latin typeface="EYInterstate"/>
                <a:cs typeface="Arial" charset="0"/>
              </a:rPr>
              <a:t>Provisioning</a:t>
            </a:r>
          </a:p>
        </p:txBody>
      </p:sp>
      <p:sp>
        <p:nvSpPr>
          <p:cNvPr id="91" name="TextBox 90">
            <a:extLst>
              <a:ext uri="{FF2B5EF4-FFF2-40B4-BE49-F238E27FC236}">
                <a16:creationId xmlns:a16="http://schemas.microsoft.com/office/drawing/2014/main" id="{93480259-DCE5-4D08-9D37-DC9F14B7D2D6}"/>
              </a:ext>
            </a:extLst>
          </p:cNvPr>
          <p:cNvSpPr txBox="1"/>
          <p:nvPr/>
        </p:nvSpPr>
        <p:spPr>
          <a:xfrm>
            <a:off x="1951025" y="3895017"/>
            <a:ext cx="960120" cy="365760"/>
          </a:xfrm>
          <a:prstGeom prst="rect">
            <a:avLst/>
          </a:prstGeom>
          <a:solidFill>
            <a:schemeClr val="tx2"/>
          </a:solidFill>
        </p:spPr>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646464"/>
                </a:solidFill>
                <a:effectLst/>
                <a:uLnTx/>
                <a:uFillTx/>
                <a:latin typeface="EYInterstate"/>
                <a:cs typeface="Arial" charset="0"/>
              </a:rPr>
              <a:t>Data Ingestion/  Integration</a:t>
            </a:r>
          </a:p>
        </p:txBody>
      </p:sp>
      <p:sp>
        <p:nvSpPr>
          <p:cNvPr id="92" name="TextBox 91">
            <a:extLst>
              <a:ext uri="{FF2B5EF4-FFF2-40B4-BE49-F238E27FC236}">
                <a16:creationId xmlns:a16="http://schemas.microsoft.com/office/drawing/2014/main" id="{65A14DF7-5ED6-463F-B538-B18EB4750018}"/>
              </a:ext>
            </a:extLst>
          </p:cNvPr>
          <p:cNvSpPr txBox="1"/>
          <p:nvPr/>
        </p:nvSpPr>
        <p:spPr>
          <a:xfrm>
            <a:off x="873493" y="4434629"/>
            <a:ext cx="3754297" cy="274320"/>
          </a:xfrm>
          <a:prstGeom prst="rect">
            <a:avLst/>
          </a:prstGeom>
          <a:solidFill>
            <a:srgbClr val="91278F"/>
          </a:solidFill>
        </p:spPr>
        <p:txBody>
          <a:bodyPr wrap="square" lIns="101882" tIns="50941" rIns="101882"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Manage Project Lifecycle</a:t>
            </a:r>
          </a:p>
        </p:txBody>
      </p:sp>
      <p:sp>
        <p:nvSpPr>
          <p:cNvPr id="93" name="TextBox 92">
            <a:extLst>
              <a:ext uri="{FF2B5EF4-FFF2-40B4-BE49-F238E27FC236}">
                <a16:creationId xmlns:a16="http://schemas.microsoft.com/office/drawing/2014/main" id="{7B214301-B006-4A4B-851F-71C851757CA8}"/>
              </a:ext>
            </a:extLst>
          </p:cNvPr>
          <p:cNvSpPr txBox="1"/>
          <p:nvPr/>
        </p:nvSpPr>
        <p:spPr>
          <a:xfrm>
            <a:off x="873493" y="4785217"/>
            <a:ext cx="3754297" cy="274320"/>
          </a:xfrm>
          <a:prstGeom prst="rect">
            <a:avLst/>
          </a:prstGeom>
          <a:solidFill>
            <a:srgbClr val="636363"/>
          </a:solidFill>
        </p:spPr>
        <p:txBody>
          <a:bodyPr wrap="square" lIns="101882" tIns="50941" rIns="101882"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Platform Management</a:t>
            </a:r>
          </a:p>
        </p:txBody>
      </p:sp>
      <p:sp>
        <p:nvSpPr>
          <p:cNvPr id="94" name="TextBox 93">
            <a:extLst>
              <a:ext uri="{FF2B5EF4-FFF2-40B4-BE49-F238E27FC236}">
                <a16:creationId xmlns:a16="http://schemas.microsoft.com/office/drawing/2014/main" id="{058B92A6-5A05-47EF-9636-E4A360C0322B}"/>
              </a:ext>
            </a:extLst>
          </p:cNvPr>
          <p:cNvSpPr txBox="1"/>
          <p:nvPr/>
        </p:nvSpPr>
        <p:spPr>
          <a:xfrm>
            <a:off x="873493" y="5135805"/>
            <a:ext cx="3754297" cy="274320"/>
          </a:xfrm>
          <a:prstGeom prst="rect">
            <a:avLst/>
          </a:prstGeom>
          <a:noFill/>
          <a:ln>
            <a:solidFill>
              <a:schemeClr val="bg1"/>
            </a:solidFill>
          </a:ln>
        </p:spPr>
        <p:txBody>
          <a:bodyPr wrap="square" lIns="101882" tIns="50941" rIns="101882"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Training &amp; Development</a:t>
            </a:r>
          </a:p>
        </p:txBody>
      </p:sp>
      <p:sp>
        <p:nvSpPr>
          <p:cNvPr id="95" name="TextBox 94">
            <a:extLst>
              <a:ext uri="{FF2B5EF4-FFF2-40B4-BE49-F238E27FC236}">
                <a16:creationId xmlns:a16="http://schemas.microsoft.com/office/drawing/2014/main" id="{22F7304D-35B4-49AA-A4FE-3C856BEF4A46}"/>
              </a:ext>
            </a:extLst>
          </p:cNvPr>
          <p:cNvSpPr txBox="1"/>
          <p:nvPr/>
        </p:nvSpPr>
        <p:spPr>
          <a:xfrm>
            <a:off x="873493" y="5486393"/>
            <a:ext cx="3754297" cy="274320"/>
          </a:xfrm>
          <a:prstGeom prst="rect">
            <a:avLst/>
          </a:prstGeom>
          <a:noFill/>
          <a:ln>
            <a:solidFill>
              <a:schemeClr val="bg1"/>
            </a:solidFill>
          </a:ln>
        </p:spPr>
        <p:txBody>
          <a:bodyPr wrap="square" lIns="101882" tIns="50941" rIns="101882"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Communications, Newsletters, User Groups</a:t>
            </a:r>
          </a:p>
        </p:txBody>
      </p:sp>
      <p:sp>
        <p:nvSpPr>
          <p:cNvPr id="96" name="TextBox 95">
            <a:extLst>
              <a:ext uri="{FF2B5EF4-FFF2-40B4-BE49-F238E27FC236}">
                <a16:creationId xmlns:a16="http://schemas.microsoft.com/office/drawing/2014/main" id="{44063B6D-2712-41F0-ABB4-987AF0D02271}"/>
              </a:ext>
            </a:extLst>
          </p:cNvPr>
          <p:cNvSpPr txBox="1"/>
          <p:nvPr/>
        </p:nvSpPr>
        <p:spPr>
          <a:xfrm>
            <a:off x="873493" y="5836982"/>
            <a:ext cx="3754297" cy="274320"/>
          </a:xfrm>
          <a:prstGeom prst="rect">
            <a:avLst/>
          </a:prstGeom>
          <a:noFill/>
          <a:ln>
            <a:solidFill>
              <a:schemeClr val="bg1"/>
            </a:solidFill>
          </a:ln>
        </p:spPr>
        <p:txBody>
          <a:bodyPr wrap="square" lIns="101882" tIns="50941" rIns="101882" bIns="50941"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Manage Change</a:t>
            </a:r>
          </a:p>
        </p:txBody>
      </p:sp>
      <p:sp>
        <p:nvSpPr>
          <p:cNvPr id="97" name="TextBox 96">
            <a:extLst>
              <a:ext uri="{FF2B5EF4-FFF2-40B4-BE49-F238E27FC236}">
                <a16:creationId xmlns:a16="http://schemas.microsoft.com/office/drawing/2014/main" id="{FE1846BF-9E65-44FF-8219-53D79649C086}"/>
              </a:ext>
            </a:extLst>
          </p:cNvPr>
          <p:cNvSpPr txBox="1"/>
          <p:nvPr/>
        </p:nvSpPr>
        <p:spPr>
          <a:xfrm rot="16200000">
            <a:off x="770720" y="5311959"/>
            <a:ext cx="640080" cy="274320"/>
          </a:xfrm>
          <a:prstGeom prst="rect">
            <a:avLst/>
          </a:prstGeom>
          <a:solidFill>
            <a:srgbClr val="92D050"/>
          </a:solidFill>
        </p:spPr>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EYInterstate"/>
                <a:cs typeface="Arial" charset="0"/>
              </a:rPr>
              <a:t>Support</a:t>
            </a:r>
          </a:p>
        </p:txBody>
      </p:sp>
      <p:pic>
        <p:nvPicPr>
          <p:cNvPr id="6" name="Graphic 5">
            <a:extLst>
              <a:ext uri="{FF2B5EF4-FFF2-40B4-BE49-F238E27FC236}">
                <a16:creationId xmlns:a16="http://schemas.microsoft.com/office/drawing/2014/main" id="{A9C77390-74D1-4602-8C39-62C6AE40094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73708" y="3071895"/>
            <a:ext cx="548640" cy="548640"/>
          </a:xfrm>
          <a:prstGeom prst="rect">
            <a:avLst/>
          </a:prstGeom>
        </p:spPr>
      </p:pic>
      <p:pic>
        <p:nvPicPr>
          <p:cNvPr id="8" name="Graphic 7">
            <a:extLst>
              <a:ext uri="{FF2B5EF4-FFF2-40B4-BE49-F238E27FC236}">
                <a16:creationId xmlns:a16="http://schemas.microsoft.com/office/drawing/2014/main" id="{FF0225B8-07D5-462E-B7EA-65ADDE0AE8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89662" y="3113390"/>
            <a:ext cx="548640" cy="548640"/>
          </a:xfrm>
          <a:prstGeom prst="rect">
            <a:avLst/>
          </a:prstGeom>
        </p:spPr>
      </p:pic>
      <p:pic>
        <p:nvPicPr>
          <p:cNvPr id="10" name="Graphic 9">
            <a:extLst>
              <a:ext uri="{FF2B5EF4-FFF2-40B4-BE49-F238E27FC236}">
                <a16:creationId xmlns:a16="http://schemas.microsoft.com/office/drawing/2014/main" id="{B9B25310-90C3-4424-B584-F54E2E95793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38025" y="2080570"/>
            <a:ext cx="548640" cy="548640"/>
          </a:xfrm>
          <a:prstGeom prst="rect">
            <a:avLst/>
          </a:prstGeom>
        </p:spPr>
      </p:pic>
      <p:pic>
        <p:nvPicPr>
          <p:cNvPr id="12" name="Graphic 11">
            <a:extLst>
              <a:ext uri="{FF2B5EF4-FFF2-40B4-BE49-F238E27FC236}">
                <a16:creationId xmlns:a16="http://schemas.microsoft.com/office/drawing/2014/main" id="{182B2567-546A-4AF9-A47A-C7CBFEC0B9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550535" y="2075636"/>
            <a:ext cx="548640" cy="548640"/>
          </a:xfrm>
          <a:prstGeom prst="rect">
            <a:avLst/>
          </a:prstGeom>
        </p:spPr>
      </p:pic>
      <p:sp>
        <p:nvSpPr>
          <p:cNvPr id="159" name="Chevron 26">
            <a:extLst>
              <a:ext uri="{FF2B5EF4-FFF2-40B4-BE49-F238E27FC236}">
                <a16:creationId xmlns:a16="http://schemas.microsoft.com/office/drawing/2014/main" id="{D4812ED5-A945-400F-BA16-ABF4DCE89FFC}"/>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a:solidFill>
                  <a:schemeClr val="bg2"/>
                </a:solidFill>
                <a:latin typeface="EYInterstate"/>
                <a:sym typeface="EYInterstate Light" panose="02000506000000020004" pitchFamily="2" charset="0"/>
              </a:rPr>
              <a:t>Framework</a:t>
            </a:r>
          </a:p>
        </p:txBody>
      </p:sp>
    </p:spTree>
    <p:extLst>
      <p:ext uri="{BB962C8B-B14F-4D97-AF65-F5344CB8AC3E}">
        <p14:creationId xmlns:p14="http://schemas.microsoft.com/office/powerpoint/2010/main" val="23572364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47817"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969877" cy="672625"/>
          </a:xfrm>
        </p:spPr>
        <p:txBody>
          <a:bodyPr vert="horz" lIns="0" tIns="0" rIns="0" bIns="0" rtlCol="0" anchor="t" anchorCtr="0">
            <a:noAutofit/>
          </a:bodyPr>
          <a:lstStyle/>
          <a:p>
            <a:r>
              <a:rPr lang="en-US" sz="2180"/>
              <a:t>The analysis on data platform capabilities will allow us to design and propose a target operating model that will best suit the objectives of TDA</a:t>
            </a:r>
          </a:p>
        </p:txBody>
      </p:sp>
      <p:sp>
        <p:nvSpPr>
          <p:cNvPr id="146" name="TextBox 145">
            <a:extLst>
              <a:ext uri="{FF2B5EF4-FFF2-40B4-BE49-F238E27FC236}">
                <a16:creationId xmlns:a16="http://schemas.microsoft.com/office/drawing/2014/main" id="{5E5B7301-E0D7-43A1-8033-79E59BB59102}"/>
              </a:ext>
            </a:extLst>
          </p:cNvPr>
          <p:cNvSpPr txBox="1"/>
          <p:nvPr/>
        </p:nvSpPr>
        <p:spPr>
          <a:xfrm>
            <a:off x="849093" y="1257485"/>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Inputs</a:t>
            </a:r>
          </a:p>
        </p:txBody>
      </p:sp>
      <p:sp>
        <p:nvSpPr>
          <p:cNvPr id="147" name="TextBox 146">
            <a:extLst>
              <a:ext uri="{FF2B5EF4-FFF2-40B4-BE49-F238E27FC236}">
                <a16:creationId xmlns:a16="http://schemas.microsoft.com/office/drawing/2014/main" id="{7652C7A2-374E-45CC-8DFA-0F2B70F41908}"/>
              </a:ext>
            </a:extLst>
          </p:cNvPr>
          <p:cNvSpPr txBox="1"/>
          <p:nvPr/>
        </p:nvSpPr>
        <p:spPr>
          <a:xfrm>
            <a:off x="3855238" y="1257485"/>
            <a:ext cx="4572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Process</a:t>
            </a:r>
          </a:p>
        </p:txBody>
      </p:sp>
      <p:sp>
        <p:nvSpPr>
          <p:cNvPr id="148" name="TextBox 147">
            <a:extLst>
              <a:ext uri="{FF2B5EF4-FFF2-40B4-BE49-F238E27FC236}">
                <a16:creationId xmlns:a16="http://schemas.microsoft.com/office/drawing/2014/main" id="{75166EDB-7795-4686-A355-47297C332ED8}"/>
              </a:ext>
            </a:extLst>
          </p:cNvPr>
          <p:cNvSpPr txBox="1"/>
          <p:nvPr/>
        </p:nvSpPr>
        <p:spPr>
          <a:xfrm>
            <a:off x="9380050" y="1257484"/>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EYInterstate"/>
              </a:rPr>
              <a:t>O</a:t>
            </a:r>
            <a:r>
              <a:rPr kumimoji="0" lang="en-US" sz="1200" b="1" i="0" u="none" strike="noStrike" kern="0" cap="none" spc="0" normalizeH="0" baseline="0" noProof="0" err="1">
                <a:ln>
                  <a:noFill/>
                </a:ln>
                <a:solidFill>
                  <a:srgbClr val="FFFFFF"/>
                </a:solidFill>
                <a:effectLst/>
                <a:uLnTx/>
                <a:uFillTx/>
                <a:latin typeface="EYInterstate"/>
                <a:cs typeface="Arial" charset="0"/>
              </a:rPr>
              <a:t>utputs</a:t>
            </a:r>
            <a:endParaRPr kumimoji="0" lang="en-US" sz="1200" b="1" i="0" u="none" strike="noStrike" kern="0" cap="none" spc="0" normalizeH="0" baseline="0" noProof="0">
              <a:ln>
                <a:noFill/>
              </a:ln>
              <a:solidFill>
                <a:srgbClr val="FFFFFF"/>
              </a:solidFill>
              <a:effectLst/>
              <a:uLnTx/>
              <a:uFillTx/>
              <a:latin typeface="EYInterstate"/>
              <a:cs typeface="Arial" charset="0"/>
            </a:endParaRPr>
          </a:p>
        </p:txBody>
      </p:sp>
      <p:sp>
        <p:nvSpPr>
          <p:cNvPr id="149" name="TextBox 148">
            <a:extLst>
              <a:ext uri="{FF2B5EF4-FFF2-40B4-BE49-F238E27FC236}">
                <a16:creationId xmlns:a16="http://schemas.microsoft.com/office/drawing/2014/main" id="{D534D60A-1CC6-405D-B904-771044A0B1E3}"/>
              </a:ext>
            </a:extLst>
          </p:cNvPr>
          <p:cNvSpPr txBox="1"/>
          <p:nvPr/>
        </p:nvSpPr>
        <p:spPr>
          <a:xfrm>
            <a:off x="3878228" y="4049532"/>
            <a:ext cx="4572000" cy="82296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4: Design </a:t>
            </a:r>
            <a:r>
              <a:rPr kumimoji="0" lang="en-US" sz="1100" b="0" i="0" u="none" strike="noStrike" kern="0" cap="none" spc="0" normalizeH="0" baseline="0" noProof="0">
                <a:ln>
                  <a:noFill/>
                </a:ln>
                <a:solidFill>
                  <a:srgbClr val="000000"/>
                </a:solidFill>
                <a:effectLst/>
                <a:uLnTx/>
                <a:uFillTx/>
                <a:latin typeface="EYInterstate"/>
                <a:cs typeface="Arial" charset="0"/>
              </a:rPr>
              <a:t>the data platform specific </a:t>
            </a:r>
            <a:r>
              <a:rPr kumimoji="0" lang="en-US" sz="1100" b="1" i="0" u="none" strike="noStrike" kern="0" cap="none" spc="0" normalizeH="0" baseline="0" noProof="0">
                <a:ln>
                  <a:noFill/>
                </a:ln>
                <a:solidFill>
                  <a:srgbClr val="000000"/>
                </a:solidFill>
                <a:effectLst/>
                <a:uLnTx/>
                <a:uFillTx/>
                <a:latin typeface="EYInterstate"/>
                <a:cs typeface="Arial" charset="0"/>
              </a:rPr>
              <a:t>organization structure, roles &amp; responsibilities </a:t>
            </a:r>
            <a:r>
              <a:rPr kumimoji="0" lang="en-US" sz="1100" b="0" i="0" u="none" strike="noStrike" kern="0" cap="none" spc="0" normalizeH="0" baseline="0" noProof="0">
                <a:ln>
                  <a:noFill/>
                </a:ln>
                <a:solidFill>
                  <a:srgbClr val="000000"/>
                </a:solidFill>
                <a:effectLst/>
                <a:uLnTx/>
                <a:uFillTx/>
                <a:latin typeface="EYInterstate"/>
                <a:cs typeface="Arial" charset="0"/>
              </a:rPr>
              <a:t>needed to drive Technology, Digital &amp; Analytics Initiative</a:t>
            </a:r>
            <a:endParaRPr kumimoji="0" lang="en-US" sz="1100" b="0" i="0" u="none" strike="noStrike" kern="1200" cap="none" spc="0" normalizeH="0" baseline="0" noProof="0">
              <a:ln>
                <a:noFill/>
              </a:ln>
              <a:solidFill>
                <a:srgbClr val="000000"/>
              </a:solidFill>
              <a:effectLst/>
              <a:uLnTx/>
              <a:uFillTx/>
              <a:latin typeface="EYInterstate Light" panose="02000506000000020004" pitchFamily="2" charset="0"/>
              <a:cs typeface="Arial" charset="0"/>
            </a:endParaRPr>
          </a:p>
        </p:txBody>
      </p:sp>
      <p:sp>
        <p:nvSpPr>
          <p:cNvPr id="150" name="TextBox 149">
            <a:extLst>
              <a:ext uri="{FF2B5EF4-FFF2-40B4-BE49-F238E27FC236}">
                <a16:creationId xmlns:a16="http://schemas.microsoft.com/office/drawing/2014/main" id="{CDB845D0-6A9D-4473-AC48-610FFF1D4474}"/>
              </a:ext>
            </a:extLst>
          </p:cNvPr>
          <p:cNvSpPr txBox="1"/>
          <p:nvPr/>
        </p:nvSpPr>
        <p:spPr>
          <a:xfrm>
            <a:off x="3864474" y="2422145"/>
            <a:ext cx="4572000" cy="599677"/>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2: Set up a workshop with key stakeholders </a:t>
            </a:r>
            <a:r>
              <a:rPr kumimoji="0" lang="en-US" sz="1100" b="0" i="0" u="none" strike="noStrike" kern="0" cap="none" spc="0" normalizeH="0" baseline="0" noProof="0">
                <a:ln>
                  <a:noFill/>
                </a:ln>
                <a:solidFill>
                  <a:srgbClr val="000000"/>
                </a:solidFill>
                <a:effectLst/>
                <a:uLnTx/>
                <a:uFillTx/>
                <a:latin typeface="EYInterstate"/>
                <a:cs typeface="Arial" charset="0"/>
              </a:rPr>
              <a:t>to</a:t>
            </a:r>
            <a:r>
              <a:rPr kumimoji="0" lang="en-US" sz="1100" b="1" i="0" u="none" strike="noStrike" kern="0" cap="none" spc="0" normalizeH="0" baseline="0" noProof="0">
                <a:ln>
                  <a:noFill/>
                </a:ln>
                <a:solidFill>
                  <a:srgbClr val="000000"/>
                </a:solidFill>
                <a:effectLst/>
                <a:uLnTx/>
                <a:uFillTx/>
                <a:latin typeface="EYInterstate"/>
                <a:cs typeface="Arial" charset="0"/>
              </a:rPr>
              <a:t> </a:t>
            </a:r>
            <a:r>
              <a:rPr kumimoji="0" lang="en-US" sz="1100" b="0" i="0" u="none" strike="noStrike" kern="0" cap="none" spc="0" normalizeH="0" baseline="0" noProof="0">
                <a:ln>
                  <a:noFill/>
                </a:ln>
                <a:solidFill>
                  <a:srgbClr val="000000"/>
                </a:solidFill>
                <a:effectLst/>
                <a:uLnTx/>
                <a:uFillTx/>
                <a:latin typeface="EYInterstate"/>
                <a:cs typeface="Arial" charset="0"/>
              </a:rPr>
              <a:t>identify the choice of centralization and management (e.g. traditional or agile)</a:t>
            </a:r>
          </a:p>
        </p:txBody>
      </p:sp>
      <p:sp>
        <p:nvSpPr>
          <p:cNvPr id="151" name="Isosceles Triangle 112">
            <a:extLst>
              <a:ext uri="{FF2B5EF4-FFF2-40B4-BE49-F238E27FC236}">
                <a16:creationId xmlns:a16="http://schemas.microsoft.com/office/drawing/2014/main" id="{2F2AAA87-F6CF-45AA-B483-8297309146DC}"/>
              </a:ext>
            </a:extLst>
          </p:cNvPr>
          <p:cNvSpPr/>
          <p:nvPr/>
        </p:nvSpPr>
        <p:spPr>
          <a:xfrm rot="5400000">
            <a:off x="7029644" y="3396899"/>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2" name="Isosceles Triangle 112">
            <a:extLst>
              <a:ext uri="{FF2B5EF4-FFF2-40B4-BE49-F238E27FC236}">
                <a16:creationId xmlns:a16="http://schemas.microsoft.com/office/drawing/2014/main" id="{9695B018-2E94-44CC-8B5A-D596E2C3F8FF}"/>
              </a:ext>
            </a:extLst>
          </p:cNvPr>
          <p:cNvSpPr/>
          <p:nvPr/>
        </p:nvSpPr>
        <p:spPr>
          <a:xfrm rot="5400000">
            <a:off x="1770450" y="3396899"/>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3" name="TextBox 152">
            <a:extLst>
              <a:ext uri="{FF2B5EF4-FFF2-40B4-BE49-F238E27FC236}">
                <a16:creationId xmlns:a16="http://schemas.microsoft.com/office/drawing/2014/main" id="{7781A19B-B4C7-4A78-9B85-C33659A9505E}"/>
              </a:ext>
            </a:extLst>
          </p:cNvPr>
          <p:cNvSpPr txBox="1"/>
          <p:nvPr/>
        </p:nvSpPr>
        <p:spPr>
          <a:xfrm>
            <a:off x="3864474" y="1755251"/>
            <a:ext cx="4572000" cy="549918"/>
          </a:xfrm>
          <a:prstGeom prst="rect">
            <a:avLst/>
          </a:prstGeom>
          <a:solidFill>
            <a:schemeClr val="tx2">
              <a:lumMod val="95000"/>
            </a:schemeClr>
          </a:solidFill>
          <a:ln>
            <a:noFill/>
          </a:ln>
        </p:spPr>
        <p:txBody>
          <a:bodyPr wrap="square" lIns="101882" tIns="91440" rIns="91440" bIns="50941" rtlCol="0" anchor="ctr" anchorCtr="0">
            <a:noAutofit/>
          </a:bodyPr>
          <a:lstStyle/>
          <a:p>
            <a:pPr marL="449273" marR="0" lvl="1" indent="-449273" algn="l" defTabSz="914400" rtl="0" eaLnBrk="0" fontAlgn="base" latinLnBrk="0" hangingPunct="0">
              <a:lnSpc>
                <a:spcPct val="90000"/>
              </a:lnSpc>
              <a:spcBef>
                <a:spcPts val="669"/>
              </a:spcBef>
              <a:spcAft>
                <a:spcPct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1: Use the data platform capabilities analysis </a:t>
            </a:r>
            <a:r>
              <a:rPr kumimoji="0" lang="en-US" sz="1100" b="0" i="0" u="none" strike="noStrike" kern="0" cap="none" spc="0" normalizeH="0" baseline="0" noProof="0">
                <a:ln>
                  <a:noFill/>
                </a:ln>
                <a:solidFill>
                  <a:srgbClr val="000000"/>
                </a:solidFill>
                <a:effectLst/>
                <a:uLnTx/>
                <a:uFillTx/>
                <a:latin typeface="EYInterstate"/>
                <a:cs typeface="Arial" charset="0"/>
              </a:rPr>
              <a:t>to identify roles and responsibilities, which need to be enhanced for data flatform</a:t>
            </a:r>
          </a:p>
        </p:txBody>
      </p:sp>
      <p:sp>
        <p:nvSpPr>
          <p:cNvPr id="155" name="TextBox 154">
            <a:extLst>
              <a:ext uri="{FF2B5EF4-FFF2-40B4-BE49-F238E27FC236}">
                <a16:creationId xmlns:a16="http://schemas.microsoft.com/office/drawing/2014/main" id="{8E6D95C4-72B3-4A50-B113-6E8D8505955B}"/>
              </a:ext>
            </a:extLst>
          </p:cNvPr>
          <p:cNvSpPr txBox="1"/>
          <p:nvPr/>
        </p:nvSpPr>
        <p:spPr>
          <a:xfrm>
            <a:off x="8967304" y="1640888"/>
            <a:ext cx="3223560" cy="430887"/>
          </a:xfrm>
          <a:prstGeom prst="rect">
            <a:avLst/>
          </a:prstGeom>
        </p:spPr>
        <p:txBody>
          <a:bodyPr wrap="square">
            <a:spAutoFit/>
          </a:bodyPr>
          <a:lstStyle>
            <a:defPPr>
              <a:defRPr lang="en-US"/>
            </a:defPPr>
            <a:lvl1pPr algn="ctr" eaLnBrk="0" hangingPunct="0">
              <a:spcAft>
                <a:spcPct val="0"/>
              </a:spcAft>
              <a:buClrTx/>
              <a:buSzTx/>
              <a:defRPr sz="1100" b="1" kern="0">
                <a:solidFill>
                  <a:srgbClr val="000000"/>
                </a:solidFill>
                <a:latin typeface="EYInterstate"/>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A2AD"/>
                </a:solidFill>
                <a:effectLst/>
                <a:uLnTx/>
                <a:uFillTx/>
                <a:latin typeface="EYInterstate"/>
                <a:cs typeface="Arial" charset="0"/>
              </a:rPr>
              <a:t>Work Product: </a:t>
            </a:r>
            <a:r>
              <a:rPr kumimoji="0" lang="en-US" sz="1100" b="0" i="0" u="none" strike="noStrike" kern="0" cap="none" spc="0" normalizeH="0" baseline="0" noProof="0">
                <a:ln>
                  <a:noFill/>
                </a:ln>
                <a:solidFill>
                  <a:srgbClr val="000000"/>
                </a:solidFill>
                <a:effectLst/>
                <a:uLnTx/>
                <a:uFillTx/>
                <a:latin typeface="EYInterstate"/>
                <a:cs typeface="Arial" charset="0"/>
              </a:rPr>
              <a:t>High-level organization &amp; operating model</a:t>
            </a:r>
          </a:p>
        </p:txBody>
      </p:sp>
      <p:sp>
        <p:nvSpPr>
          <p:cNvPr id="162" name="TextBox 161">
            <a:extLst>
              <a:ext uri="{FF2B5EF4-FFF2-40B4-BE49-F238E27FC236}">
                <a16:creationId xmlns:a16="http://schemas.microsoft.com/office/drawing/2014/main" id="{8BCCFA91-C62B-4AFC-9E86-5C683DB4C972}"/>
              </a:ext>
            </a:extLst>
          </p:cNvPr>
          <p:cNvSpPr txBox="1"/>
          <p:nvPr/>
        </p:nvSpPr>
        <p:spPr>
          <a:xfrm>
            <a:off x="3864474" y="3143314"/>
            <a:ext cx="4572000" cy="73152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3: Analyze the AIAT policy, standard &amp; procedure framework </a:t>
            </a:r>
            <a:r>
              <a:rPr kumimoji="0" lang="en-US" sz="1100" b="0" i="0" u="none" strike="noStrike" kern="0" cap="none" spc="0" normalizeH="0" baseline="0" noProof="0">
                <a:ln>
                  <a:noFill/>
                </a:ln>
                <a:solidFill>
                  <a:srgbClr val="000000"/>
                </a:solidFill>
                <a:effectLst/>
                <a:uLnTx/>
                <a:uFillTx/>
                <a:latin typeface="EYInterstate"/>
                <a:cs typeface="Arial" charset="0"/>
              </a:rPr>
              <a:t>focusing on </a:t>
            </a:r>
            <a:r>
              <a:rPr kumimoji="0" lang="it-IT" sz="1100" b="0" i="0" u="none" strike="noStrike" kern="0" cap="none" spc="0" normalizeH="0" baseline="0" noProof="0">
                <a:ln>
                  <a:noFill/>
                </a:ln>
                <a:solidFill>
                  <a:srgbClr val="000000"/>
                </a:solidFill>
                <a:effectLst/>
                <a:uLnTx/>
                <a:uFillTx/>
                <a:latin typeface="EYInterstate"/>
                <a:cs typeface="Arial" charset="0"/>
              </a:rPr>
              <a:t>Data Governance, Data Quality, Data Usage, Data Management &amp; Data Analytics capabilities</a:t>
            </a:r>
          </a:p>
        </p:txBody>
      </p:sp>
      <p:sp>
        <p:nvSpPr>
          <p:cNvPr id="164" name="Rectangle 163">
            <a:extLst>
              <a:ext uri="{FF2B5EF4-FFF2-40B4-BE49-F238E27FC236}">
                <a16:creationId xmlns:a16="http://schemas.microsoft.com/office/drawing/2014/main" id="{18BEB7E2-4CEA-4B16-A0C7-5950138F8079}"/>
              </a:ext>
            </a:extLst>
          </p:cNvPr>
          <p:cNvSpPr/>
          <p:nvPr/>
        </p:nvSpPr>
        <p:spPr>
          <a:xfrm>
            <a:off x="9249181" y="3783835"/>
            <a:ext cx="2659803"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Design of the Organization &amp; Operating Model for Data Platform</a:t>
            </a:r>
          </a:p>
        </p:txBody>
      </p:sp>
      <p:sp>
        <p:nvSpPr>
          <p:cNvPr id="169" name="Rectangle 168">
            <a:extLst>
              <a:ext uri="{FF2B5EF4-FFF2-40B4-BE49-F238E27FC236}">
                <a16:creationId xmlns:a16="http://schemas.microsoft.com/office/drawing/2014/main" id="{C2DEE520-32F2-4571-9C56-961FFAB1B53A}"/>
              </a:ext>
            </a:extLst>
          </p:cNvPr>
          <p:cNvSpPr/>
          <p:nvPr/>
        </p:nvSpPr>
        <p:spPr>
          <a:xfrm>
            <a:off x="9063960" y="4249756"/>
            <a:ext cx="2898423" cy="93871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EYInterstate"/>
                <a:cs typeface="Arial" charset="0"/>
              </a:rPr>
              <a:t>This report will propose the target operating model, organizational structure with roles and responsibilities for data platform that will best fit with the current state and objectives of AIAT.</a:t>
            </a:r>
          </a:p>
        </p:txBody>
      </p:sp>
      <p:sp>
        <p:nvSpPr>
          <p:cNvPr id="176" name="TextBox 175">
            <a:extLst>
              <a:ext uri="{FF2B5EF4-FFF2-40B4-BE49-F238E27FC236}">
                <a16:creationId xmlns:a16="http://schemas.microsoft.com/office/drawing/2014/main" id="{963963BC-DBBB-4467-BFA2-30E897DDB507}"/>
              </a:ext>
            </a:extLst>
          </p:cNvPr>
          <p:cNvSpPr txBox="1"/>
          <p:nvPr/>
        </p:nvSpPr>
        <p:spPr>
          <a:xfrm>
            <a:off x="858329" y="5765189"/>
            <a:ext cx="1221800" cy="472209"/>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EYInterstate"/>
                <a:cs typeface="Arial" charset="0"/>
              </a:rPr>
              <a:t>EY Accelerator:</a:t>
            </a:r>
          </a:p>
        </p:txBody>
      </p:sp>
      <p:sp>
        <p:nvSpPr>
          <p:cNvPr id="177" name="TextBox 176">
            <a:extLst>
              <a:ext uri="{FF2B5EF4-FFF2-40B4-BE49-F238E27FC236}">
                <a16:creationId xmlns:a16="http://schemas.microsoft.com/office/drawing/2014/main" id="{1AC9B613-63E5-40B4-80B9-7032CD10F81C}"/>
              </a:ext>
            </a:extLst>
          </p:cNvPr>
          <p:cNvSpPr txBox="1"/>
          <p:nvPr/>
        </p:nvSpPr>
        <p:spPr>
          <a:xfrm>
            <a:off x="1990758" y="5752631"/>
            <a:ext cx="9971625" cy="895003"/>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endParaRPr kumimoji="0" lang="en-US" sz="1100" b="0" i="0" u="none" strike="noStrike" kern="0" cap="none" spc="0" normalizeH="0" baseline="0" noProof="0">
              <a:ln>
                <a:noFill/>
              </a:ln>
              <a:solidFill>
                <a:srgbClr val="000000"/>
              </a:solidFill>
              <a:effectLst/>
              <a:uLnTx/>
              <a:uFillTx/>
              <a:latin typeface="EYInterstate"/>
              <a:cs typeface="Arial" charset="0"/>
            </a:endParaRPr>
          </a:p>
        </p:txBody>
      </p:sp>
      <p:pic>
        <p:nvPicPr>
          <p:cNvPr id="28" name="Picture 27">
            <a:extLst>
              <a:ext uri="{FF2B5EF4-FFF2-40B4-BE49-F238E27FC236}">
                <a16:creationId xmlns:a16="http://schemas.microsoft.com/office/drawing/2014/main" id="{07B0214E-9246-4F0A-94D9-C1FE1B5B828A}"/>
              </a:ext>
            </a:extLst>
          </p:cNvPr>
          <p:cNvPicPr>
            <a:picLocks noChangeAspect="1"/>
          </p:cNvPicPr>
          <p:nvPr/>
        </p:nvPicPr>
        <p:blipFill>
          <a:blip r:embed="rId8"/>
          <a:stretch>
            <a:fillRect/>
          </a:stretch>
        </p:blipFill>
        <p:spPr>
          <a:xfrm>
            <a:off x="2179988" y="5861698"/>
            <a:ext cx="1005840" cy="634145"/>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29" name="Picture 28">
            <a:extLst>
              <a:ext uri="{FF2B5EF4-FFF2-40B4-BE49-F238E27FC236}">
                <a16:creationId xmlns:a16="http://schemas.microsoft.com/office/drawing/2014/main" id="{28442272-4A12-49F3-BB51-8A9495A02B3F}"/>
              </a:ext>
            </a:extLst>
          </p:cNvPr>
          <p:cNvPicPr>
            <a:picLocks noChangeAspect="1"/>
          </p:cNvPicPr>
          <p:nvPr/>
        </p:nvPicPr>
        <p:blipFill>
          <a:blip r:embed="rId9"/>
          <a:stretch>
            <a:fillRect/>
          </a:stretch>
        </p:blipFill>
        <p:spPr>
          <a:xfrm>
            <a:off x="2538772" y="5957895"/>
            <a:ext cx="1005840" cy="627123"/>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34" name="TextBox 33">
            <a:extLst>
              <a:ext uri="{FF2B5EF4-FFF2-40B4-BE49-F238E27FC236}">
                <a16:creationId xmlns:a16="http://schemas.microsoft.com/office/drawing/2014/main" id="{3A76F9EA-CA2A-4A2A-9192-68AB96C5BE1E}"/>
              </a:ext>
            </a:extLst>
          </p:cNvPr>
          <p:cNvSpPr txBox="1"/>
          <p:nvPr/>
        </p:nvSpPr>
        <p:spPr>
          <a:xfrm>
            <a:off x="3610872" y="6002453"/>
            <a:ext cx="2286000" cy="441431"/>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EYInterstate"/>
                <a:cs typeface="Arial" charset="0"/>
              </a:rPr>
              <a:t>EY Data Management </a:t>
            </a:r>
            <a:br>
              <a:rPr kumimoji="0" lang="en-US" sz="1050" b="1" i="0" u="none" strike="noStrike" kern="0" cap="none" spc="0" normalizeH="0" baseline="0" noProof="0">
                <a:ln>
                  <a:noFill/>
                </a:ln>
                <a:solidFill>
                  <a:srgbClr val="000000"/>
                </a:solidFill>
                <a:effectLst/>
                <a:uLnTx/>
                <a:uFillTx/>
                <a:latin typeface="EYInterstate"/>
                <a:cs typeface="Arial" charset="0"/>
              </a:rPr>
            </a:br>
            <a:r>
              <a:rPr kumimoji="0" lang="en-US" sz="1050" b="1" i="0" u="none" strike="noStrike" kern="0" cap="none" spc="0" normalizeH="0" baseline="0" noProof="0">
                <a:ln>
                  <a:noFill/>
                </a:ln>
                <a:solidFill>
                  <a:srgbClr val="000000"/>
                </a:solidFill>
                <a:effectLst/>
                <a:uLnTx/>
                <a:uFillTx/>
                <a:latin typeface="EYInterstate"/>
                <a:cs typeface="Arial" charset="0"/>
              </a:rPr>
              <a:t>&amp; Governance Framework </a:t>
            </a:r>
          </a:p>
        </p:txBody>
      </p:sp>
      <p:sp>
        <p:nvSpPr>
          <p:cNvPr id="35" name="Rectangle 34">
            <a:extLst>
              <a:ext uri="{FF2B5EF4-FFF2-40B4-BE49-F238E27FC236}">
                <a16:creationId xmlns:a16="http://schemas.microsoft.com/office/drawing/2014/main" id="{9FCFE2EA-242C-46DE-BE6C-C9D103DFA8C3}"/>
              </a:ext>
            </a:extLst>
          </p:cNvPr>
          <p:cNvSpPr/>
          <p:nvPr/>
        </p:nvSpPr>
        <p:spPr>
          <a:xfrm>
            <a:off x="970532" y="3129350"/>
            <a:ext cx="2014975"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Data Platform Capability Analysis</a:t>
            </a:r>
          </a:p>
        </p:txBody>
      </p:sp>
      <p:sp>
        <p:nvSpPr>
          <p:cNvPr id="37" name="Rectangle 36">
            <a:extLst>
              <a:ext uri="{FF2B5EF4-FFF2-40B4-BE49-F238E27FC236}">
                <a16:creationId xmlns:a16="http://schemas.microsoft.com/office/drawing/2014/main" id="{2A487350-A81E-4F92-A2CB-2F1B8B2DF8C0}"/>
              </a:ext>
            </a:extLst>
          </p:cNvPr>
          <p:cNvSpPr/>
          <p:nvPr/>
        </p:nvSpPr>
        <p:spPr>
          <a:xfrm>
            <a:off x="768486" y="5083085"/>
            <a:ext cx="2388896"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AIAT’s choice of centralization &amp; analytics operating Model </a:t>
            </a:r>
          </a:p>
        </p:txBody>
      </p:sp>
      <p:grpSp>
        <p:nvGrpSpPr>
          <p:cNvPr id="38" name="Group 37">
            <a:extLst>
              <a:ext uri="{FF2B5EF4-FFF2-40B4-BE49-F238E27FC236}">
                <a16:creationId xmlns:a16="http://schemas.microsoft.com/office/drawing/2014/main" id="{E05E8503-C5C0-46B6-B9CB-69BD53FB03FD}"/>
              </a:ext>
            </a:extLst>
          </p:cNvPr>
          <p:cNvGrpSpPr/>
          <p:nvPr/>
        </p:nvGrpSpPr>
        <p:grpSpPr>
          <a:xfrm>
            <a:off x="1041069" y="3903720"/>
            <a:ext cx="1955183" cy="1159946"/>
            <a:chOff x="918398" y="3387073"/>
            <a:chExt cx="1955183" cy="1159946"/>
          </a:xfrm>
        </p:grpSpPr>
        <p:pic>
          <p:nvPicPr>
            <p:cNvPr id="39" name="Picture 38">
              <a:extLst>
                <a:ext uri="{FF2B5EF4-FFF2-40B4-BE49-F238E27FC236}">
                  <a16:creationId xmlns:a16="http://schemas.microsoft.com/office/drawing/2014/main" id="{BCD1A033-C131-467E-BA91-8C488362D1BD}"/>
                </a:ext>
              </a:extLst>
            </p:cNvPr>
            <p:cNvPicPr>
              <a:picLocks noChangeAspect="1"/>
            </p:cNvPicPr>
            <p:nvPr/>
          </p:nvPicPr>
          <p:blipFill>
            <a:blip r:embed="rId10"/>
            <a:stretch>
              <a:fillRect/>
            </a:stretch>
          </p:blipFill>
          <p:spPr>
            <a:xfrm>
              <a:off x="918398" y="3387073"/>
              <a:ext cx="1776735" cy="914400"/>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40" name="Picture 39">
              <a:extLst>
                <a:ext uri="{FF2B5EF4-FFF2-40B4-BE49-F238E27FC236}">
                  <a16:creationId xmlns:a16="http://schemas.microsoft.com/office/drawing/2014/main" id="{918AB8B4-528F-4845-8D9D-8AEB2E984174}"/>
                </a:ext>
              </a:extLst>
            </p:cNvPr>
            <p:cNvPicPr>
              <a:picLocks noChangeAspect="1"/>
            </p:cNvPicPr>
            <p:nvPr/>
          </p:nvPicPr>
          <p:blipFill>
            <a:blip r:embed="rId11"/>
            <a:stretch>
              <a:fillRect/>
            </a:stretch>
          </p:blipFill>
          <p:spPr>
            <a:xfrm>
              <a:off x="1149142" y="3632619"/>
              <a:ext cx="1724439" cy="914400"/>
            </a:xfrm>
            <a:prstGeom prst="rect">
              <a:avLst/>
            </a:prstGeom>
            <a:solidFill>
              <a:schemeClr val="tx2"/>
            </a:solidFill>
            <a:ln w="25400">
              <a:solidFill>
                <a:schemeClr val="bg1"/>
              </a:solidFill>
              <a:miter lim="800000"/>
              <a:headEnd/>
              <a:tailEnd/>
            </a:ln>
            <a:effectLst>
              <a:outerShdw blurRad="50800" dist="38100" dir="2700000" algn="tl" rotWithShape="0">
                <a:schemeClr val="bg1">
                  <a:alpha val="43000"/>
                </a:schemeClr>
              </a:outerShdw>
            </a:effectLst>
          </p:spPr>
        </p:pic>
      </p:grpSp>
      <p:pic>
        <p:nvPicPr>
          <p:cNvPr id="47" name="Picture 46">
            <a:extLst>
              <a:ext uri="{FF2B5EF4-FFF2-40B4-BE49-F238E27FC236}">
                <a16:creationId xmlns:a16="http://schemas.microsoft.com/office/drawing/2014/main" id="{C610F64D-2A6B-4007-BBDB-6DF1BC63F715}"/>
              </a:ext>
            </a:extLst>
          </p:cNvPr>
          <p:cNvPicPr>
            <a:picLocks noChangeAspect="1"/>
          </p:cNvPicPr>
          <p:nvPr/>
        </p:nvPicPr>
        <p:blipFill>
          <a:blip r:embed="rId12"/>
          <a:stretch>
            <a:fillRect/>
          </a:stretch>
        </p:blipFill>
        <p:spPr>
          <a:xfrm>
            <a:off x="9329584" y="2245924"/>
            <a:ext cx="2066475" cy="960768"/>
          </a:xfrm>
          <a:prstGeom prst="rect">
            <a:avLst/>
          </a:prstGeom>
          <a:solidFill>
            <a:srgbClr val="F2F2F2"/>
          </a:solidFill>
          <a:ln w="25400">
            <a:solidFill>
              <a:schemeClr val="bg1"/>
            </a:solidFill>
            <a:miter lim="800000"/>
            <a:headEnd/>
            <a:tailEnd/>
          </a:ln>
          <a:effectLst>
            <a:outerShdw blurRad="50800" dist="38100" dir="2700000" algn="tl" rotWithShape="0">
              <a:schemeClr val="bg1">
                <a:alpha val="43000"/>
              </a:schemeClr>
            </a:outerShdw>
          </a:effectLst>
        </p:spPr>
      </p:pic>
      <p:pic>
        <p:nvPicPr>
          <p:cNvPr id="48" name="Picture 47">
            <a:extLst>
              <a:ext uri="{FF2B5EF4-FFF2-40B4-BE49-F238E27FC236}">
                <a16:creationId xmlns:a16="http://schemas.microsoft.com/office/drawing/2014/main" id="{0F90C2B0-F835-4EE0-B6B9-1F603B2379A8}"/>
              </a:ext>
            </a:extLst>
          </p:cNvPr>
          <p:cNvPicPr>
            <a:picLocks noChangeAspect="1"/>
          </p:cNvPicPr>
          <p:nvPr/>
        </p:nvPicPr>
        <p:blipFill>
          <a:blip r:embed="rId13"/>
          <a:stretch>
            <a:fillRect/>
          </a:stretch>
        </p:blipFill>
        <p:spPr>
          <a:xfrm>
            <a:off x="9705386" y="2661972"/>
            <a:ext cx="2052953" cy="1008898"/>
          </a:xfrm>
          <a:prstGeom prst="rect">
            <a:avLst/>
          </a:prstGeom>
          <a:solidFill>
            <a:srgbClr val="F2F2F2"/>
          </a:solidFill>
          <a:ln w="25400">
            <a:solidFill>
              <a:schemeClr val="bg1"/>
            </a:solidFill>
            <a:miter lim="800000"/>
            <a:headEnd/>
            <a:tailEnd/>
          </a:ln>
          <a:effectLst>
            <a:outerShdw blurRad="50800" dist="38100" dir="2700000" algn="tl" rotWithShape="0">
              <a:schemeClr val="bg1">
                <a:alpha val="43000"/>
              </a:schemeClr>
            </a:outerShdw>
          </a:effectLst>
        </p:spPr>
      </p:pic>
      <p:pic>
        <p:nvPicPr>
          <p:cNvPr id="31" name="Picture 30">
            <a:extLst>
              <a:ext uri="{FF2B5EF4-FFF2-40B4-BE49-F238E27FC236}">
                <a16:creationId xmlns:a16="http://schemas.microsoft.com/office/drawing/2014/main" id="{4F32EF8B-5EB9-4357-980B-520B20DD43D5}"/>
              </a:ext>
            </a:extLst>
          </p:cNvPr>
          <p:cNvPicPr preferRelativeResize="0">
            <a:picLocks/>
          </p:cNvPicPr>
          <p:nvPr/>
        </p:nvPicPr>
        <p:blipFill>
          <a:blip r:embed="rId14"/>
          <a:stretch>
            <a:fillRect/>
          </a:stretch>
        </p:blipFill>
        <p:spPr>
          <a:xfrm>
            <a:off x="841526" y="1863005"/>
            <a:ext cx="2014975" cy="1039127"/>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32" name="Picture 31">
            <a:extLst>
              <a:ext uri="{FF2B5EF4-FFF2-40B4-BE49-F238E27FC236}">
                <a16:creationId xmlns:a16="http://schemas.microsoft.com/office/drawing/2014/main" id="{3A5F26B4-8364-4A05-A32A-1F2E02D52396}"/>
              </a:ext>
            </a:extLst>
          </p:cNvPr>
          <p:cNvPicPr preferRelativeResize="0">
            <a:picLocks/>
          </p:cNvPicPr>
          <p:nvPr/>
        </p:nvPicPr>
        <p:blipFill>
          <a:blip r:embed="rId15"/>
          <a:stretch>
            <a:fillRect/>
          </a:stretch>
        </p:blipFill>
        <p:spPr>
          <a:xfrm>
            <a:off x="1055862" y="2070805"/>
            <a:ext cx="2014975" cy="1039127"/>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6" name="Picture 5">
            <a:extLst>
              <a:ext uri="{FF2B5EF4-FFF2-40B4-BE49-F238E27FC236}">
                <a16:creationId xmlns:a16="http://schemas.microsoft.com/office/drawing/2014/main" id="{675D18B7-7AF7-41AF-B732-8789C35095A0}"/>
              </a:ext>
            </a:extLst>
          </p:cNvPr>
          <p:cNvPicPr>
            <a:picLocks noChangeAspect="1"/>
          </p:cNvPicPr>
          <p:nvPr/>
        </p:nvPicPr>
        <p:blipFill>
          <a:blip r:embed="rId16"/>
          <a:stretch>
            <a:fillRect/>
          </a:stretch>
        </p:blipFill>
        <p:spPr>
          <a:xfrm>
            <a:off x="5624745" y="5861698"/>
            <a:ext cx="1284484" cy="717578"/>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41" name="TextBox 40">
            <a:extLst>
              <a:ext uri="{FF2B5EF4-FFF2-40B4-BE49-F238E27FC236}">
                <a16:creationId xmlns:a16="http://schemas.microsoft.com/office/drawing/2014/main" id="{98AD3CC8-81B6-4064-B192-661CBCF6F44C}"/>
              </a:ext>
            </a:extLst>
          </p:cNvPr>
          <p:cNvSpPr txBox="1"/>
          <p:nvPr/>
        </p:nvSpPr>
        <p:spPr>
          <a:xfrm>
            <a:off x="6951733" y="5823551"/>
            <a:ext cx="2286000" cy="749208"/>
          </a:xfrm>
          <a:prstGeom prst="rect">
            <a:avLst/>
          </a:prstGeom>
          <a:noFill/>
        </p:spPr>
        <p:txBody>
          <a:bodyPr wrap="square" lIns="101882" tIns="50941" rIns="101882" bIns="50941" rtlCol="0" anchor="ctr">
            <a:spAutoFit/>
          </a:bodyPr>
          <a:lstStyle/>
          <a:p>
            <a:pPr lvl="0">
              <a:defRPr/>
            </a:pPr>
            <a:r>
              <a:rPr kumimoji="0" lang="en-US" sz="1050" b="1" i="0" u="none" strike="noStrike" kern="0" cap="none" spc="0" normalizeH="0" baseline="0" noProof="0">
                <a:ln>
                  <a:noFill/>
                </a:ln>
                <a:solidFill>
                  <a:srgbClr val="000000"/>
                </a:solidFill>
                <a:effectLst/>
                <a:uLnTx/>
                <a:uFillTx/>
                <a:latin typeface="EYInterstate"/>
                <a:cs typeface="Arial" charset="0"/>
              </a:rPr>
              <a:t>EY Data &amp; </a:t>
            </a:r>
            <a:r>
              <a:rPr lang="en-US" sz="1050" b="1" kern="0">
                <a:solidFill>
                  <a:srgbClr val="000000"/>
                </a:solidFill>
                <a:latin typeface="EYInterstate"/>
              </a:rPr>
              <a:t>Analytics Enablers for TOM implementation with Data Ops, </a:t>
            </a:r>
            <a:r>
              <a:rPr lang="en-US" sz="1050" b="1" kern="0" dirty="0" err="1">
                <a:solidFill>
                  <a:srgbClr val="000000"/>
                </a:solidFill>
                <a:latin typeface="EYInterstate"/>
              </a:rPr>
              <a:t>ModelOps</a:t>
            </a:r>
            <a:r>
              <a:rPr lang="en-US" sz="1050" b="1" kern="0">
                <a:solidFill>
                  <a:srgbClr val="000000"/>
                </a:solidFill>
                <a:latin typeface="EYInterstate"/>
              </a:rPr>
              <a:t> &amp; Analytics </a:t>
            </a:r>
            <a:r>
              <a:rPr lang="en-US" sz="1050" b="1" kern="0" dirty="0">
                <a:solidFill>
                  <a:srgbClr val="000000"/>
                </a:solidFill>
                <a:latin typeface="EYInterstate"/>
              </a:rPr>
              <a:t>Factory</a:t>
            </a:r>
            <a:r>
              <a:rPr lang="en-US" sz="1050" b="1" kern="0">
                <a:solidFill>
                  <a:srgbClr val="000000"/>
                </a:solidFill>
                <a:latin typeface="EYInterstate"/>
              </a:rPr>
              <a:t> designs</a:t>
            </a:r>
            <a:endParaRPr kumimoji="0" lang="en-US" sz="1050" b="1" i="0" u="none" strike="noStrike" kern="0" cap="none" spc="0" normalizeH="0" baseline="0" noProof="0">
              <a:ln>
                <a:noFill/>
              </a:ln>
              <a:solidFill>
                <a:srgbClr val="000000"/>
              </a:solidFill>
              <a:effectLst/>
              <a:uLnTx/>
              <a:uFillTx/>
              <a:latin typeface="EYInterstate"/>
              <a:cs typeface="Arial" charset="0"/>
            </a:endParaRPr>
          </a:p>
        </p:txBody>
      </p:sp>
      <p:grpSp>
        <p:nvGrpSpPr>
          <p:cNvPr id="42" name="Group 41">
            <a:extLst>
              <a:ext uri="{FF2B5EF4-FFF2-40B4-BE49-F238E27FC236}">
                <a16:creationId xmlns:a16="http://schemas.microsoft.com/office/drawing/2014/main" id="{A02A38FD-6E97-4732-9450-4511A5C855B4}"/>
              </a:ext>
            </a:extLst>
          </p:cNvPr>
          <p:cNvGrpSpPr/>
          <p:nvPr/>
        </p:nvGrpSpPr>
        <p:grpSpPr>
          <a:xfrm>
            <a:off x="10825808" y="1941862"/>
            <a:ext cx="1275262" cy="253916"/>
            <a:chOff x="11862118" y="1197553"/>
            <a:chExt cx="1275262" cy="253916"/>
          </a:xfrm>
        </p:grpSpPr>
        <p:sp>
          <p:nvSpPr>
            <p:cNvPr id="44" name="Rectangle 43">
              <a:extLst>
                <a:ext uri="{FF2B5EF4-FFF2-40B4-BE49-F238E27FC236}">
                  <a16:creationId xmlns:a16="http://schemas.microsoft.com/office/drawing/2014/main" id="{5AEDDA6A-4549-4424-80B4-411CE831B0AB}"/>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a:ln>
                  <a:noFill/>
                </a:ln>
                <a:solidFill>
                  <a:srgbClr val="000000"/>
                </a:solidFill>
                <a:effectLst/>
                <a:uLnTx/>
                <a:uFillTx/>
                <a:latin typeface="Arial" charset="0"/>
                <a:cs typeface="Arial" charset="0"/>
              </a:endParaRPr>
            </a:p>
          </p:txBody>
        </p:sp>
        <p:cxnSp>
          <p:nvCxnSpPr>
            <p:cNvPr id="45" name="Straight Connector 44">
              <a:extLst>
                <a:ext uri="{FF2B5EF4-FFF2-40B4-BE49-F238E27FC236}">
                  <a16:creationId xmlns:a16="http://schemas.microsoft.com/office/drawing/2014/main" id="{09346E44-30CF-422E-BA0E-F806C92DA77C}"/>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2D67D4-B9CE-4828-93D7-66255CFABC9B}"/>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3C8D11D-8B8F-45D1-9EAC-0C0B6B34E239}"/>
              </a:ext>
            </a:extLst>
          </p:cNvPr>
          <p:cNvGrpSpPr/>
          <p:nvPr/>
        </p:nvGrpSpPr>
        <p:grpSpPr>
          <a:xfrm>
            <a:off x="1911685" y="1578074"/>
            <a:ext cx="1275262" cy="253916"/>
            <a:chOff x="11862118" y="1197553"/>
            <a:chExt cx="1275262" cy="253916"/>
          </a:xfrm>
        </p:grpSpPr>
        <p:sp>
          <p:nvSpPr>
            <p:cNvPr id="50" name="Rectangle 49">
              <a:extLst>
                <a:ext uri="{FF2B5EF4-FFF2-40B4-BE49-F238E27FC236}">
                  <a16:creationId xmlns:a16="http://schemas.microsoft.com/office/drawing/2014/main" id="{38AC2AB1-CA84-42D5-A34D-E8F8362470F9}"/>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a:ln>
                  <a:noFill/>
                </a:ln>
                <a:solidFill>
                  <a:srgbClr val="000000"/>
                </a:solidFill>
                <a:effectLst/>
                <a:uLnTx/>
                <a:uFillTx/>
                <a:latin typeface="Arial" charset="0"/>
                <a:cs typeface="Arial" charset="0"/>
              </a:endParaRPr>
            </a:p>
          </p:txBody>
        </p:sp>
        <p:cxnSp>
          <p:nvCxnSpPr>
            <p:cNvPr id="51" name="Straight Connector 50">
              <a:extLst>
                <a:ext uri="{FF2B5EF4-FFF2-40B4-BE49-F238E27FC236}">
                  <a16:creationId xmlns:a16="http://schemas.microsoft.com/office/drawing/2014/main" id="{C5BA6B9D-35C8-40FE-9069-DE40B980253C}"/>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A246BB4-540A-40D7-8FB7-78EB18B5CD3E}"/>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38CE6724-BD09-49C8-A06F-280D8942EA7B}"/>
              </a:ext>
            </a:extLst>
          </p:cNvPr>
          <p:cNvGrpSpPr/>
          <p:nvPr/>
        </p:nvGrpSpPr>
        <p:grpSpPr>
          <a:xfrm>
            <a:off x="1878673" y="3609394"/>
            <a:ext cx="1275262" cy="253916"/>
            <a:chOff x="11862118" y="1197553"/>
            <a:chExt cx="1275262" cy="253916"/>
          </a:xfrm>
        </p:grpSpPr>
        <p:sp>
          <p:nvSpPr>
            <p:cNvPr id="58" name="Rectangle 57">
              <a:extLst>
                <a:ext uri="{FF2B5EF4-FFF2-40B4-BE49-F238E27FC236}">
                  <a16:creationId xmlns:a16="http://schemas.microsoft.com/office/drawing/2014/main" id="{887D9B2B-FC1D-4865-94FB-71A927268B30}"/>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a:ln>
                  <a:noFill/>
                </a:ln>
                <a:solidFill>
                  <a:srgbClr val="000000"/>
                </a:solidFill>
                <a:effectLst/>
                <a:uLnTx/>
                <a:uFillTx/>
                <a:latin typeface="Arial" charset="0"/>
                <a:cs typeface="Arial" charset="0"/>
              </a:endParaRPr>
            </a:p>
          </p:txBody>
        </p:sp>
        <p:cxnSp>
          <p:nvCxnSpPr>
            <p:cNvPr id="59" name="Straight Connector 58">
              <a:extLst>
                <a:ext uri="{FF2B5EF4-FFF2-40B4-BE49-F238E27FC236}">
                  <a16:creationId xmlns:a16="http://schemas.microsoft.com/office/drawing/2014/main" id="{84D998D2-7409-4E23-882C-72E51E82D668}"/>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D01BCFB-860C-4CB8-8995-941DE792D819}"/>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61" name="Chevron 26">
            <a:extLst>
              <a:ext uri="{FF2B5EF4-FFF2-40B4-BE49-F238E27FC236}">
                <a16:creationId xmlns:a16="http://schemas.microsoft.com/office/drawing/2014/main" id="{9E581429-9997-4CFD-98BA-03B055DBFC6F}"/>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a:solidFill>
                  <a:schemeClr val="bg2"/>
                </a:solidFill>
                <a:latin typeface="EYInterstate"/>
                <a:sym typeface="EYInterstate Light" panose="02000506000000020004" pitchFamily="2" charset="0"/>
              </a:rPr>
              <a:t>Approach</a:t>
            </a:r>
          </a:p>
        </p:txBody>
      </p:sp>
      <p:pic>
        <p:nvPicPr>
          <p:cNvPr id="53" name="Picture 52">
            <a:extLst>
              <a:ext uri="{FF2B5EF4-FFF2-40B4-BE49-F238E27FC236}">
                <a16:creationId xmlns:a16="http://schemas.microsoft.com/office/drawing/2014/main" id="{63E1C4F9-5DEF-4500-A049-BB9A207FCA63}"/>
              </a:ext>
            </a:extLst>
          </p:cNvPr>
          <p:cNvPicPr>
            <a:picLocks noChangeAspect="1"/>
          </p:cNvPicPr>
          <p:nvPr/>
        </p:nvPicPr>
        <p:blipFill rotWithShape="1">
          <a:blip r:embed="rId17"/>
          <a:srcRect t="9253"/>
          <a:stretch/>
        </p:blipFill>
        <p:spPr>
          <a:xfrm>
            <a:off x="9302061" y="5900852"/>
            <a:ext cx="1068101" cy="579020"/>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54" name="TextBox 53">
            <a:extLst>
              <a:ext uri="{FF2B5EF4-FFF2-40B4-BE49-F238E27FC236}">
                <a16:creationId xmlns:a16="http://schemas.microsoft.com/office/drawing/2014/main" id="{1BFE0F35-41C0-4609-978D-F7B064CE8D1D}"/>
              </a:ext>
            </a:extLst>
          </p:cNvPr>
          <p:cNvSpPr txBox="1"/>
          <p:nvPr/>
        </p:nvSpPr>
        <p:spPr>
          <a:xfrm>
            <a:off x="10402579" y="5917784"/>
            <a:ext cx="1514512" cy="426042"/>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EYInterstate"/>
                <a:cs typeface="Arial" charset="0"/>
              </a:rPr>
              <a:t>EY Information Security Framework </a:t>
            </a:r>
          </a:p>
        </p:txBody>
      </p:sp>
    </p:spTree>
    <p:extLst>
      <p:ext uri="{BB962C8B-B14F-4D97-AF65-F5344CB8AC3E}">
        <p14:creationId xmlns:p14="http://schemas.microsoft.com/office/powerpoint/2010/main" val="42069877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17460E-EE8D-4818-BC91-D9FBA239FA79}"/>
              </a:ext>
            </a:extLst>
          </p:cNvPr>
          <p:cNvPicPr>
            <a:picLocks noChangeAspect="1"/>
          </p:cNvPicPr>
          <p:nvPr/>
        </p:nvPicPr>
        <p:blipFill>
          <a:blip r:embed="rId6"/>
          <a:stretch>
            <a:fillRect/>
          </a:stretch>
        </p:blipFill>
        <p:spPr>
          <a:xfrm>
            <a:off x="127" y="0"/>
            <a:ext cx="12198096" cy="6858000"/>
          </a:xfrm>
          <a:prstGeom prst="rect">
            <a:avLst/>
          </a:prstGeom>
        </p:spPr>
      </p:pic>
      <p:graphicFrame>
        <p:nvGraphicFramePr>
          <p:cNvPr id="2" name="Object 1" hidden="1"/>
          <p:cNvGraphicFramePr>
            <a:graphicFrameLocks/>
          </p:cNvGraphicFramePr>
          <p:nvPr>
            <p:custDataLst>
              <p:tags r:id="rId3"/>
            </p:custDataLst>
          </p:nvPr>
        </p:nvGraphicFramePr>
        <p:xfrm>
          <a:off x="2463223" y="702378"/>
          <a:ext cx="1079" cy="1145"/>
        </p:xfrm>
        <a:graphic>
          <a:graphicData uri="http://schemas.openxmlformats.org/presentationml/2006/ole">
            <mc:AlternateContent xmlns:mc="http://schemas.openxmlformats.org/markup-compatibility/2006">
              <mc:Choice xmlns:v="urn:schemas-microsoft-com:vml" Requires="v">
                <p:oleObj spid="_x0000_s249865"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2463223" y="702378"/>
                        <a:ext cx="1079" cy="1145"/>
                      </a:xfrm>
                      <a:prstGeom prst="rect">
                        <a:avLst/>
                      </a:prstGeom>
                    </p:spPr>
                  </p:pic>
                </p:oleObj>
              </mc:Fallback>
            </mc:AlternateContent>
          </a:graphicData>
        </a:graphic>
      </p:graphicFrame>
      <p:sp>
        <p:nvSpPr>
          <p:cNvPr id="6" name="Freeform 12"/>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algn="ctr" defTabSz="634556" eaLnBrk="1" hangingPunct="1">
              <a:spcAft>
                <a:spcPct val="50000"/>
              </a:spcAft>
              <a:buClr>
                <a:srgbClr val="FFE600"/>
              </a:buClr>
              <a:buSzPct val="80000"/>
            </a:pPr>
            <a:endParaRPr lang="en-US" sz="637">
              <a:solidFill>
                <a:srgbClr val="FFFFFF"/>
              </a:solidFill>
              <a:latin typeface="EYInterstate Light" panose="02000506000000020004" pitchFamily="2" charset="0"/>
            </a:endParaRPr>
          </a:p>
        </p:txBody>
      </p:sp>
      <p:sp>
        <p:nvSpPr>
          <p:cNvPr id="7" name="Text Placeholder 9"/>
          <p:cNvSpPr txBox="1">
            <a:spLocks/>
          </p:cNvSpPr>
          <p:nvPr/>
        </p:nvSpPr>
        <p:spPr bwMode="gray">
          <a:xfrm>
            <a:off x="36029" y="1865549"/>
            <a:ext cx="5147864"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defTabSz="634779" eaLnBrk="1" hangingPunct="1">
              <a:buClr>
                <a:srgbClr val="FFE600"/>
              </a:buClr>
              <a:buSzPct val="80000"/>
            </a:pPr>
            <a:r>
              <a:rPr lang="en-US" sz="2177">
                <a:solidFill>
                  <a:srgbClr val="000000"/>
                </a:solidFill>
                <a:latin typeface="EYInterstate" panose="02000503020000020004" pitchFamily="2" charset="0"/>
              </a:rPr>
              <a:t>3.5 | </a:t>
            </a:r>
            <a:r>
              <a:rPr lang="en-US" sz="2177">
                <a:solidFill>
                  <a:srgbClr val="000000"/>
                </a:solidFill>
                <a:latin typeface="EYInterstate" panose="02000503020000020004" pitchFamily="2" charset="0"/>
                <a:cs typeface="Calibri" panose="020F0502020204030204" pitchFamily="34" charset="0"/>
              </a:rPr>
              <a:t>Our Point of View &amp; Approach</a:t>
            </a:r>
          </a:p>
          <a:p>
            <a:pPr defTabSz="634779" eaLnBrk="1" hangingPunct="1">
              <a:buClr>
                <a:srgbClr val="FFE600"/>
              </a:buClr>
              <a:buSzPct val="80000"/>
            </a:pPr>
            <a:r>
              <a:rPr lang="en-US" sz="1633">
                <a:solidFill>
                  <a:srgbClr val="000000"/>
                </a:solidFill>
                <a:latin typeface="EYInterstate" panose="02000503020000020004" pitchFamily="2" charset="0"/>
                <a:cs typeface="Calibri" panose="020F0502020204030204" pitchFamily="34" charset="0"/>
              </a:rPr>
              <a:t>IT Strategic Roadmap</a:t>
            </a:r>
          </a:p>
        </p:txBody>
      </p:sp>
      <p:sp>
        <p:nvSpPr>
          <p:cNvPr id="11" name="Rectangle 10">
            <a:extLst>
              <a:ext uri="{FF2B5EF4-FFF2-40B4-BE49-F238E27FC236}">
                <a16:creationId xmlns:a16="http://schemas.microsoft.com/office/drawing/2014/main" id="{627C101E-12A4-40D6-B470-7487B836B68D}"/>
              </a:ext>
            </a:extLst>
          </p:cNvPr>
          <p:cNvSpPr/>
          <p:nvPr/>
        </p:nvSpPr>
        <p:spPr>
          <a:xfrm>
            <a:off x="8583616" y="-213122"/>
            <a:ext cx="3312045" cy="2529957"/>
          </a:xfrm>
          <a:prstGeom prst="rect">
            <a:avLst/>
          </a:prstGeom>
          <a:noFill/>
        </p:spPr>
        <p:txBody>
          <a:bodyPr wrap="square" lIns="72742" tIns="36370" rIns="72742" bIns="36370">
            <a:spAutoFit/>
          </a:bodyPr>
          <a:lstStyle/>
          <a:p>
            <a:pPr algn="ctr" defTabSz="945990" eaLnBrk="1" fontAlgn="auto" hangingPunct="1">
              <a:spcBef>
                <a:spcPts val="0"/>
              </a:spcBef>
              <a:spcAft>
                <a:spcPts val="0"/>
              </a:spcAft>
            </a:pPr>
            <a:r>
              <a:rPr lang="en-US" sz="15963" b="1">
                <a:ln w="22225">
                  <a:solidFill>
                    <a:srgbClr val="FFE600"/>
                  </a:solidFill>
                  <a:prstDash val="solid"/>
                </a:ln>
                <a:solidFill>
                  <a:srgbClr val="FFE600"/>
                </a:solidFill>
                <a:latin typeface="EYInterstate" panose="02000503020000020004" pitchFamily="2" charset="0"/>
                <a:ea typeface="+mn-ea"/>
                <a:cs typeface="Calibri" panose="020F0502020204030204" pitchFamily="34" charset="0"/>
              </a:rPr>
              <a:t>3.5</a:t>
            </a:r>
          </a:p>
        </p:txBody>
      </p:sp>
      <p:graphicFrame>
        <p:nvGraphicFramePr>
          <p:cNvPr id="8" name="Diagram 7">
            <a:extLst>
              <a:ext uri="{FF2B5EF4-FFF2-40B4-BE49-F238E27FC236}">
                <a16:creationId xmlns:a16="http://schemas.microsoft.com/office/drawing/2014/main" id="{8DB5D9FC-90B3-4BAA-82C0-21B769F901DD}"/>
              </a:ext>
            </a:extLst>
          </p:cNvPr>
          <p:cNvGraphicFramePr/>
          <p:nvPr>
            <p:extLst>
              <p:ext uri="{D42A27DB-BD31-4B8C-83A1-F6EECF244321}">
                <p14:modId xmlns:p14="http://schemas.microsoft.com/office/powerpoint/2010/main" val="1489895696"/>
              </p:ext>
            </p:extLst>
          </p:nvPr>
        </p:nvGraphicFramePr>
        <p:xfrm>
          <a:off x="-37787" y="5273384"/>
          <a:ext cx="8119987" cy="100235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2"/>
    </p:custDataLst>
    <p:extLst>
      <p:ext uri="{BB962C8B-B14F-4D97-AF65-F5344CB8AC3E}">
        <p14:creationId xmlns:p14="http://schemas.microsoft.com/office/powerpoint/2010/main" val="33956617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ED0A1-F398-42F8-9665-0D72013840A1}"/>
              </a:ext>
            </a:extLst>
          </p:cNvPr>
          <p:cNvSpPr>
            <a:spLocks noGrp="1"/>
          </p:cNvSpPr>
          <p:nvPr>
            <p:ph type="title"/>
          </p:nvPr>
        </p:nvSpPr>
        <p:spPr>
          <a:xfrm>
            <a:off x="858605" y="553312"/>
            <a:ext cx="10611242" cy="672275"/>
          </a:xfrm>
        </p:spPr>
        <p:txBody>
          <a:bodyPr/>
          <a:lstStyle/>
          <a:p>
            <a:r>
              <a:rPr lang="en-US"/>
              <a:t>We would like to enable AIAT vision to uplift their capabilities in Technology, Digital and Analytics space through a strategic roadmap</a:t>
            </a:r>
          </a:p>
        </p:txBody>
      </p:sp>
      <p:sp>
        <p:nvSpPr>
          <p:cNvPr id="137" name="Text Placeholder 103">
            <a:extLst>
              <a:ext uri="{FF2B5EF4-FFF2-40B4-BE49-F238E27FC236}">
                <a16:creationId xmlns:a16="http://schemas.microsoft.com/office/drawing/2014/main" id="{B745DD51-F6E7-4BCC-84D6-2EE7B1DE7756}"/>
              </a:ext>
            </a:extLst>
          </p:cNvPr>
          <p:cNvSpPr txBox="1">
            <a:spLocks/>
          </p:cNvSpPr>
          <p:nvPr/>
        </p:nvSpPr>
        <p:spPr>
          <a:xfrm>
            <a:off x="868311" y="1217466"/>
            <a:ext cx="10849623" cy="615442"/>
          </a:xfrm>
          <a:prstGeom prst="rect">
            <a:avLst/>
          </a:prstGeom>
        </p:spPr>
        <p:txBody>
          <a:bodyPr lIns="41446" rIns="41446"/>
          <a:lstStyle>
            <a:lvl1pPr marL="494029" indent="-494029" algn="l" defTabSz="1266737"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8054" indent="-494029" algn="l" defTabSz="1266737"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2083" indent="-494029" algn="l" defTabSz="1266737" rtl="0" eaLnBrk="1" latinLnBrk="0" hangingPunct="1">
              <a:spcBef>
                <a:spcPct val="20000"/>
              </a:spcBef>
              <a:buClr>
                <a:schemeClr val="tx1"/>
              </a:buClr>
              <a:buSzPct val="70000"/>
              <a:buFont typeface="Arial" pitchFamily="34" charset="0"/>
              <a:buChar char="►"/>
              <a:defRPr sz="1800" b="0" i="0" kern="1200">
                <a:solidFill>
                  <a:schemeClr val="bg1"/>
                </a:solidFill>
                <a:latin typeface="EYInterstate Light" panose="02000506000000020004" pitchFamily="2" charset="0"/>
                <a:ea typeface="+mn-ea"/>
                <a:cs typeface="+mn-cs"/>
              </a:defRPr>
            </a:lvl3pPr>
            <a:lvl4pPr marL="1976110" indent="-494029" algn="l" defTabSz="1266737"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70136" indent="-494029" algn="l" defTabSz="1266737"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527"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89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5026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3632"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9pPr>
          </a:lstStyle>
          <a:p>
            <a:pPr marL="0" marR="0" lvl="0" indent="0" algn="l" defTabSz="1148356" rtl="0" eaLnBrk="1" fontAlgn="base" latinLnBrk="0" hangingPunct="1">
              <a:lnSpc>
                <a:spcPct val="100000"/>
              </a:lnSpc>
              <a:spcBef>
                <a:spcPct val="20000"/>
              </a:spcBef>
              <a:spcAft>
                <a:spcPct val="0"/>
              </a:spcAft>
              <a:buClr>
                <a:srgbClr val="000000"/>
              </a:buClr>
              <a:buSzPct val="70000"/>
              <a:buFont typeface="Arial" pitchFamily="34" charset="0"/>
              <a:buNone/>
              <a:tabLst/>
              <a:defRPr/>
            </a:pPr>
            <a:r>
              <a:rPr kumimoji="0" lang="en-US" sz="1450" b="0" i="0" u="none" strike="noStrike" kern="0" cap="none" spc="0" normalizeH="0" baseline="0" noProof="0">
                <a:ln>
                  <a:noFill/>
                </a:ln>
                <a:solidFill>
                  <a:srgbClr val="000000"/>
                </a:solidFill>
                <a:effectLst/>
                <a:uLnTx/>
                <a:uFillTx/>
                <a:latin typeface="EYInterstate Light" panose="02000506000000020004" pitchFamily="2" charset="0"/>
                <a:ea typeface="+mn-ea"/>
                <a:cs typeface="+mn-cs"/>
              </a:rPr>
              <a:t>Our current focus being the Strategy &amp; Planning, we would like to enable AIA Thailand (AIAT) to embark on the journey deploying new systems, products and features into production. </a:t>
            </a:r>
            <a:endParaRPr kumimoji="0" lang="en-US" sz="1450" b="0" i="0" u="none" strike="noStrike" kern="1200" cap="none" spc="0" normalizeH="0" baseline="0" noProof="0">
              <a:ln>
                <a:noFill/>
              </a:ln>
              <a:solidFill>
                <a:srgbClr val="404040"/>
              </a:solidFill>
              <a:effectLst/>
              <a:uLnTx/>
              <a:uFillTx/>
              <a:latin typeface="EYInterstate"/>
              <a:ea typeface="+mn-ea"/>
              <a:cs typeface="+mn-cs"/>
            </a:endParaRPr>
          </a:p>
          <a:p>
            <a:pPr marL="0" marR="0" lvl="0" indent="0" algn="l" defTabSz="1148356" rtl="0" eaLnBrk="1" fontAlgn="base" latinLnBrk="0" hangingPunct="1">
              <a:lnSpc>
                <a:spcPct val="100000"/>
              </a:lnSpc>
              <a:spcBef>
                <a:spcPct val="20000"/>
              </a:spcBef>
              <a:spcAft>
                <a:spcPct val="0"/>
              </a:spcAft>
              <a:buClr>
                <a:srgbClr val="000000"/>
              </a:buClr>
              <a:buSzPct val="70000"/>
              <a:buFont typeface="Arial" pitchFamily="34" charset="0"/>
              <a:buNone/>
              <a:tabLst/>
              <a:defRPr/>
            </a:pPr>
            <a:endParaRPr kumimoji="0" lang="en-US" sz="1450" b="0" i="0" u="none" strike="noStrike" kern="1200" cap="none" spc="0" normalizeH="0" baseline="0" noProof="0">
              <a:ln>
                <a:noFill/>
              </a:ln>
              <a:solidFill>
                <a:srgbClr val="404040"/>
              </a:solidFill>
              <a:effectLst/>
              <a:uLnTx/>
              <a:uFillTx/>
              <a:latin typeface="EYInterstate"/>
              <a:ea typeface="+mn-ea"/>
              <a:cs typeface="+mn-cs"/>
            </a:endParaRPr>
          </a:p>
        </p:txBody>
      </p:sp>
      <p:graphicFrame>
        <p:nvGraphicFramePr>
          <p:cNvPr id="38" name="Table 38">
            <a:extLst>
              <a:ext uri="{FF2B5EF4-FFF2-40B4-BE49-F238E27FC236}">
                <a16:creationId xmlns:a16="http://schemas.microsoft.com/office/drawing/2014/main" id="{22890FCF-D3C5-4B1E-9587-30383F300CA4}"/>
              </a:ext>
            </a:extLst>
          </p:cNvPr>
          <p:cNvGraphicFramePr>
            <a:graphicFrameLocks noGrp="1"/>
          </p:cNvGraphicFramePr>
          <p:nvPr>
            <p:extLst>
              <p:ext uri="{D42A27DB-BD31-4B8C-83A1-F6EECF244321}">
                <p14:modId xmlns:p14="http://schemas.microsoft.com/office/powerpoint/2010/main" val="676821064"/>
              </p:ext>
            </p:extLst>
          </p:nvPr>
        </p:nvGraphicFramePr>
        <p:xfrm>
          <a:off x="652093" y="1864360"/>
          <a:ext cx="11409752" cy="4582160"/>
        </p:xfrm>
        <a:graphic>
          <a:graphicData uri="http://schemas.openxmlformats.org/drawingml/2006/table">
            <a:tbl>
              <a:tblPr firstRow="1" bandRow="1">
                <a:tableStyleId>{5C22544A-7EE6-4342-B048-85BDC9FD1C3A}</a:tableStyleId>
              </a:tblPr>
              <a:tblGrid>
                <a:gridCol w="2852438">
                  <a:extLst>
                    <a:ext uri="{9D8B030D-6E8A-4147-A177-3AD203B41FA5}">
                      <a16:colId xmlns:a16="http://schemas.microsoft.com/office/drawing/2014/main" val="4029926284"/>
                    </a:ext>
                  </a:extLst>
                </a:gridCol>
                <a:gridCol w="2852438">
                  <a:extLst>
                    <a:ext uri="{9D8B030D-6E8A-4147-A177-3AD203B41FA5}">
                      <a16:colId xmlns:a16="http://schemas.microsoft.com/office/drawing/2014/main" val="3179950585"/>
                    </a:ext>
                  </a:extLst>
                </a:gridCol>
                <a:gridCol w="2852438">
                  <a:extLst>
                    <a:ext uri="{9D8B030D-6E8A-4147-A177-3AD203B41FA5}">
                      <a16:colId xmlns:a16="http://schemas.microsoft.com/office/drawing/2014/main" val="975309962"/>
                    </a:ext>
                  </a:extLst>
                </a:gridCol>
                <a:gridCol w="2852438">
                  <a:extLst>
                    <a:ext uri="{9D8B030D-6E8A-4147-A177-3AD203B41FA5}">
                      <a16:colId xmlns:a16="http://schemas.microsoft.com/office/drawing/2014/main" val="2301971885"/>
                    </a:ext>
                  </a:extLst>
                </a:gridCol>
              </a:tblGrid>
              <a:tr h="370840">
                <a:tc>
                  <a:txBody>
                    <a:bodyPr/>
                    <a:lstStyle/>
                    <a:p>
                      <a:pPr algn="ctr"/>
                      <a:r>
                        <a:rPr lang="en-US" sz="1400"/>
                        <a:t>Phase 1</a:t>
                      </a:r>
                    </a:p>
                  </a:txBody>
                  <a:tcPr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a:t>Phase 2</a:t>
                      </a:r>
                    </a:p>
                  </a:txBody>
                  <a:tcPr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a:t>Phase 3</a:t>
                      </a:r>
                    </a:p>
                  </a:txBody>
                  <a:tcPr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a:t>Phase 4</a:t>
                      </a:r>
                    </a:p>
                  </a:txBody>
                  <a:tcPr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73361648"/>
                  </a:ext>
                </a:extLst>
              </a:tr>
              <a:tr h="3840480">
                <a:tc>
                  <a:txBody>
                    <a:bodyPr/>
                    <a:lstStyle/>
                    <a:p>
                      <a:pPr algn="ctr"/>
                      <a:r>
                        <a:rPr lang="en-US" sz="1200"/>
                        <a:t>Strategy and Planning</a:t>
                      </a:r>
                    </a:p>
                    <a:p>
                      <a:pPr algn="ctr"/>
                      <a:endParaRPr lang="en-US" sz="12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a:t>Platform, Infrastructure detail design, backlog creation &amp; Implementation ramp up</a:t>
                      </a:r>
                    </a:p>
                    <a:p>
                      <a:pPr algn="ctr"/>
                      <a:endParaRPr lang="en-US" sz="12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a:t>Minimum Viable Product with workloads</a:t>
                      </a:r>
                    </a:p>
                    <a:p>
                      <a:pPr algn="ctr"/>
                      <a:endParaRPr lang="en-US" sz="12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a:t>Scale &amp; Extend</a:t>
                      </a:r>
                    </a:p>
                    <a:p>
                      <a:pPr algn="ctr"/>
                      <a:endParaRPr lang="en-US" sz="12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4525278"/>
                  </a:ext>
                </a:extLst>
              </a:tr>
              <a:tr h="370840">
                <a:tc>
                  <a:txBody>
                    <a:bodyPr/>
                    <a:lstStyle/>
                    <a:p>
                      <a:pPr algn="ctr"/>
                      <a:r>
                        <a:rPr lang="en-US" sz="1200" b="1">
                          <a:solidFill>
                            <a:schemeClr val="tx2"/>
                          </a:solidFill>
                        </a:rPr>
                        <a:t>Metrics Driven</a:t>
                      </a:r>
                    </a:p>
                  </a:txBody>
                  <a:tcPr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2">
                  <a:txBody>
                    <a:bodyPr/>
                    <a:lstStyle/>
                    <a:p>
                      <a:pPr algn="ctr"/>
                      <a:r>
                        <a:rPr lang="en-US" sz="1200" b="1">
                          <a:solidFill>
                            <a:schemeClr val="tx2"/>
                          </a:solidFill>
                        </a:rPr>
                        <a:t>Continuous Value Enablement</a:t>
                      </a:r>
                    </a:p>
                  </a:txBody>
                  <a:tcPr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a:endParaRPr lang="en-US" sz="12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en-US" sz="1200" b="1">
                          <a:solidFill>
                            <a:schemeClr val="tx2"/>
                          </a:solidFill>
                        </a:rPr>
                        <a:t>Delivering Outcomes</a:t>
                      </a:r>
                    </a:p>
                  </a:txBody>
                  <a:tcPr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609707325"/>
                  </a:ext>
                </a:extLst>
              </a:tr>
            </a:tbl>
          </a:graphicData>
        </a:graphic>
      </p:graphicFrame>
      <p:grpSp>
        <p:nvGrpSpPr>
          <p:cNvPr id="315" name="Group 314">
            <a:extLst>
              <a:ext uri="{FF2B5EF4-FFF2-40B4-BE49-F238E27FC236}">
                <a16:creationId xmlns:a16="http://schemas.microsoft.com/office/drawing/2014/main" id="{E4F2A1FC-C833-413A-8510-34477F557AFA}"/>
              </a:ext>
            </a:extLst>
          </p:cNvPr>
          <p:cNvGrpSpPr/>
          <p:nvPr/>
        </p:nvGrpSpPr>
        <p:grpSpPr>
          <a:xfrm>
            <a:off x="600454" y="3036357"/>
            <a:ext cx="11461389" cy="3078316"/>
            <a:chOff x="258435" y="1941058"/>
            <a:chExt cx="11770715" cy="2925589"/>
          </a:xfrm>
        </p:grpSpPr>
        <p:grpSp>
          <p:nvGrpSpPr>
            <p:cNvPr id="316" name="Group 315">
              <a:extLst>
                <a:ext uri="{FF2B5EF4-FFF2-40B4-BE49-F238E27FC236}">
                  <a16:creationId xmlns:a16="http://schemas.microsoft.com/office/drawing/2014/main" id="{B10FD801-835C-4B12-BFA5-45295AAF79E0}"/>
                </a:ext>
              </a:extLst>
            </p:cNvPr>
            <p:cNvGrpSpPr/>
            <p:nvPr/>
          </p:nvGrpSpPr>
          <p:grpSpPr bwMode="gray">
            <a:xfrm>
              <a:off x="337093" y="1941058"/>
              <a:ext cx="11607365" cy="2134543"/>
              <a:chOff x="1474021" y="2585441"/>
              <a:chExt cx="8847826" cy="2104926"/>
            </a:xfrm>
          </p:grpSpPr>
          <p:grpSp>
            <p:nvGrpSpPr>
              <p:cNvPr id="400" name="Group 399">
                <a:extLst>
                  <a:ext uri="{FF2B5EF4-FFF2-40B4-BE49-F238E27FC236}">
                    <a16:creationId xmlns:a16="http://schemas.microsoft.com/office/drawing/2014/main" id="{1F4B295D-2227-4078-ADA5-8C9C8A71F747}"/>
                  </a:ext>
                </a:extLst>
              </p:cNvPr>
              <p:cNvGrpSpPr/>
              <p:nvPr/>
            </p:nvGrpSpPr>
            <p:grpSpPr bwMode="gray">
              <a:xfrm>
                <a:off x="1474021" y="2788737"/>
                <a:ext cx="8629273" cy="1901630"/>
                <a:chOff x="1641231" y="2270714"/>
                <a:chExt cx="8874685" cy="2266117"/>
              </a:xfrm>
            </p:grpSpPr>
            <p:sp>
              <p:nvSpPr>
                <p:cNvPr id="402" name="Freeform 336">
                  <a:extLst>
                    <a:ext uri="{FF2B5EF4-FFF2-40B4-BE49-F238E27FC236}">
                      <a16:creationId xmlns:a16="http://schemas.microsoft.com/office/drawing/2014/main" id="{20EE8F16-105D-43E3-AD63-6DE1D4EBA851}"/>
                    </a:ext>
                  </a:extLst>
                </p:cNvPr>
                <p:cNvSpPr/>
                <p:nvPr/>
              </p:nvSpPr>
              <p:spPr bwMode="gray">
                <a:xfrm>
                  <a:off x="1641231" y="2274277"/>
                  <a:ext cx="8862646" cy="2262554"/>
                </a:xfrm>
                <a:custGeom>
                  <a:avLst/>
                  <a:gdLst>
                    <a:gd name="connsiteX0" fmla="*/ 0 w 8862646"/>
                    <a:gd name="connsiteY0" fmla="*/ 2262554 h 2262554"/>
                    <a:gd name="connsiteX1" fmla="*/ 1617784 w 8862646"/>
                    <a:gd name="connsiteY1" fmla="*/ 1266092 h 2262554"/>
                    <a:gd name="connsiteX2" fmla="*/ 3962400 w 8862646"/>
                    <a:gd name="connsiteY2" fmla="*/ 1629508 h 2262554"/>
                    <a:gd name="connsiteX3" fmla="*/ 5615354 w 8862646"/>
                    <a:gd name="connsiteY3" fmla="*/ 750277 h 2262554"/>
                    <a:gd name="connsiteX4" fmla="*/ 7620000 w 8862646"/>
                    <a:gd name="connsiteY4" fmla="*/ 949569 h 2262554"/>
                    <a:gd name="connsiteX5" fmla="*/ 8862646 w 8862646"/>
                    <a:gd name="connsiteY5" fmla="*/ 0 h 2262554"/>
                    <a:gd name="connsiteX6" fmla="*/ 8862646 w 8862646"/>
                    <a:gd name="connsiteY6" fmla="*/ 0 h 226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2646" h="2262554">
                      <a:moveTo>
                        <a:pt x="0" y="2262554"/>
                      </a:moveTo>
                      <a:cubicBezTo>
                        <a:pt x="478692" y="1817077"/>
                        <a:pt x="957384" y="1371600"/>
                        <a:pt x="1617784" y="1266092"/>
                      </a:cubicBezTo>
                      <a:cubicBezTo>
                        <a:pt x="2278184" y="1160584"/>
                        <a:pt x="3296138" y="1715477"/>
                        <a:pt x="3962400" y="1629508"/>
                      </a:cubicBezTo>
                      <a:cubicBezTo>
                        <a:pt x="4628662" y="1543539"/>
                        <a:pt x="5005754" y="863600"/>
                        <a:pt x="5615354" y="750277"/>
                      </a:cubicBezTo>
                      <a:cubicBezTo>
                        <a:pt x="6224954" y="636954"/>
                        <a:pt x="7078785" y="1074615"/>
                        <a:pt x="7620000" y="949569"/>
                      </a:cubicBezTo>
                      <a:cubicBezTo>
                        <a:pt x="8161215" y="824523"/>
                        <a:pt x="8862646" y="0"/>
                        <a:pt x="8862646" y="0"/>
                      </a:cubicBezTo>
                      <a:lnTo>
                        <a:pt x="8862646" y="0"/>
                      </a:lnTo>
                    </a:path>
                  </a:pathLst>
                </a:custGeom>
                <a:noFill/>
                <a:ln w="254000" cap="flat" cmpd="sng" algn="ctr">
                  <a:solidFill>
                    <a:sysClr val="window" lastClr="FFFFFF">
                      <a:lumMod val="75000"/>
                    </a:sysClr>
                  </a:solidFill>
                  <a:prstDash val="solid"/>
                </a:ln>
                <a:effectLst/>
              </p:spPr>
              <p:txBody>
                <a:bodyPr rtlCol="0" anchor="ctr"/>
                <a:lstStyle/>
                <a:p>
                  <a:pPr marL="0" marR="0" lvl="0" indent="0" algn="ctr" defTabSz="456971"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mn-ea"/>
                    <a:cs typeface="Arial" charset="0"/>
                  </a:endParaRPr>
                </a:p>
              </p:txBody>
            </p:sp>
            <p:sp>
              <p:nvSpPr>
                <p:cNvPr id="403" name="Freeform 337">
                  <a:extLst>
                    <a:ext uri="{FF2B5EF4-FFF2-40B4-BE49-F238E27FC236}">
                      <a16:creationId xmlns:a16="http://schemas.microsoft.com/office/drawing/2014/main" id="{19F628F0-7446-4E4E-A587-6DB9FDB2AA5C}"/>
                    </a:ext>
                  </a:extLst>
                </p:cNvPr>
                <p:cNvSpPr/>
                <p:nvPr/>
              </p:nvSpPr>
              <p:spPr bwMode="gray">
                <a:xfrm>
                  <a:off x="1653270" y="2270714"/>
                  <a:ext cx="8862646" cy="2262554"/>
                </a:xfrm>
                <a:custGeom>
                  <a:avLst/>
                  <a:gdLst>
                    <a:gd name="connsiteX0" fmla="*/ 0 w 8862646"/>
                    <a:gd name="connsiteY0" fmla="*/ 2262554 h 2262554"/>
                    <a:gd name="connsiteX1" fmla="*/ 1617784 w 8862646"/>
                    <a:gd name="connsiteY1" fmla="*/ 1266092 h 2262554"/>
                    <a:gd name="connsiteX2" fmla="*/ 3962400 w 8862646"/>
                    <a:gd name="connsiteY2" fmla="*/ 1629508 h 2262554"/>
                    <a:gd name="connsiteX3" fmla="*/ 5615354 w 8862646"/>
                    <a:gd name="connsiteY3" fmla="*/ 750277 h 2262554"/>
                    <a:gd name="connsiteX4" fmla="*/ 7620000 w 8862646"/>
                    <a:gd name="connsiteY4" fmla="*/ 949569 h 2262554"/>
                    <a:gd name="connsiteX5" fmla="*/ 8862646 w 8862646"/>
                    <a:gd name="connsiteY5" fmla="*/ 0 h 2262554"/>
                    <a:gd name="connsiteX6" fmla="*/ 8862646 w 8862646"/>
                    <a:gd name="connsiteY6" fmla="*/ 0 h 226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2646" h="2262554">
                      <a:moveTo>
                        <a:pt x="0" y="2262554"/>
                      </a:moveTo>
                      <a:cubicBezTo>
                        <a:pt x="478692" y="1817077"/>
                        <a:pt x="957384" y="1371600"/>
                        <a:pt x="1617784" y="1266092"/>
                      </a:cubicBezTo>
                      <a:cubicBezTo>
                        <a:pt x="2278184" y="1160584"/>
                        <a:pt x="3296138" y="1715477"/>
                        <a:pt x="3962400" y="1629508"/>
                      </a:cubicBezTo>
                      <a:cubicBezTo>
                        <a:pt x="4628662" y="1543539"/>
                        <a:pt x="5005754" y="863600"/>
                        <a:pt x="5615354" y="750277"/>
                      </a:cubicBezTo>
                      <a:cubicBezTo>
                        <a:pt x="6224954" y="636954"/>
                        <a:pt x="7078785" y="1074615"/>
                        <a:pt x="7620000" y="949569"/>
                      </a:cubicBezTo>
                      <a:cubicBezTo>
                        <a:pt x="8161215" y="824523"/>
                        <a:pt x="8862646" y="0"/>
                        <a:pt x="8862646" y="0"/>
                      </a:cubicBezTo>
                      <a:lnTo>
                        <a:pt x="8862646" y="0"/>
                      </a:lnTo>
                    </a:path>
                  </a:pathLst>
                </a:custGeom>
                <a:noFill/>
                <a:ln w="25400" cap="flat" cmpd="sng" algn="ctr">
                  <a:solidFill>
                    <a:sysClr val="window" lastClr="FFFFFF"/>
                  </a:solidFill>
                  <a:prstDash val="lgDash"/>
                </a:ln>
                <a:effectLst/>
              </p:spPr>
              <p:txBody>
                <a:bodyPr rtlCol="0" anchor="ctr"/>
                <a:lstStyle/>
                <a:p>
                  <a:pPr marL="0" marR="0" lvl="0" indent="0" algn="ctr" defTabSz="456971"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mn-ea"/>
                    <a:cs typeface="Arial" charset="0"/>
                  </a:endParaRPr>
                </a:p>
              </p:txBody>
            </p:sp>
          </p:grpSp>
          <p:sp>
            <p:nvSpPr>
              <p:cNvPr id="401" name="Isosceles Triangle 400">
                <a:extLst>
                  <a:ext uri="{FF2B5EF4-FFF2-40B4-BE49-F238E27FC236}">
                    <a16:creationId xmlns:a16="http://schemas.microsoft.com/office/drawing/2014/main" id="{AA39BC88-F14E-4A09-A8D9-1BC5F1E07460}"/>
                  </a:ext>
                </a:extLst>
              </p:cNvPr>
              <p:cNvSpPr/>
              <p:nvPr/>
            </p:nvSpPr>
            <p:spPr bwMode="gray">
              <a:xfrm rot="13349156" flipV="1">
                <a:off x="9855376" y="2585441"/>
                <a:ext cx="466471" cy="335724"/>
              </a:xfrm>
              <a:prstGeom prst="triangle">
                <a:avLst/>
              </a:prstGeom>
              <a:solidFill>
                <a:sysClr val="window" lastClr="FFFFFF">
                  <a:lumMod val="75000"/>
                </a:sysClr>
              </a:solidFill>
              <a:ln w="12700" cap="flat" cmpd="sng" algn="ctr">
                <a:noFill/>
                <a:prstDash val="solid"/>
              </a:ln>
              <a:effectLst/>
            </p:spPr>
            <p:txBody>
              <a:bodyPr wrap="square" lIns="35981" tIns="35981" rIns="35981" bIns="35981" rtlCol="0" anchor="ctr">
                <a:spAutoFit/>
              </a:bodyPr>
              <a:lstStyle/>
              <a:p>
                <a:pPr marL="0" marR="0" lvl="0" indent="0" algn="ctr" defTabSz="456971"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mn-ea"/>
                  <a:cs typeface="Arial" charset="0"/>
                </a:endParaRPr>
              </a:p>
            </p:txBody>
          </p:sp>
        </p:grpSp>
        <p:grpSp>
          <p:nvGrpSpPr>
            <p:cNvPr id="317" name="Group 316">
              <a:extLst>
                <a:ext uri="{FF2B5EF4-FFF2-40B4-BE49-F238E27FC236}">
                  <a16:creationId xmlns:a16="http://schemas.microsoft.com/office/drawing/2014/main" id="{437F6133-7382-42F6-801F-99327D0119F9}"/>
                </a:ext>
              </a:extLst>
            </p:cNvPr>
            <p:cNvGrpSpPr>
              <a:grpSpLocks/>
            </p:cNvGrpSpPr>
            <p:nvPr/>
          </p:nvGrpSpPr>
          <p:grpSpPr bwMode="auto">
            <a:xfrm rot="19635237">
              <a:off x="519038" y="3629567"/>
              <a:ext cx="554835" cy="740844"/>
              <a:chOff x="4450823" y="1340698"/>
              <a:chExt cx="503974" cy="733039"/>
            </a:xfrm>
            <a:solidFill>
              <a:srgbClr val="00B0F0"/>
            </a:solidFill>
          </p:grpSpPr>
          <p:sp>
            <p:nvSpPr>
              <p:cNvPr id="398" name="Isosceles Triangle 397">
                <a:extLst>
                  <a:ext uri="{FF2B5EF4-FFF2-40B4-BE49-F238E27FC236}">
                    <a16:creationId xmlns:a16="http://schemas.microsoft.com/office/drawing/2014/main" id="{590171AF-6648-4D37-A1A6-C3EE841FB876}"/>
                  </a:ext>
                </a:extLst>
              </p:cNvPr>
              <p:cNvSpPr/>
              <p:nvPr/>
            </p:nvSpPr>
            <p:spPr>
              <a:xfrm rot="10800000">
                <a:off x="4489817" y="1715716"/>
                <a:ext cx="431884" cy="358021"/>
              </a:xfrm>
              <a:prstGeom prst="triangle">
                <a:avLst/>
              </a:prstGeom>
              <a:solidFill>
                <a:srgbClr val="00A3AE"/>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99" name="Oval 398">
                <a:extLst>
                  <a:ext uri="{FF2B5EF4-FFF2-40B4-BE49-F238E27FC236}">
                    <a16:creationId xmlns:a16="http://schemas.microsoft.com/office/drawing/2014/main" id="{82D8A045-34A6-4EA1-A913-D87CC956F7FA}"/>
                  </a:ext>
                </a:extLst>
              </p:cNvPr>
              <p:cNvSpPr/>
              <p:nvPr/>
            </p:nvSpPr>
            <p:spPr>
              <a:xfrm>
                <a:off x="4450823" y="1340698"/>
                <a:ext cx="503974" cy="504122"/>
              </a:xfrm>
              <a:prstGeom prst="ellipse">
                <a:avLst/>
              </a:prstGeom>
              <a:solidFill>
                <a:srgbClr val="00A3AE"/>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sp>
          <p:nvSpPr>
            <p:cNvPr id="318" name="TextBox 317">
              <a:extLst>
                <a:ext uri="{FF2B5EF4-FFF2-40B4-BE49-F238E27FC236}">
                  <a16:creationId xmlns:a16="http://schemas.microsoft.com/office/drawing/2014/main" id="{C9543571-47B0-4FCB-A00C-0B4A4DFDE4B3}"/>
                </a:ext>
              </a:extLst>
            </p:cNvPr>
            <p:cNvSpPr txBox="1">
              <a:spLocks noChangeArrowheads="1"/>
            </p:cNvSpPr>
            <p:nvPr/>
          </p:nvSpPr>
          <p:spPr bwMode="auto">
            <a:xfrm>
              <a:off x="347684" y="4410007"/>
              <a:ext cx="1368550" cy="369725"/>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solidFill>
                    <a:srgbClr val="000000"/>
                  </a:solidFill>
                  <a:effectLst/>
                  <a:uLnTx/>
                  <a:uFillTx/>
                  <a:latin typeface="EYInterstate Light" panose="02000506000000020004" pitchFamily="2" charset="0"/>
                  <a:ea typeface="MS PGothic" panose="020B0600070205080204" pitchFamily="34" charset="-128"/>
                  <a:cs typeface="Arial"/>
                </a:rPr>
                <a:t>I. Review </a:t>
              </a:r>
              <a:r>
                <a:rPr kumimoji="0" lang="en-US" sz="800" b="1" i="0" u="none" strike="noStrike" kern="0" cap="none" spc="0" normalizeH="0" baseline="0" noProof="0">
                  <a:ln>
                    <a:noFill/>
                  </a:ln>
                  <a:solidFill>
                    <a:srgbClr val="00A3AE"/>
                  </a:solidFill>
                  <a:effectLst/>
                  <a:uLnTx/>
                  <a:uFillTx/>
                  <a:latin typeface="EYInterstate Light" panose="02000506000000020004" pitchFamily="2" charset="0"/>
                  <a:ea typeface="MS PGothic" panose="020B0600070205080204" pitchFamily="34" charset="-128"/>
                  <a:cs typeface="Arial"/>
                </a:rPr>
                <a:t>current state, existing assets </a:t>
              </a:r>
              <a:r>
                <a:rPr kumimoji="0" lang="en-US" sz="800" b="1" i="0" u="none" strike="noStrike" kern="0" cap="none" spc="0" normalizeH="0" baseline="0" noProof="0">
                  <a:ln>
                    <a:noFill/>
                  </a:ln>
                  <a:solidFill>
                    <a:srgbClr val="000000"/>
                  </a:solidFill>
                  <a:effectLst/>
                  <a:uLnTx/>
                  <a:uFillTx/>
                  <a:latin typeface="EYInterstate Light" panose="02000506000000020004" pitchFamily="2" charset="0"/>
                  <a:ea typeface="MS PGothic" panose="020B0600070205080204" pitchFamily="34" charset="-128"/>
                  <a:cs typeface="Arial"/>
                </a:rPr>
                <a:t>&amp; </a:t>
              </a:r>
              <a:r>
                <a:rPr kumimoji="0" lang="en-US" sz="800" b="1" i="0" u="none" strike="noStrike" kern="0" cap="none" spc="0" normalizeH="0" baseline="0" noProof="0">
                  <a:ln>
                    <a:noFill/>
                  </a:ln>
                  <a:solidFill>
                    <a:srgbClr val="00A3AE"/>
                  </a:solidFill>
                  <a:effectLst/>
                  <a:uLnTx/>
                  <a:uFillTx/>
                  <a:latin typeface="EYInterstate Light" panose="02000506000000020004" pitchFamily="2" charset="0"/>
                  <a:ea typeface="MS PGothic" panose="020B0600070205080204" pitchFamily="34" charset="-128"/>
                  <a:cs typeface="Arial"/>
                </a:rPr>
                <a:t>determine viability</a:t>
              </a:r>
            </a:p>
          </p:txBody>
        </p:sp>
        <p:grpSp>
          <p:nvGrpSpPr>
            <p:cNvPr id="319" name="Group 318">
              <a:extLst>
                <a:ext uri="{FF2B5EF4-FFF2-40B4-BE49-F238E27FC236}">
                  <a16:creationId xmlns:a16="http://schemas.microsoft.com/office/drawing/2014/main" id="{82E9AC3D-5796-412F-8DDD-B2AFE073E0D2}"/>
                </a:ext>
              </a:extLst>
            </p:cNvPr>
            <p:cNvGrpSpPr>
              <a:grpSpLocks/>
            </p:cNvGrpSpPr>
            <p:nvPr/>
          </p:nvGrpSpPr>
          <p:grpSpPr bwMode="auto">
            <a:xfrm rot="9201434">
              <a:off x="924830" y="3104975"/>
              <a:ext cx="554835" cy="740844"/>
              <a:chOff x="4450823" y="1340698"/>
              <a:chExt cx="503974" cy="733039"/>
            </a:xfrm>
            <a:solidFill>
              <a:srgbClr val="00B0F0"/>
            </a:solidFill>
          </p:grpSpPr>
          <p:sp>
            <p:nvSpPr>
              <p:cNvPr id="396" name="Isosceles Triangle 395">
                <a:extLst>
                  <a:ext uri="{FF2B5EF4-FFF2-40B4-BE49-F238E27FC236}">
                    <a16:creationId xmlns:a16="http://schemas.microsoft.com/office/drawing/2014/main" id="{024C92EA-9016-4107-A449-59C2D1FD970A}"/>
                  </a:ext>
                </a:extLst>
              </p:cNvPr>
              <p:cNvSpPr/>
              <p:nvPr/>
            </p:nvSpPr>
            <p:spPr>
              <a:xfrm rot="10800000">
                <a:off x="4489817" y="1715716"/>
                <a:ext cx="431884" cy="358021"/>
              </a:xfrm>
              <a:prstGeom prst="triangle">
                <a:avLst/>
              </a:prstGeom>
              <a:solidFill>
                <a:srgbClr val="00A3AE"/>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97" name="Oval 396">
                <a:extLst>
                  <a:ext uri="{FF2B5EF4-FFF2-40B4-BE49-F238E27FC236}">
                    <a16:creationId xmlns:a16="http://schemas.microsoft.com/office/drawing/2014/main" id="{2F9733CC-D188-48B9-A1A7-A289492E6ECB}"/>
                  </a:ext>
                </a:extLst>
              </p:cNvPr>
              <p:cNvSpPr/>
              <p:nvPr/>
            </p:nvSpPr>
            <p:spPr>
              <a:xfrm>
                <a:off x="4450823" y="1340698"/>
                <a:ext cx="503974" cy="504122"/>
              </a:xfrm>
              <a:prstGeom prst="ellipse">
                <a:avLst/>
              </a:prstGeom>
              <a:solidFill>
                <a:srgbClr val="00A3AE"/>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0" name="Group 319">
              <a:extLst>
                <a:ext uri="{FF2B5EF4-FFF2-40B4-BE49-F238E27FC236}">
                  <a16:creationId xmlns:a16="http://schemas.microsoft.com/office/drawing/2014/main" id="{E1F90920-5B30-4E83-AD08-2825DE5849C1}"/>
                </a:ext>
              </a:extLst>
            </p:cNvPr>
            <p:cNvGrpSpPr>
              <a:grpSpLocks/>
            </p:cNvGrpSpPr>
            <p:nvPr/>
          </p:nvGrpSpPr>
          <p:grpSpPr bwMode="auto">
            <a:xfrm rot="11681304">
              <a:off x="1563446" y="2834817"/>
              <a:ext cx="554835" cy="740844"/>
              <a:chOff x="4450823" y="1340698"/>
              <a:chExt cx="503974" cy="733039"/>
            </a:xfrm>
            <a:solidFill>
              <a:srgbClr val="92D050"/>
            </a:solidFill>
          </p:grpSpPr>
          <p:sp>
            <p:nvSpPr>
              <p:cNvPr id="394" name="Isosceles Triangle 393">
                <a:extLst>
                  <a:ext uri="{FF2B5EF4-FFF2-40B4-BE49-F238E27FC236}">
                    <a16:creationId xmlns:a16="http://schemas.microsoft.com/office/drawing/2014/main" id="{06741BCA-4961-4D10-9EBB-5D42BF7EDED6}"/>
                  </a:ext>
                </a:extLst>
              </p:cNvPr>
              <p:cNvSpPr/>
              <p:nvPr/>
            </p:nvSpPr>
            <p:spPr>
              <a:xfrm rot="10800000">
                <a:off x="4489817" y="1715716"/>
                <a:ext cx="431884" cy="358021"/>
              </a:xfrm>
              <a:prstGeom prst="triangl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95" name="Oval 394">
                <a:extLst>
                  <a:ext uri="{FF2B5EF4-FFF2-40B4-BE49-F238E27FC236}">
                    <a16:creationId xmlns:a16="http://schemas.microsoft.com/office/drawing/2014/main" id="{0F2D2398-E65B-446E-846F-B98BB162C908}"/>
                  </a:ext>
                </a:extLst>
              </p:cNvPr>
              <p:cNvSpPr/>
              <p:nvPr/>
            </p:nvSpPr>
            <p:spPr>
              <a:xfrm>
                <a:off x="4450823" y="1340698"/>
                <a:ext cx="503974" cy="504122"/>
              </a:xfrm>
              <a:prstGeom prst="ellips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1" name="Group 320">
              <a:extLst>
                <a:ext uri="{FF2B5EF4-FFF2-40B4-BE49-F238E27FC236}">
                  <a16:creationId xmlns:a16="http://schemas.microsoft.com/office/drawing/2014/main" id="{D4A711C1-0BE9-4681-B6E5-2CA29BD1DE30}"/>
                </a:ext>
              </a:extLst>
            </p:cNvPr>
            <p:cNvGrpSpPr>
              <a:grpSpLocks/>
            </p:cNvGrpSpPr>
            <p:nvPr/>
          </p:nvGrpSpPr>
          <p:grpSpPr bwMode="auto">
            <a:xfrm rot="1412993">
              <a:off x="2100194" y="2995386"/>
              <a:ext cx="554835" cy="740844"/>
              <a:chOff x="4450823" y="1340698"/>
              <a:chExt cx="503974" cy="733039"/>
            </a:xfrm>
            <a:solidFill>
              <a:srgbClr val="FFC000"/>
            </a:solidFill>
          </p:grpSpPr>
          <p:sp>
            <p:nvSpPr>
              <p:cNvPr id="392" name="Isosceles Triangle 391">
                <a:extLst>
                  <a:ext uri="{FF2B5EF4-FFF2-40B4-BE49-F238E27FC236}">
                    <a16:creationId xmlns:a16="http://schemas.microsoft.com/office/drawing/2014/main" id="{AABCB704-BAE6-4D62-AA85-277AC2DE581C}"/>
                  </a:ext>
                </a:extLst>
              </p:cNvPr>
              <p:cNvSpPr/>
              <p:nvPr/>
            </p:nvSpPr>
            <p:spPr>
              <a:xfrm rot="10800000">
                <a:off x="4489817" y="1715716"/>
                <a:ext cx="431884" cy="358021"/>
              </a:xfrm>
              <a:prstGeom prst="triangl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93" name="Oval 392">
                <a:extLst>
                  <a:ext uri="{FF2B5EF4-FFF2-40B4-BE49-F238E27FC236}">
                    <a16:creationId xmlns:a16="http://schemas.microsoft.com/office/drawing/2014/main" id="{24EE7ABF-A9EF-46E9-BD35-5658B46684B8}"/>
                  </a:ext>
                </a:extLst>
              </p:cNvPr>
              <p:cNvSpPr/>
              <p:nvPr/>
            </p:nvSpPr>
            <p:spPr>
              <a:xfrm>
                <a:off x="4450823" y="1340698"/>
                <a:ext cx="503974" cy="504122"/>
              </a:xfrm>
              <a:prstGeom prst="ellips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2" name="Group 321">
              <a:extLst>
                <a:ext uri="{FF2B5EF4-FFF2-40B4-BE49-F238E27FC236}">
                  <a16:creationId xmlns:a16="http://schemas.microsoft.com/office/drawing/2014/main" id="{02D71989-8AF5-4AF6-9B9C-A2BCE480318D}"/>
                </a:ext>
              </a:extLst>
            </p:cNvPr>
            <p:cNvGrpSpPr>
              <a:grpSpLocks/>
            </p:cNvGrpSpPr>
            <p:nvPr/>
          </p:nvGrpSpPr>
          <p:grpSpPr bwMode="auto">
            <a:xfrm rot="11488362">
              <a:off x="2774944" y="2809417"/>
              <a:ext cx="554835" cy="740844"/>
              <a:chOff x="4450823" y="1340698"/>
              <a:chExt cx="503974" cy="733039"/>
            </a:xfrm>
            <a:solidFill>
              <a:srgbClr val="00B0F0"/>
            </a:solidFill>
          </p:grpSpPr>
          <p:sp>
            <p:nvSpPr>
              <p:cNvPr id="390" name="Isosceles Triangle 389">
                <a:extLst>
                  <a:ext uri="{FF2B5EF4-FFF2-40B4-BE49-F238E27FC236}">
                    <a16:creationId xmlns:a16="http://schemas.microsoft.com/office/drawing/2014/main" id="{724F19C3-6F49-4E04-9DCB-6FD9CD978B7E}"/>
                  </a:ext>
                </a:extLst>
              </p:cNvPr>
              <p:cNvSpPr/>
              <p:nvPr/>
            </p:nvSpPr>
            <p:spPr>
              <a:xfrm rot="10800000">
                <a:off x="4489817" y="1715716"/>
                <a:ext cx="431884" cy="358021"/>
              </a:xfrm>
              <a:prstGeom prst="triangle">
                <a:avLst/>
              </a:prstGeom>
              <a:solidFill>
                <a:srgbClr val="00A3AE"/>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91" name="Oval 390">
                <a:extLst>
                  <a:ext uri="{FF2B5EF4-FFF2-40B4-BE49-F238E27FC236}">
                    <a16:creationId xmlns:a16="http://schemas.microsoft.com/office/drawing/2014/main" id="{AADABBF3-8966-4DBD-A9D1-91B5507F0A48}"/>
                  </a:ext>
                </a:extLst>
              </p:cNvPr>
              <p:cNvSpPr/>
              <p:nvPr/>
            </p:nvSpPr>
            <p:spPr>
              <a:xfrm>
                <a:off x="4450823" y="1340698"/>
                <a:ext cx="503974" cy="504122"/>
              </a:xfrm>
              <a:prstGeom prst="ellipse">
                <a:avLst/>
              </a:prstGeom>
              <a:solidFill>
                <a:srgbClr val="00A3AE"/>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3" name="Group 322">
              <a:extLst>
                <a:ext uri="{FF2B5EF4-FFF2-40B4-BE49-F238E27FC236}">
                  <a16:creationId xmlns:a16="http://schemas.microsoft.com/office/drawing/2014/main" id="{FF9E9006-C3A7-441D-A056-FBC5F6CEC80B}"/>
                </a:ext>
              </a:extLst>
            </p:cNvPr>
            <p:cNvGrpSpPr>
              <a:grpSpLocks/>
            </p:cNvGrpSpPr>
            <p:nvPr/>
          </p:nvGrpSpPr>
          <p:grpSpPr bwMode="auto">
            <a:xfrm rot="21392323">
              <a:off x="3363003" y="3063589"/>
              <a:ext cx="554835" cy="740844"/>
              <a:chOff x="4450823" y="1340698"/>
              <a:chExt cx="503974" cy="733039"/>
            </a:xfrm>
            <a:solidFill>
              <a:srgbClr val="00B0F0"/>
            </a:solidFill>
          </p:grpSpPr>
          <p:sp>
            <p:nvSpPr>
              <p:cNvPr id="388" name="Isosceles Triangle 387">
                <a:extLst>
                  <a:ext uri="{FF2B5EF4-FFF2-40B4-BE49-F238E27FC236}">
                    <a16:creationId xmlns:a16="http://schemas.microsoft.com/office/drawing/2014/main" id="{D920FB90-C37C-451F-B173-075B5769E81C}"/>
                  </a:ext>
                </a:extLst>
              </p:cNvPr>
              <p:cNvSpPr/>
              <p:nvPr/>
            </p:nvSpPr>
            <p:spPr>
              <a:xfrm rot="10800000">
                <a:off x="4489817" y="1715716"/>
                <a:ext cx="431884" cy="358021"/>
              </a:xfrm>
              <a:prstGeom prst="triangl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89" name="Oval 388">
                <a:extLst>
                  <a:ext uri="{FF2B5EF4-FFF2-40B4-BE49-F238E27FC236}">
                    <a16:creationId xmlns:a16="http://schemas.microsoft.com/office/drawing/2014/main" id="{6EC58586-BC1A-48AE-BA0E-999A788B24E3}"/>
                  </a:ext>
                </a:extLst>
              </p:cNvPr>
              <p:cNvSpPr/>
              <p:nvPr/>
            </p:nvSpPr>
            <p:spPr>
              <a:xfrm rot="1847310">
                <a:off x="4450823" y="1340698"/>
                <a:ext cx="503974" cy="504122"/>
              </a:xfrm>
              <a:prstGeom prst="ellips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4" name="Group 323">
              <a:extLst>
                <a:ext uri="{FF2B5EF4-FFF2-40B4-BE49-F238E27FC236}">
                  <a16:creationId xmlns:a16="http://schemas.microsoft.com/office/drawing/2014/main" id="{FD325BB5-B465-41DF-877B-55B66DDF0AB8}"/>
                </a:ext>
              </a:extLst>
            </p:cNvPr>
            <p:cNvGrpSpPr>
              <a:grpSpLocks/>
            </p:cNvGrpSpPr>
            <p:nvPr/>
          </p:nvGrpSpPr>
          <p:grpSpPr bwMode="auto">
            <a:xfrm rot="10800000">
              <a:off x="3983745" y="2957684"/>
              <a:ext cx="554835" cy="740844"/>
              <a:chOff x="4450823" y="1340698"/>
              <a:chExt cx="503974" cy="733039"/>
            </a:xfrm>
            <a:solidFill>
              <a:srgbClr val="FFC000"/>
            </a:solidFill>
          </p:grpSpPr>
          <p:sp>
            <p:nvSpPr>
              <p:cNvPr id="386" name="Isosceles Triangle 385">
                <a:extLst>
                  <a:ext uri="{FF2B5EF4-FFF2-40B4-BE49-F238E27FC236}">
                    <a16:creationId xmlns:a16="http://schemas.microsoft.com/office/drawing/2014/main" id="{7FBD7EA5-D279-4DA2-862F-8F1431C4D07E}"/>
                  </a:ext>
                </a:extLst>
              </p:cNvPr>
              <p:cNvSpPr/>
              <p:nvPr/>
            </p:nvSpPr>
            <p:spPr>
              <a:xfrm rot="10800000">
                <a:off x="4489817" y="1715716"/>
                <a:ext cx="431884" cy="358021"/>
              </a:xfrm>
              <a:prstGeom prst="triangl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87" name="Oval 386">
                <a:extLst>
                  <a:ext uri="{FF2B5EF4-FFF2-40B4-BE49-F238E27FC236}">
                    <a16:creationId xmlns:a16="http://schemas.microsoft.com/office/drawing/2014/main" id="{71E60DF3-5214-405F-B5C5-4A5273F0BD6C}"/>
                  </a:ext>
                </a:extLst>
              </p:cNvPr>
              <p:cNvSpPr/>
              <p:nvPr/>
            </p:nvSpPr>
            <p:spPr>
              <a:xfrm>
                <a:off x="4450823" y="1340698"/>
                <a:ext cx="503974" cy="504122"/>
              </a:xfrm>
              <a:prstGeom prst="ellips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5" name="Group 324">
              <a:extLst>
                <a:ext uri="{FF2B5EF4-FFF2-40B4-BE49-F238E27FC236}">
                  <a16:creationId xmlns:a16="http://schemas.microsoft.com/office/drawing/2014/main" id="{C9D4B7DB-8E53-4927-BD38-3AB0C49D3652}"/>
                </a:ext>
              </a:extLst>
            </p:cNvPr>
            <p:cNvGrpSpPr>
              <a:grpSpLocks/>
            </p:cNvGrpSpPr>
            <p:nvPr/>
          </p:nvGrpSpPr>
          <p:grpSpPr bwMode="auto">
            <a:xfrm rot="21180415">
              <a:off x="5227224" y="3122084"/>
              <a:ext cx="554835" cy="740844"/>
              <a:chOff x="4450823" y="1340698"/>
              <a:chExt cx="503974" cy="733039"/>
            </a:xfrm>
            <a:solidFill>
              <a:srgbClr val="FFC000"/>
            </a:solidFill>
          </p:grpSpPr>
          <p:sp>
            <p:nvSpPr>
              <p:cNvPr id="384" name="Isosceles Triangle 383">
                <a:extLst>
                  <a:ext uri="{FF2B5EF4-FFF2-40B4-BE49-F238E27FC236}">
                    <a16:creationId xmlns:a16="http://schemas.microsoft.com/office/drawing/2014/main" id="{B22EA8A9-32FB-4470-85AC-90F45F6F349B}"/>
                  </a:ext>
                </a:extLst>
              </p:cNvPr>
              <p:cNvSpPr/>
              <p:nvPr/>
            </p:nvSpPr>
            <p:spPr>
              <a:xfrm rot="10800000">
                <a:off x="4489817" y="1715716"/>
                <a:ext cx="431884" cy="358021"/>
              </a:xfrm>
              <a:prstGeom prst="triangle">
                <a:avLst/>
              </a:prstGeom>
              <a:solidFill>
                <a:srgbClr val="FFE600"/>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85" name="Oval 384">
                <a:extLst>
                  <a:ext uri="{FF2B5EF4-FFF2-40B4-BE49-F238E27FC236}">
                    <a16:creationId xmlns:a16="http://schemas.microsoft.com/office/drawing/2014/main" id="{6E63BF6A-FA9C-408A-85BE-E61598E90942}"/>
                  </a:ext>
                </a:extLst>
              </p:cNvPr>
              <p:cNvSpPr/>
              <p:nvPr/>
            </p:nvSpPr>
            <p:spPr>
              <a:xfrm>
                <a:off x="4450823" y="1340698"/>
                <a:ext cx="503974" cy="504122"/>
              </a:xfrm>
              <a:prstGeom prst="ellipse">
                <a:avLst/>
              </a:prstGeom>
              <a:solidFill>
                <a:srgbClr val="FFE600"/>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6" name="Group 325">
              <a:extLst>
                <a:ext uri="{FF2B5EF4-FFF2-40B4-BE49-F238E27FC236}">
                  <a16:creationId xmlns:a16="http://schemas.microsoft.com/office/drawing/2014/main" id="{60FAD61B-F1F4-4FE4-854B-990CF6E0AEF0}"/>
                </a:ext>
              </a:extLst>
            </p:cNvPr>
            <p:cNvGrpSpPr>
              <a:grpSpLocks/>
            </p:cNvGrpSpPr>
            <p:nvPr/>
          </p:nvGrpSpPr>
          <p:grpSpPr bwMode="auto">
            <a:xfrm rot="10219711">
              <a:off x="5810241" y="2810351"/>
              <a:ext cx="554835" cy="740844"/>
              <a:chOff x="4450823" y="1340698"/>
              <a:chExt cx="503974" cy="733039"/>
            </a:xfrm>
            <a:solidFill>
              <a:srgbClr val="92D050"/>
            </a:solidFill>
          </p:grpSpPr>
          <p:sp>
            <p:nvSpPr>
              <p:cNvPr id="382" name="Isosceles Triangle 381">
                <a:extLst>
                  <a:ext uri="{FF2B5EF4-FFF2-40B4-BE49-F238E27FC236}">
                    <a16:creationId xmlns:a16="http://schemas.microsoft.com/office/drawing/2014/main" id="{CFD3F9CA-7209-4E86-87CF-63A12D0D6159}"/>
                  </a:ext>
                </a:extLst>
              </p:cNvPr>
              <p:cNvSpPr/>
              <p:nvPr/>
            </p:nvSpPr>
            <p:spPr>
              <a:xfrm rot="10800000">
                <a:off x="4489817" y="1715716"/>
                <a:ext cx="431884" cy="358021"/>
              </a:xfrm>
              <a:prstGeom prst="triangl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83" name="Oval 382">
                <a:extLst>
                  <a:ext uri="{FF2B5EF4-FFF2-40B4-BE49-F238E27FC236}">
                    <a16:creationId xmlns:a16="http://schemas.microsoft.com/office/drawing/2014/main" id="{3B40CE02-2B6B-4011-A264-294B29226E2C}"/>
                  </a:ext>
                </a:extLst>
              </p:cNvPr>
              <p:cNvSpPr/>
              <p:nvPr/>
            </p:nvSpPr>
            <p:spPr>
              <a:xfrm>
                <a:off x="4450823" y="1340698"/>
                <a:ext cx="503974" cy="504122"/>
              </a:xfrm>
              <a:prstGeom prst="ellips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7" name="Group 326">
              <a:extLst>
                <a:ext uri="{FF2B5EF4-FFF2-40B4-BE49-F238E27FC236}">
                  <a16:creationId xmlns:a16="http://schemas.microsoft.com/office/drawing/2014/main" id="{2FC3436E-93A6-4208-9D82-CEB4C79804A1}"/>
                </a:ext>
              </a:extLst>
            </p:cNvPr>
            <p:cNvGrpSpPr>
              <a:grpSpLocks/>
            </p:cNvGrpSpPr>
            <p:nvPr/>
          </p:nvGrpSpPr>
          <p:grpSpPr bwMode="auto">
            <a:xfrm rot="20833137">
              <a:off x="6388900" y="2788192"/>
              <a:ext cx="554835" cy="740844"/>
              <a:chOff x="4450823" y="1340698"/>
              <a:chExt cx="503974" cy="733039"/>
            </a:xfrm>
            <a:solidFill>
              <a:srgbClr val="FFC000"/>
            </a:solidFill>
          </p:grpSpPr>
          <p:sp>
            <p:nvSpPr>
              <p:cNvPr id="380" name="Isosceles Triangle 379">
                <a:extLst>
                  <a:ext uri="{FF2B5EF4-FFF2-40B4-BE49-F238E27FC236}">
                    <a16:creationId xmlns:a16="http://schemas.microsoft.com/office/drawing/2014/main" id="{B613BC39-C8B8-40DF-B4EC-DB0CD3561719}"/>
                  </a:ext>
                </a:extLst>
              </p:cNvPr>
              <p:cNvSpPr/>
              <p:nvPr/>
            </p:nvSpPr>
            <p:spPr>
              <a:xfrm rot="10800000">
                <a:off x="4489817" y="1715716"/>
                <a:ext cx="431884" cy="358021"/>
              </a:xfrm>
              <a:prstGeom prst="triangl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81" name="Oval 380">
                <a:extLst>
                  <a:ext uri="{FF2B5EF4-FFF2-40B4-BE49-F238E27FC236}">
                    <a16:creationId xmlns:a16="http://schemas.microsoft.com/office/drawing/2014/main" id="{336E69C4-45FE-42BB-8B8B-D9A607AFE162}"/>
                  </a:ext>
                </a:extLst>
              </p:cNvPr>
              <p:cNvSpPr/>
              <p:nvPr/>
            </p:nvSpPr>
            <p:spPr>
              <a:xfrm>
                <a:off x="4450823" y="1340698"/>
                <a:ext cx="503974" cy="504122"/>
              </a:xfrm>
              <a:prstGeom prst="ellips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8" name="Group 327">
              <a:extLst>
                <a:ext uri="{FF2B5EF4-FFF2-40B4-BE49-F238E27FC236}">
                  <a16:creationId xmlns:a16="http://schemas.microsoft.com/office/drawing/2014/main" id="{5F12AD39-AA66-4426-A858-CD3C0AC421D8}"/>
                </a:ext>
              </a:extLst>
            </p:cNvPr>
            <p:cNvGrpSpPr>
              <a:grpSpLocks/>
            </p:cNvGrpSpPr>
            <p:nvPr/>
          </p:nvGrpSpPr>
          <p:grpSpPr bwMode="auto">
            <a:xfrm rot="10092261">
              <a:off x="6891740" y="2370743"/>
              <a:ext cx="554835" cy="740844"/>
              <a:chOff x="4450823" y="1340698"/>
              <a:chExt cx="503974" cy="733039"/>
            </a:xfrm>
            <a:solidFill>
              <a:srgbClr val="FFC000"/>
            </a:solidFill>
          </p:grpSpPr>
          <p:sp>
            <p:nvSpPr>
              <p:cNvPr id="378" name="Isosceles Triangle 377">
                <a:extLst>
                  <a:ext uri="{FF2B5EF4-FFF2-40B4-BE49-F238E27FC236}">
                    <a16:creationId xmlns:a16="http://schemas.microsoft.com/office/drawing/2014/main" id="{63CA9CBC-728D-474D-BA6B-A2D18E09A730}"/>
                  </a:ext>
                </a:extLst>
              </p:cNvPr>
              <p:cNvSpPr/>
              <p:nvPr/>
            </p:nvSpPr>
            <p:spPr>
              <a:xfrm rot="10800000">
                <a:off x="4489817" y="1715716"/>
                <a:ext cx="431884" cy="358021"/>
              </a:xfrm>
              <a:prstGeom prst="triangl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79" name="Oval 378">
                <a:extLst>
                  <a:ext uri="{FF2B5EF4-FFF2-40B4-BE49-F238E27FC236}">
                    <a16:creationId xmlns:a16="http://schemas.microsoft.com/office/drawing/2014/main" id="{7419326C-5092-44EC-BC70-DB2DABEA084A}"/>
                  </a:ext>
                </a:extLst>
              </p:cNvPr>
              <p:cNvSpPr/>
              <p:nvPr/>
            </p:nvSpPr>
            <p:spPr>
              <a:xfrm>
                <a:off x="4450823" y="1340698"/>
                <a:ext cx="503974" cy="504122"/>
              </a:xfrm>
              <a:prstGeom prst="ellips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grpSp>
          <p:nvGrpSpPr>
            <p:cNvPr id="329" name="Group 328">
              <a:extLst>
                <a:ext uri="{FF2B5EF4-FFF2-40B4-BE49-F238E27FC236}">
                  <a16:creationId xmlns:a16="http://schemas.microsoft.com/office/drawing/2014/main" id="{B822D9E9-B8A5-41A0-8D4F-D6AF15C8743F}"/>
                </a:ext>
              </a:extLst>
            </p:cNvPr>
            <p:cNvGrpSpPr>
              <a:grpSpLocks/>
            </p:cNvGrpSpPr>
            <p:nvPr/>
          </p:nvGrpSpPr>
          <p:grpSpPr bwMode="auto">
            <a:xfrm rot="20491551">
              <a:off x="10917021" y="2138461"/>
              <a:ext cx="554835" cy="740844"/>
              <a:chOff x="4450823" y="1340698"/>
              <a:chExt cx="503974" cy="733039"/>
            </a:xfrm>
            <a:solidFill>
              <a:srgbClr val="00B0F0"/>
            </a:solidFill>
          </p:grpSpPr>
          <p:sp>
            <p:nvSpPr>
              <p:cNvPr id="376" name="Isosceles Triangle 375">
                <a:extLst>
                  <a:ext uri="{FF2B5EF4-FFF2-40B4-BE49-F238E27FC236}">
                    <a16:creationId xmlns:a16="http://schemas.microsoft.com/office/drawing/2014/main" id="{66916D7F-DF53-4D4F-95F0-2E05681F4F61}"/>
                  </a:ext>
                </a:extLst>
              </p:cNvPr>
              <p:cNvSpPr/>
              <p:nvPr/>
            </p:nvSpPr>
            <p:spPr>
              <a:xfrm rot="10800000">
                <a:off x="4489817" y="1715716"/>
                <a:ext cx="431884" cy="358021"/>
              </a:xfrm>
              <a:prstGeom prst="triangl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77" name="Oval 376">
                <a:extLst>
                  <a:ext uri="{FF2B5EF4-FFF2-40B4-BE49-F238E27FC236}">
                    <a16:creationId xmlns:a16="http://schemas.microsoft.com/office/drawing/2014/main" id="{00F353B3-6BEA-4FE1-9E73-4C4D084BC600}"/>
                  </a:ext>
                </a:extLst>
              </p:cNvPr>
              <p:cNvSpPr/>
              <p:nvPr/>
            </p:nvSpPr>
            <p:spPr>
              <a:xfrm>
                <a:off x="4450823" y="1340698"/>
                <a:ext cx="503974" cy="504122"/>
              </a:xfrm>
              <a:prstGeom prst="ellips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sp>
          <p:nvSpPr>
            <p:cNvPr id="330" name="TextBox 329">
              <a:extLst>
                <a:ext uri="{FF2B5EF4-FFF2-40B4-BE49-F238E27FC236}">
                  <a16:creationId xmlns:a16="http://schemas.microsoft.com/office/drawing/2014/main" id="{13A4F7E3-C24E-4A77-9973-3A8BCD92363C}"/>
                </a:ext>
              </a:extLst>
            </p:cNvPr>
            <p:cNvSpPr txBox="1">
              <a:spLocks noChangeArrowheads="1"/>
            </p:cNvSpPr>
            <p:nvPr/>
          </p:nvSpPr>
          <p:spPr bwMode="auto">
            <a:xfrm>
              <a:off x="1457570" y="2371713"/>
              <a:ext cx="1109187" cy="369725"/>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III. Establish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Reference and Target State Architecture </a:t>
              </a:r>
            </a:p>
          </p:txBody>
        </p:sp>
        <p:sp>
          <p:nvSpPr>
            <p:cNvPr id="331" name="TextBox 330">
              <a:extLst>
                <a:ext uri="{FF2B5EF4-FFF2-40B4-BE49-F238E27FC236}">
                  <a16:creationId xmlns:a16="http://schemas.microsoft.com/office/drawing/2014/main" id="{A8D25511-2B92-4F2C-8564-1337795200F4}"/>
                </a:ext>
              </a:extLst>
            </p:cNvPr>
            <p:cNvSpPr txBox="1">
              <a:spLocks noChangeArrowheads="1"/>
            </p:cNvSpPr>
            <p:nvPr/>
          </p:nvSpPr>
          <p:spPr bwMode="auto">
            <a:xfrm>
              <a:off x="258435" y="2740445"/>
              <a:ext cx="1586360" cy="252723"/>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0"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II. Establish </a:t>
              </a:r>
              <a:r>
                <a:rPr kumimoji="0" lang="en-US" sz="800" b="1" i="0" u="none" strike="noStrike" kern="0" cap="none" spc="0" normalizeH="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integrated</a:t>
              </a:r>
            </a:p>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Data Platform Architecture</a:t>
              </a:r>
            </a:p>
          </p:txBody>
        </p:sp>
        <p:sp>
          <p:nvSpPr>
            <p:cNvPr id="332" name="TextBox 331">
              <a:extLst>
                <a:ext uri="{FF2B5EF4-FFF2-40B4-BE49-F238E27FC236}">
                  <a16:creationId xmlns:a16="http://schemas.microsoft.com/office/drawing/2014/main" id="{CF3F5DA7-B7E9-4181-9D11-7BA196ACC1C3}"/>
                </a:ext>
              </a:extLst>
            </p:cNvPr>
            <p:cNvSpPr txBox="1">
              <a:spLocks noChangeArrowheads="1"/>
            </p:cNvSpPr>
            <p:nvPr/>
          </p:nvSpPr>
          <p:spPr bwMode="auto">
            <a:xfrm>
              <a:off x="1611947" y="3739115"/>
              <a:ext cx="1365013" cy="603730"/>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IV. Define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MVP</a:t>
              </a:r>
              <a:r>
                <a:rPr kumimoji="0" lang="en-US" sz="800" b="1" i="0" u="none" strike="noStrike" kern="0" cap="none" spc="0" normalizeH="0" baseline="0" noProof="0">
                  <a:ln>
                    <a:noFill/>
                  </a:ln>
                  <a:solidFill>
                    <a:srgbClr val="FFFFFF"/>
                  </a:solidFill>
                  <a:effectLst/>
                  <a:uLnTx/>
                  <a:uFillTx/>
                  <a:latin typeface="EYInterstate Light" panose="02000506000000020004" pitchFamily="2" charset="0"/>
                  <a:ea typeface="MS PGothic" panose="020B0600070205080204" pitchFamily="34" charset="-128"/>
                  <a:cs typeface="Arial"/>
                </a:rPr>
                <a:t> </a:t>
              </a: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Based on existing assets and conceptual / logical</a:t>
              </a:r>
              <a:r>
                <a:rPr kumimoji="0" lang="en-US" sz="800" b="1" i="0" u="none" strike="noStrike" kern="0" cap="none" spc="0" normalizeH="0" baseline="0" noProof="0">
                  <a:ln>
                    <a:noFill/>
                  </a:ln>
                  <a:solidFill>
                    <a:srgbClr val="FFFFFF"/>
                  </a:solidFill>
                  <a:effectLst/>
                  <a:uLnTx/>
                  <a:uFillTx/>
                  <a:latin typeface="EYInterstate Light" panose="02000506000000020004" pitchFamily="2" charset="0"/>
                  <a:ea typeface="MS PGothic" panose="020B0600070205080204" pitchFamily="34" charset="-128"/>
                  <a:cs typeface="Arial"/>
                </a:rPr>
                <a:t>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architecture, prioritized use cases </a:t>
              </a:r>
            </a:p>
          </p:txBody>
        </p:sp>
        <p:sp>
          <p:nvSpPr>
            <p:cNvPr id="333" name="TextBox 332">
              <a:extLst>
                <a:ext uri="{FF2B5EF4-FFF2-40B4-BE49-F238E27FC236}">
                  <a16:creationId xmlns:a16="http://schemas.microsoft.com/office/drawing/2014/main" id="{1A055F5F-D9B5-4420-B728-C8F6E237CB29}"/>
                </a:ext>
              </a:extLst>
            </p:cNvPr>
            <p:cNvSpPr txBox="1">
              <a:spLocks noChangeArrowheads="1"/>
            </p:cNvSpPr>
            <p:nvPr/>
          </p:nvSpPr>
          <p:spPr bwMode="auto">
            <a:xfrm>
              <a:off x="2433328" y="2358619"/>
              <a:ext cx="1362801" cy="369725"/>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V. Define execution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roadmap</a:t>
              </a:r>
              <a:r>
                <a:rPr kumimoji="0" lang="en-US" sz="800" b="1" i="0" u="none" strike="noStrike" kern="0" cap="none" spc="0" normalizeH="0" baseline="0" noProof="0">
                  <a:ln>
                    <a:noFill/>
                  </a:ln>
                  <a:solidFill>
                    <a:srgbClr val="FFFFFF"/>
                  </a:solidFill>
                  <a:effectLst/>
                  <a:uLnTx/>
                  <a:uFillTx/>
                  <a:latin typeface="EYInterstate Light" panose="02000506000000020004" pitchFamily="2" charset="0"/>
                  <a:ea typeface="MS PGothic" panose="020B0600070205080204" pitchFamily="34" charset="-128"/>
                  <a:cs typeface="Arial"/>
                </a:rPr>
                <a:t> </a:t>
              </a: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and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implementation plan</a:t>
              </a:r>
            </a:p>
          </p:txBody>
        </p:sp>
        <p:sp>
          <p:nvSpPr>
            <p:cNvPr id="334" name="TextBox 333">
              <a:extLst>
                <a:ext uri="{FF2B5EF4-FFF2-40B4-BE49-F238E27FC236}">
                  <a16:creationId xmlns:a16="http://schemas.microsoft.com/office/drawing/2014/main" id="{46BC1626-C123-4EA5-83DF-EA63A3C6C650}"/>
                </a:ext>
              </a:extLst>
            </p:cNvPr>
            <p:cNvSpPr txBox="1">
              <a:spLocks noChangeArrowheads="1"/>
            </p:cNvSpPr>
            <p:nvPr/>
          </p:nvSpPr>
          <p:spPr bwMode="auto">
            <a:xfrm>
              <a:off x="3705691" y="2323245"/>
              <a:ext cx="1264292" cy="486728"/>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VII. Establish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environment, data movement </a:t>
              </a: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and,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security</a:t>
              </a:r>
              <a:r>
                <a:rPr kumimoji="0" lang="en-US" sz="800" b="1" i="0" u="none" strike="noStrike" kern="0" cap="none" spc="0" normalizeH="0" baseline="0" noProof="0">
                  <a:ln>
                    <a:noFill/>
                  </a:ln>
                  <a:solidFill>
                    <a:srgbClr val="FFD200">
                      <a:lumMod val="60000"/>
                      <a:lumOff val="40000"/>
                    </a:srgbClr>
                  </a:solidFill>
                  <a:effectLst/>
                  <a:uLnTx/>
                  <a:uFillTx/>
                  <a:latin typeface="EYInterstate Light" panose="02000506000000020004" pitchFamily="2" charset="0"/>
                  <a:ea typeface="MS PGothic" panose="020B0600070205080204" pitchFamily="34" charset="-128"/>
                  <a:cs typeface="Arial"/>
                </a:rPr>
                <a:t> </a:t>
              </a: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requirements / design</a:t>
              </a:r>
            </a:p>
          </p:txBody>
        </p:sp>
        <p:sp>
          <p:nvSpPr>
            <p:cNvPr id="335" name="TextBox 334">
              <a:extLst>
                <a:ext uri="{FF2B5EF4-FFF2-40B4-BE49-F238E27FC236}">
                  <a16:creationId xmlns:a16="http://schemas.microsoft.com/office/drawing/2014/main" id="{89BC6CA4-9C5B-40EE-A73F-6D4919DFBE4A}"/>
                </a:ext>
              </a:extLst>
            </p:cNvPr>
            <p:cNvSpPr txBox="1">
              <a:spLocks noChangeArrowheads="1"/>
            </p:cNvSpPr>
            <p:nvPr/>
          </p:nvSpPr>
          <p:spPr bwMode="auto">
            <a:xfrm>
              <a:off x="4198450" y="3930802"/>
              <a:ext cx="1226775" cy="774147"/>
            </a:xfrm>
            <a:prstGeom prst="rect">
              <a:avLst/>
            </a:prstGeom>
            <a:noFill/>
            <a:ln w="9525">
              <a:noFill/>
              <a:miter lim="800000"/>
              <a:headEnd/>
              <a:tailEnd/>
            </a:ln>
          </p:spPr>
          <p:txBody>
            <a:bodyPr wrap="square" lIns="19503" tIns="9752" rIns="19503" bIns="9752">
              <a:no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VIII. Define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non-functional requirements</a:t>
              </a:r>
              <a:r>
                <a:rPr kumimoji="0" lang="en-US" sz="800" b="1" i="0" u="none" strike="noStrike" kern="0" cap="none" spc="0" normalizeH="0" baseline="0" noProof="0">
                  <a:ln>
                    <a:noFill/>
                  </a:ln>
                  <a:solidFill>
                    <a:srgbClr val="FFD200">
                      <a:lumMod val="60000"/>
                      <a:lumOff val="40000"/>
                    </a:srgbClr>
                  </a:solidFill>
                  <a:effectLst/>
                  <a:uLnTx/>
                  <a:uFillTx/>
                  <a:latin typeface="EYInterstate Light" panose="02000506000000020004" pitchFamily="2" charset="0"/>
                  <a:ea typeface="MS PGothic" panose="020B0600070205080204" pitchFamily="34" charset="-128"/>
                  <a:cs typeface="Arial"/>
                </a:rPr>
                <a:t> </a:t>
              </a: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and continue design for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data storage, storage allocation</a:t>
              </a: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 and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compute allocation</a:t>
              </a:r>
            </a:p>
          </p:txBody>
        </p:sp>
        <p:sp>
          <p:nvSpPr>
            <p:cNvPr id="336" name="TextBox 335">
              <a:extLst>
                <a:ext uri="{FF2B5EF4-FFF2-40B4-BE49-F238E27FC236}">
                  <a16:creationId xmlns:a16="http://schemas.microsoft.com/office/drawing/2014/main" id="{7245F5C9-2BC5-43AC-AC98-772619E1804E}"/>
                </a:ext>
              </a:extLst>
            </p:cNvPr>
            <p:cNvSpPr txBox="1">
              <a:spLocks noChangeArrowheads="1"/>
            </p:cNvSpPr>
            <p:nvPr/>
          </p:nvSpPr>
          <p:spPr bwMode="auto">
            <a:xfrm>
              <a:off x="3239278" y="3872501"/>
              <a:ext cx="830654" cy="837735"/>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VI. Establish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reuse</a:t>
              </a:r>
              <a:r>
                <a:rPr kumimoji="0" lang="en-US" sz="800" b="1" i="0" u="none" strike="noStrike" kern="0" cap="none" spc="0" normalizeH="0" baseline="0" noProof="0">
                  <a:ln>
                    <a:noFill/>
                  </a:ln>
                  <a:solidFill>
                    <a:srgbClr val="FFD200">
                      <a:lumMod val="60000"/>
                      <a:lumOff val="40000"/>
                    </a:srgbClr>
                  </a:solidFill>
                  <a:effectLst/>
                  <a:uLnTx/>
                  <a:uFillTx/>
                  <a:latin typeface="EYInterstate Light" panose="02000506000000020004" pitchFamily="2" charset="0"/>
                  <a:ea typeface="MS PGothic" panose="020B0600070205080204" pitchFamily="34" charset="-128"/>
                  <a:cs typeface="Arial"/>
                </a:rPr>
                <a:t>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of existing enterprise</a:t>
              </a:r>
              <a:r>
                <a:rPr kumimoji="0" lang="en-US" sz="800" b="1" i="0" u="none" strike="noStrike" kern="0" cap="none" spc="0" normalizeH="0" baseline="0" noProof="0">
                  <a:ln>
                    <a:noFill/>
                  </a:ln>
                  <a:solidFill>
                    <a:srgbClr val="FFD200">
                      <a:lumMod val="60000"/>
                      <a:lumOff val="40000"/>
                    </a:srgbClr>
                  </a:solidFill>
                  <a:effectLst/>
                  <a:uLnTx/>
                  <a:uFillTx/>
                  <a:latin typeface="EYInterstate Light" panose="02000506000000020004" pitchFamily="2" charset="0"/>
                  <a:ea typeface="MS PGothic" panose="020B0600070205080204" pitchFamily="34" charset="-128"/>
                  <a:cs typeface="Arial"/>
                </a:rPr>
                <a:t>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services and cloud foundations </a:t>
              </a:r>
            </a:p>
          </p:txBody>
        </p:sp>
        <p:sp>
          <p:nvSpPr>
            <p:cNvPr id="337" name="TextBox 336">
              <a:extLst>
                <a:ext uri="{FF2B5EF4-FFF2-40B4-BE49-F238E27FC236}">
                  <a16:creationId xmlns:a16="http://schemas.microsoft.com/office/drawing/2014/main" id="{67724435-1485-4CFC-B60F-79A4A31511A3}"/>
                </a:ext>
              </a:extLst>
            </p:cNvPr>
            <p:cNvSpPr txBox="1">
              <a:spLocks noChangeArrowheads="1"/>
            </p:cNvSpPr>
            <p:nvPr/>
          </p:nvSpPr>
          <p:spPr bwMode="auto">
            <a:xfrm>
              <a:off x="5494323" y="2413846"/>
              <a:ext cx="1053819" cy="369725"/>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 Initiate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Implementation team ramp up</a:t>
              </a:r>
            </a:p>
          </p:txBody>
        </p:sp>
        <p:sp>
          <p:nvSpPr>
            <p:cNvPr id="338" name="TextBox 337">
              <a:extLst>
                <a:ext uri="{FF2B5EF4-FFF2-40B4-BE49-F238E27FC236}">
                  <a16:creationId xmlns:a16="http://schemas.microsoft.com/office/drawing/2014/main" id="{5DC0AECD-0428-4ABF-A761-1FBE50A0059D}"/>
                </a:ext>
              </a:extLst>
            </p:cNvPr>
            <p:cNvSpPr txBox="1">
              <a:spLocks noChangeArrowheads="1"/>
            </p:cNvSpPr>
            <p:nvPr/>
          </p:nvSpPr>
          <p:spPr bwMode="auto">
            <a:xfrm>
              <a:off x="6605046" y="3634477"/>
              <a:ext cx="1173076" cy="486728"/>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I. Initiate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execution playbook</a:t>
              </a:r>
              <a:r>
                <a:rPr kumimoji="0" lang="en-US" sz="800" b="1" i="0" u="none" strike="noStrike" kern="0" cap="none" spc="0" normalizeH="0" baseline="0" noProof="0">
                  <a:ln>
                    <a:noFill/>
                  </a:ln>
                  <a:solidFill>
                    <a:srgbClr val="FFD200">
                      <a:lumMod val="60000"/>
                      <a:lumOff val="40000"/>
                    </a:srgbClr>
                  </a:solidFill>
                  <a:effectLst/>
                  <a:uLnTx/>
                  <a:uFillTx/>
                  <a:latin typeface="EYInterstate Light" panose="02000506000000020004" pitchFamily="2" charset="0"/>
                  <a:ea typeface="MS PGothic" panose="020B0600070205080204" pitchFamily="34" charset="-128"/>
                  <a:cs typeface="Arial"/>
                </a:rPr>
                <a:t> </a:t>
              </a: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and related “quick-starts” to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measure proof of value</a:t>
              </a:r>
            </a:p>
          </p:txBody>
        </p:sp>
        <p:cxnSp>
          <p:nvCxnSpPr>
            <p:cNvPr id="339" name="Straight Connector 338">
              <a:extLst>
                <a:ext uri="{FF2B5EF4-FFF2-40B4-BE49-F238E27FC236}">
                  <a16:creationId xmlns:a16="http://schemas.microsoft.com/office/drawing/2014/main" id="{B69F15EA-19DE-4466-A2D4-5B6D3A52C876}"/>
                </a:ext>
              </a:extLst>
            </p:cNvPr>
            <p:cNvCxnSpPr>
              <a:cxnSpLocks/>
              <a:stCxn id="380" idx="0"/>
              <a:endCxn id="338" idx="0"/>
            </p:cNvCxnSpPr>
            <p:nvPr/>
          </p:nvCxnSpPr>
          <p:spPr>
            <a:xfrm>
              <a:off x="6758036" y="3519193"/>
              <a:ext cx="433548" cy="115284"/>
            </a:xfrm>
            <a:prstGeom prst="line">
              <a:avLst/>
            </a:prstGeom>
            <a:noFill/>
            <a:ln w="12700" cap="flat" cmpd="sng" algn="ctr">
              <a:solidFill>
                <a:srgbClr val="795F94">
                  <a:lumMod val="40000"/>
                  <a:lumOff val="60000"/>
                </a:srgbClr>
              </a:solidFill>
              <a:prstDash val="solid"/>
            </a:ln>
            <a:effectLst/>
          </p:spPr>
        </p:cxnSp>
        <p:sp>
          <p:nvSpPr>
            <p:cNvPr id="340" name="TextBox 339">
              <a:extLst>
                <a:ext uri="{FF2B5EF4-FFF2-40B4-BE49-F238E27FC236}">
                  <a16:creationId xmlns:a16="http://schemas.microsoft.com/office/drawing/2014/main" id="{781DF43B-F9C5-4AAB-ADCA-DEF2E6C13105}"/>
                </a:ext>
              </a:extLst>
            </p:cNvPr>
            <p:cNvSpPr txBox="1">
              <a:spLocks noChangeArrowheads="1"/>
            </p:cNvSpPr>
            <p:nvPr/>
          </p:nvSpPr>
          <p:spPr bwMode="auto">
            <a:xfrm>
              <a:off x="10797838" y="2941226"/>
              <a:ext cx="1231312" cy="369725"/>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IV.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Scale </a:t>
              </a: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beyond quick starts for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continued value realization</a:t>
              </a:r>
            </a:p>
          </p:txBody>
        </p:sp>
        <p:sp>
          <p:nvSpPr>
            <p:cNvPr id="341" name="Oval 340">
              <a:extLst>
                <a:ext uri="{FF2B5EF4-FFF2-40B4-BE49-F238E27FC236}">
                  <a16:creationId xmlns:a16="http://schemas.microsoft.com/office/drawing/2014/main" id="{68C7157E-BDC3-4C82-BD00-59C24033DDC4}"/>
                </a:ext>
              </a:extLst>
            </p:cNvPr>
            <p:cNvSpPr/>
            <p:nvPr/>
          </p:nvSpPr>
          <p:spPr bwMode="auto">
            <a:xfrm rot="626857">
              <a:off x="2814494" y="3086596"/>
              <a:ext cx="434526" cy="422323"/>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42" name="Oval 341">
              <a:extLst>
                <a:ext uri="{FF2B5EF4-FFF2-40B4-BE49-F238E27FC236}">
                  <a16:creationId xmlns:a16="http://schemas.microsoft.com/office/drawing/2014/main" id="{45C0B50C-74E0-4950-A6E3-6CD7226AFF66}"/>
                </a:ext>
              </a:extLst>
            </p:cNvPr>
            <p:cNvSpPr/>
            <p:nvPr/>
          </p:nvSpPr>
          <p:spPr>
            <a:xfrm>
              <a:off x="3394351" y="3093762"/>
              <a:ext cx="473151" cy="443266"/>
            </a:xfrm>
            <a:prstGeom prst="ellipse">
              <a:avLst/>
            </a:prstGeom>
            <a:solidFill>
              <a:srgbClr val="FFFFFF"/>
            </a:solidFill>
            <a:ln w="9525" cap="flat" cmpd="sng" algn="ctr">
              <a:noFill/>
              <a:prstDash val="solid"/>
            </a:ln>
            <a:effectLst/>
          </p:spPr>
          <p:txBody>
            <a:bodyPr rtlCol="0" anchor="ctr"/>
            <a:lstStyle/>
            <a:p>
              <a:pPr marL="0" marR="0" lvl="0" indent="0" algn="ctr" defTabSz="456971"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mn-ea"/>
                <a:cs typeface="Arial" charset="0"/>
              </a:endParaRPr>
            </a:p>
          </p:txBody>
        </p:sp>
        <p:sp>
          <p:nvSpPr>
            <p:cNvPr id="343" name="Oval 342">
              <a:extLst>
                <a:ext uri="{FF2B5EF4-FFF2-40B4-BE49-F238E27FC236}">
                  <a16:creationId xmlns:a16="http://schemas.microsoft.com/office/drawing/2014/main" id="{7C340FC2-BD3B-43D4-A7B5-DD9BC27E5F92}"/>
                </a:ext>
              </a:extLst>
            </p:cNvPr>
            <p:cNvSpPr/>
            <p:nvPr/>
          </p:nvSpPr>
          <p:spPr bwMode="auto">
            <a:xfrm rot="626857">
              <a:off x="2208505" y="3039265"/>
              <a:ext cx="437264" cy="409798"/>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44" name="Oval 343">
              <a:extLst>
                <a:ext uri="{FF2B5EF4-FFF2-40B4-BE49-F238E27FC236}">
                  <a16:creationId xmlns:a16="http://schemas.microsoft.com/office/drawing/2014/main" id="{5663BC24-5B9B-4E6A-BAD3-AB9F5750AE51}"/>
                </a:ext>
              </a:extLst>
            </p:cNvPr>
            <p:cNvSpPr/>
            <p:nvPr/>
          </p:nvSpPr>
          <p:spPr bwMode="auto">
            <a:xfrm rot="626857">
              <a:off x="4038784" y="3238447"/>
              <a:ext cx="437264" cy="409798"/>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45" name="TextBox 344">
              <a:extLst>
                <a:ext uri="{FF2B5EF4-FFF2-40B4-BE49-F238E27FC236}">
                  <a16:creationId xmlns:a16="http://schemas.microsoft.com/office/drawing/2014/main" id="{25993106-2CA4-4E6E-A3F2-B0F30B06F680}"/>
                </a:ext>
              </a:extLst>
            </p:cNvPr>
            <p:cNvSpPr txBox="1">
              <a:spLocks noChangeArrowheads="1"/>
            </p:cNvSpPr>
            <p:nvPr/>
          </p:nvSpPr>
          <p:spPr bwMode="auto">
            <a:xfrm>
              <a:off x="5438037" y="4221193"/>
              <a:ext cx="1842313" cy="645454"/>
            </a:xfrm>
            <a:prstGeom prst="rect">
              <a:avLst/>
            </a:prstGeom>
            <a:noFill/>
            <a:ln w="9525">
              <a:noFill/>
              <a:miter lim="800000"/>
              <a:headEnd/>
              <a:tailEnd/>
            </a:ln>
          </p:spPr>
          <p:txBody>
            <a:bodyPr wrap="square" lIns="19503" tIns="9752" rIns="19503" bIns="9752">
              <a:no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IX. Continue design for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domains and key use cases including workload monitor, log monitor, and data assurance</a:t>
              </a:r>
            </a:p>
          </p:txBody>
        </p:sp>
        <p:grpSp>
          <p:nvGrpSpPr>
            <p:cNvPr id="346" name="Group 345">
              <a:extLst>
                <a:ext uri="{FF2B5EF4-FFF2-40B4-BE49-F238E27FC236}">
                  <a16:creationId xmlns:a16="http://schemas.microsoft.com/office/drawing/2014/main" id="{4F106580-1809-4E90-868C-37774A0400A7}"/>
                </a:ext>
              </a:extLst>
            </p:cNvPr>
            <p:cNvGrpSpPr>
              <a:grpSpLocks/>
            </p:cNvGrpSpPr>
            <p:nvPr/>
          </p:nvGrpSpPr>
          <p:grpSpPr bwMode="auto">
            <a:xfrm rot="21409400">
              <a:off x="4602622" y="3114844"/>
              <a:ext cx="554835" cy="740844"/>
              <a:chOff x="4450823" y="1340698"/>
              <a:chExt cx="503974" cy="733039"/>
            </a:xfrm>
            <a:solidFill>
              <a:srgbClr val="FFC000"/>
            </a:solidFill>
          </p:grpSpPr>
          <p:sp>
            <p:nvSpPr>
              <p:cNvPr id="374" name="Isosceles Triangle 373">
                <a:extLst>
                  <a:ext uri="{FF2B5EF4-FFF2-40B4-BE49-F238E27FC236}">
                    <a16:creationId xmlns:a16="http://schemas.microsoft.com/office/drawing/2014/main" id="{01A34A37-4097-46F8-9731-FBC3769E6E86}"/>
                  </a:ext>
                </a:extLst>
              </p:cNvPr>
              <p:cNvSpPr/>
              <p:nvPr/>
            </p:nvSpPr>
            <p:spPr>
              <a:xfrm rot="10800000">
                <a:off x="4489817" y="1715716"/>
                <a:ext cx="431884" cy="358021"/>
              </a:xfrm>
              <a:prstGeom prst="triangl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75" name="Oval 374">
                <a:extLst>
                  <a:ext uri="{FF2B5EF4-FFF2-40B4-BE49-F238E27FC236}">
                    <a16:creationId xmlns:a16="http://schemas.microsoft.com/office/drawing/2014/main" id="{F3DD6061-1108-499E-BE6A-FABDB325B01D}"/>
                  </a:ext>
                </a:extLst>
              </p:cNvPr>
              <p:cNvSpPr/>
              <p:nvPr/>
            </p:nvSpPr>
            <p:spPr>
              <a:xfrm>
                <a:off x="4450823" y="1340698"/>
                <a:ext cx="503974" cy="504122"/>
              </a:xfrm>
              <a:prstGeom prst="ellips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sp>
          <p:nvSpPr>
            <p:cNvPr id="347" name="Oval 346">
              <a:extLst>
                <a:ext uri="{FF2B5EF4-FFF2-40B4-BE49-F238E27FC236}">
                  <a16:creationId xmlns:a16="http://schemas.microsoft.com/office/drawing/2014/main" id="{B51BECAD-A8EA-43AB-8D24-6EDF6602DF07}"/>
                </a:ext>
              </a:extLst>
            </p:cNvPr>
            <p:cNvSpPr/>
            <p:nvPr/>
          </p:nvSpPr>
          <p:spPr bwMode="auto">
            <a:xfrm rot="626857">
              <a:off x="4656572" y="3159841"/>
              <a:ext cx="437264" cy="409798"/>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nvGrpSpPr>
            <p:cNvPr id="348" name="Group 347">
              <a:extLst>
                <a:ext uri="{FF2B5EF4-FFF2-40B4-BE49-F238E27FC236}">
                  <a16:creationId xmlns:a16="http://schemas.microsoft.com/office/drawing/2014/main" id="{EED7598B-EE15-49F1-B754-5BC33AAA0475}"/>
                </a:ext>
              </a:extLst>
            </p:cNvPr>
            <p:cNvGrpSpPr>
              <a:grpSpLocks/>
            </p:cNvGrpSpPr>
            <p:nvPr/>
          </p:nvGrpSpPr>
          <p:grpSpPr bwMode="auto">
            <a:xfrm rot="20491551">
              <a:off x="9831542" y="2652145"/>
              <a:ext cx="554835" cy="740844"/>
              <a:chOff x="4450823" y="1340698"/>
              <a:chExt cx="503974" cy="733039"/>
            </a:xfrm>
            <a:solidFill>
              <a:srgbClr val="00B0F0"/>
            </a:solidFill>
          </p:grpSpPr>
          <p:sp>
            <p:nvSpPr>
              <p:cNvPr id="372" name="Isosceles Triangle 371">
                <a:extLst>
                  <a:ext uri="{FF2B5EF4-FFF2-40B4-BE49-F238E27FC236}">
                    <a16:creationId xmlns:a16="http://schemas.microsoft.com/office/drawing/2014/main" id="{2D3655D0-5286-412B-8404-937FE339022C}"/>
                  </a:ext>
                </a:extLst>
              </p:cNvPr>
              <p:cNvSpPr/>
              <p:nvPr/>
            </p:nvSpPr>
            <p:spPr>
              <a:xfrm rot="10800000">
                <a:off x="4489817" y="1715716"/>
                <a:ext cx="431884" cy="358021"/>
              </a:xfrm>
              <a:prstGeom prst="triangl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73" name="Oval 372">
                <a:extLst>
                  <a:ext uri="{FF2B5EF4-FFF2-40B4-BE49-F238E27FC236}">
                    <a16:creationId xmlns:a16="http://schemas.microsoft.com/office/drawing/2014/main" id="{A5D029BF-4A4C-46F7-88FD-2136209EC1E3}"/>
                  </a:ext>
                </a:extLst>
              </p:cNvPr>
              <p:cNvSpPr/>
              <p:nvPr/>
            </p:nvSpPr>
            <p:spPr>
              <a:xfrm>
                <a:off x="4450823" y="1340698"/>
                <a:ext cx="503974" cy="504122"/>
              </a:xfrm>
              <a:prstGeom prst="ellips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sp>
          <p:nvSpPr>
            <p:cNvPr id="349" name="Oval 348">
              <a:extLst>
                <a:ext uri="{FF2B5EF4-FFF2-40B4-BE49-F238E27FC236}">
                  <a16:creationId xmlns:a16="http://schemas.microsoft.com/office/drawing/2014/main" id="{CADC8AC9-1BB3-483E-932A-53E6BE94D646}"/>
                </a:ext>
              </a:extLst>
            </p:cNvPr>
            <p:cNvSpPr/>
            <p:nvPr/>
          </p:nvSpPr>
          <p:spPr bwMode="auto">
            <a:xfrm rot="626857">
              <a:off x="9852836" y="2706522"/>
              <a:ext cx="437547" cy="413925"/>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50" name="TextBox 349">
              <a:extLst>
                <a:ext uri="{FF2B5EF4-FFF2-40B4-BE49-F238E27FC236}">
                  <a16:creationId xmlns:a16="http://schemas.microsoft.com/office/drawing/2014/main" id="{07610F85-4DBE-4A78-AEFA-049BB61B6891}"/>
                </a:ext>
              </a:extLst>
            </p:cNvPr>
            <p:cNvSpPr txBox="1">
              <a:spLocks noChangeArrowheads="1"/>
            </p:cNvSpPr>
            <p:nvPr/>
          </p:nvSpPr>
          <p:spPr bwMode="auto">
            <a:xfrm>
              <a:off x="9512243" y="3463050"/>
              <a:ext cx="1575143" cy="486728"/>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VII. Measure quick starts and </a:t>
              </a:r>
              <a:r>
                <a:rPr kumimoji="0" lang="en-US" sz="800" b="1" i="0" u="none" strike="noStrike" kern="0" cap="none" spc="0" normalizeH="0" baseline="0" noProof="0">
                  <a:ln>
                    <a:noFill/>
                  </a:ln>
                  <a:solidFill>
                    <a:schemeClr val="accent5"/>
                  </a:solidFill>
                  <a:effectLst/>
                  <a:uLnTx/>
                  <a:uFillTx/>
                  <a:latin typeface="EYInterstate Light" panose="02000506000000020004" pitchFamily="2" charset="0"/>
                  <a:ea typeface="MS PGothic" panose="020B0600070205080204" pitchFamily="34" charset="-128"/>
                  <a:cs typeface="Arial"/>
                </a:rPr>
                <a:t>expand demand management framework </a:t>
              </a: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to elaborate &amp; quality opportunities </a:t>
              </a:r>
            </a:p>
          </p:txBody>
        </p:sp>
        <p:grpSp>
          <p:nvGrpSpPr>
            <p:cNvPr id="351" name="Group 350">
              <a:extLst>
                <a:ext uri="{FF2B5EF4-FFF2-40B4-BE49-F238E27FC236}">
                  <a16:creationId xmlns:a16="http://schemas.microsoft.com/office/drawing/2014/main" id="{2910A492-8586-458B-BC60-CC578FF294EA}"/>
                </a:ext>
              </a:extLst>
            </p:cNvPr>
            <p:cNvGrpSpPr>
              <a:grpSpLocks/>
            </p:cNvGrpSpPr>
            <p:nvPr/>
          </p:nvGrpSpPr>
          <p:grpSpPr bwMode="auto">
            <a:xfrm rot="11062157">
              <a:off x="8069215" y="2355355"/>
              <a:ext cx="554835" cy="740844"/>
              <a:chOff x="4450823" y="1340698"/>
              <a:chExt cx="503974" cy="733039"/>
            </a:xfrm>
            <a:solidFill>
              <a:srgbClr val="FFC000"/>
            </a:solidFill>
          </p:grpSpPr>
          <p:sp>
            <p:nvSpPr>
              <p:cNvPr id="370" name="Isosceles Triangle 369">
                <a:extLst>
                  <a:ext uri="{FF2B5EF4-FFF2-40B4-BE49-F238E27FC236}">
                    <a16:creationId xmlns:a16="http://schemas.microsoft.com/office/drawing/2014/main" id="{995A1C63-AFDC-4316-96CB-C8A8746D177C}"/>
                  </a:ext>
                </a:extLst>
              </p:cNvPr>
              <p:cNvSpPr/>
              <p:nvPr/>
            </p:nvSpPr>
            <p:spPr>
              <a:xfrm rot="10800000">
                <a:off x="4489817" y="1715716"/>
                <a:ext cx="431884" cy="358021"/>
              </a:xfrm>
              <a:prstGeom prst="triangl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71" name="Oval 370">
                <a:extLst>
                  <a:ext uri="{FF2B5EF4-FFF2-40B4-BE49-F238E27FC236}">
                    <a16:creationId xmlns:a16="http://schemas.microsoft.com/office/drawing/2014/main" id="{E68BE59F-1423-495D-951D-95C99DE1ABDC}"/>
                  </a:ext>
                </a:extLst>
              </p:cNvPr>
              <p:cNvSpPr/>
              <p:nvPr/>
            </p:nvSpPr>
            <p:spPr>
              <a:xfrm>
                <a:off x="4450823" y="1340698"/>
                <a:ext cx="503974" cy="504122"/>
              </a:xfrm>
              <a:prstGeom prst="ellips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sp>
          <p:nvSpPr>
            <p:cNvPr id="352" name="Oval 351">
              <a:extLst>
                <a:ext uri="{FF2B5EF4-FFF2-40B4-BE49-F238E27FC236}">
                  <a16:creationId xmlns:a16="http://schemas.microsoft.com/office/drawing/2014/main" id="{407C9907-326D-44C9-9AA1-66E23C697056}"/>
                </a:ext>
              </a:extLst>
            </p:cNvPr>
            <p:cNvSpPr/>
            <p:nvPr/>
          </p:nvSpPr>
          <p:spPr bwMode="auto">
            <a:xfrm rot="626857">
              <a:off x="8120612" y="2625561"/>
              <a:ext cx="437547" cy="413925"/>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nvGrpSpPr>
            <p:cNvPr id="353" name="Group 352">
              <a:extLst>
                <a:ext uri="{FF2B5EF4-FFF2-40B4-BE49-F238E27FC236}">
                  <a16:creationId xmlns:a16="http://schemas.microsoft.com/office/drawing/2014/main" id="{319295A5-258D-45A5-9E5F-0794ADECECA4}"/>
                </a:ext>
              </a:extLst>
            </p:cNvPr>
            <p:cNvGrpSpPr>
              <a:grpSpLocks/>
            </p:cNvGrpSpPr>
            <p:nvPr/>
          </p:nvGrpSpPr>
          <p:grpSpPr bwMode="auto">
            <a:xfrm rot="11062157">
              <a:off x="9207265" y="2481540"/>
              <a:ext cx="554835" cy="740844"/>
              <a:chOff x="4450823" y="1340698"/>
              <a:chExt cx="503974" cy="733039"/>
            </a:xfrm>
            <a:solidFill>
              <a:srgbClr val="FFC000"/>
            </a:solidFill>
          </p:grpSpPr>
          <p:sp>
            <p:nvSpPr>
              <p:cNvPr id="368" name="Isosceles Triangle 367">
                <a:extLst>
                  <a:ext uri="{FF2B5EF4-FFF2-40B4-BE49-F238E27FC236}">
                    <a16:creationId xmlns:a16="http://schemas.microsoft.com/office/drawing/2014/main" id="{BE9A7D68-B7B0-4F44-9FF2-69CC9522610C}"/>
                  </a:ext>
                </a:extLst>
              </p:cNvPr>
              <p:cNvSpPr/>
              <p:nvPr/>
            </p:nvSpPr>
            <p:spPr>
              <a:xfrm rot="10800000">
                <a:off x="4489817" y="1715716"/>
                <a:ext cx="431884" cy="358021"/>
              </a:xfrm>
              <a:prstGeom prst="triangl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69" name="Oval 368">
                <a:extLst>
                  <a:ext uri="{FF2B5EF4-FFF2-40B4-BE49-F238E27FC236}">
                    <a16:creationId xmlns:a16="http://schemas.microsoft.com/office/drawing/2014/main" id="{A5991607-E39C-403F-920C-6A8648C36DF9}"/>
                  </a:ext>
                </a:extLst>
              </p:cNvPr>
              <p:cNvSpPr/>
              <p:nvPr/>
            </p:nvSpPr>
            <p:spPr>
              <a:xfrm>
                <a:off x="4450823" y="1340698"/>
                <a:ext cx="503974" cy="504122"/>
              </a:xfrm>
              <a:prstGeom prst="ellips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sp>
          <p:nvSpPr>
            <p:cNvPr id="354" name="Oval 353">
              <a:extLst>
                <a:ext uri="{FF2B5EF4-FFF2-40B4-BE49-F238E27FC236}">
                  <a16:creationId xmlns:a16="http://schemas.microsoft.com/office/drawing/2014/main" id="{67FD0BB3-C55A-4D8D-A0A5-8E39A0BAE425}"/>
                </a:ext>
              </a:extLst>
            </p:cNvPr>
            <p:cNvSpPr/>
            <p:nvPr/>
          </p:nvSpPr>
          <p:spPr bwMode="auto">
            <a:xfrm rot="626857">
              <a:off x="9255223" y="2754928"/>
              <a:ext cx="437547" cy="413925"/>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nvGrpSpPr>
            <p:cNvPr id="355" name="Group 354">
              <a:extLst>
                <a:ext uri="{FF2B5EF4-FFF2-40B4-BE49-F238E27FC236}">
                  <a16:creationId xmlns:a16="http://schemas.microsoft.com/office/drawing/2014/main" id="{A96CBE96-49D8-468E-B792-AF55F266E137}"/>
                </a:ext>
              </a:extLst>
            </p:cNvPr>
            <p:cNvGrpSpPr>
              <a:grpSpLocks/>
            </p:cNvGrpSpPr>
            <p:nvPr/>
          </p:nvGrpSpPr>
          <p:grpSpPr bwMode="auto">
            <a:xfrm>
              <a:off x="8628279" y="2648028"/>
              <a:ext cx="554835" cy="740844"/>
              <a:chOff x="4450823" y="1340698"/>
              <a:chExt cx="503974" cy="733039"/>
            </a:xfrm>
            <a:solidFill>
              <a:srgbClr val="FFC000"/>
            </a:solidFill>
          </p:grpSpPr>
          <p:sp>
            <p:nvSpPr>
              <p:cNvPr id="366" name="Isosceles Triangle 365">
                <a:extLst>
                  <a:ext uri="{FF2B5EF4-FFF2-40B4-BE49-F238E27FC236}">
                    <a16:creationId xmlns:a16="http://schemas.microsoft.com/office/drawing/2014/main" id="{E7A9D88C-6005-468D-8AE9-0EACC14667FC}"/>
                  </a:ext>
                </a:extLst>
              </p:cNvPr>
              <p:cNvSpPr/>
              <p:nvPr/>
            </p:nvSpPr>
            <p:spPr>
              <a:xfrm rot="10800000">
                <a:off x="4489817" y="1715716"/>
                <a:ext cx="431884" cy="358021"/>
              </a:xfrm>
              <a:prstGeom prst="triangl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67" name="Oval 366">
                <a:extLst>
                  <a:ext uri="{FF2B5EF4-FFF2-40B4-BE49-F238E27FC236}">
                    <a16:creationId xmlns:a16="http://schemas.microsoft.com/office/drawing/2014/main" id="{3204DB81-65B9-4E26-934E-02469600139D}"/>
                  </a:ext>
                </a:extLst>
              </p:cNvPr>
              <p:cNvSpPr/>
              <p:nvPr/>
            </p:nvSpPr>
            <p:spPr>
              <a:xfrm>
                <a:off x="4450823" y="1340698"/>
                <a:ext cx="503974" cy="504122"/>
              </a:xfrm>
              <a:prstGeom prst="ellips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sp>
          <p:nvSpPr>
            <p:cNvPr id="356" name="Oval 355">
              <a:extLst>
                <a:ext uri="{FF2B5EF4-FFF2-40B4-BE49-F238E27FC236}">
                  <a16:creationId xmlns:a16="http://schemas.microsoft.com/office/drawing/2014/main" id="{A1ECC183-2726-4D8F-A95E-E18EF5480CD6}"/>
                </a:ext>
              </a:extLst>
            </p:cNvPr>
            <p:cNvSpPr/>
            <p:nvPr/>
          </p:nvSpPr>
          <p:spPr bwMode="auto">
            <a:xfrm rot="11164700">
              <a:off x="8685629" y="2699906"/>
              <a:ext cx="437547" cy="413925"/>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nvGrpSpPr>
            <p:cNvPr id="357" name="Group 356">
              <a:extLst>
                <a:ext uri="{FF2B5EF4-FFF2-40B4-BE49-F238E27FC236}">
                  <a16:creationId xmlns:a16="http://schemas.microsoft.com/office/drawing/2014/main" id="{FEFC237E-BE57-40FD-A2BE-3D97D1F39FEC}"/>
                </a:ext>
              </a:extLst>
            </p:cNvPr>
            <p:cNvGrpSpPr>
              <a:grpSpLocks/>
            </p:cNvGrpSpPr>
            <p:nvPr/>
          </p:nvGrpSpPr>
          <p:grpSpPr bwMode="auto">
            <a:xfrm>
              <a:off x="7486418" y="2477196"/>
              <a:ext cx="554835" cy="740844"/>
              <a:chOff x="4450823" y="1340698"/>
              <a:chExt cx="503974" cy="733039"/>
            </a:xfrm>
            <a:solidFill>
              <a:srgbClr val="FFC000"/>
            </a:solidFill>
          </p:grpSpPr>
          <p:sp>
            <p:nvSpPr>
              <p:cNvPr id="364" name="Isosceles Triangle 363">
                <a:extLst>
                  <a:ext uri="{FF2B5EF4-FFF2-40B4-BE49-F238E27FC236}">
                    <a16:creationId xmlns:a16="http://schemas.microsoft.com/office/drawing/2014/main" id="{7F622E5B-1173-40E5-8C90-E91D1D667638}"/>
                  </a:ext>
                </a:extLst>
              </p:cNvPr>
              <p:cNvSpPr/>
              <p:nvPr/>
            </p:nvSpPr>
            <p:spPr>
              <a:xfrm rot="10800000">
                <a:off x="4489817" y="1715716"/>
                <a:ext cx="431884" cy="358021"/>
              </a:xfrm>
              <a:prstGeom prst="triangl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65" name="Oval 364">
                <a:extLst>
                  <a:ext uri="{FF2B5EF4-FFF2-40B4-BE49-F238E27FC236}">
                    <a16:creationId xmlns:a16="http://schemas.microsoft.com/office/drawing/2014/main" id="{72EA026D-E193-4871-B02E-09B5790B89F8}"/>
                  </a:ext>
                </a:extLst>
              </p:cNvPr>
              <p:cNvSpPr/>
              <p:nvPr/>
            </p:nvSpPr>
            <p:spPr>
              <a:xfrm>
                <a:off x="4450823" y="1340698"/>
                <a:ext cx="503974" cy="504122"/>
              </a:xfrm>
              <a:prstGeom prst="ellipse">
                <a:avLst/>
              </a:prstGeom>
              <a:solidFill>
                <a:schemeClr val="accent5"/>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grpSp>
        <p:sp>
          <p:nvSpPr>
            <p:cNvPr id="358" name="Oval 357">
              <a:extLst>
                <a:ext uri="{FF2B5EF4-FFF2-40B4-BE49-F238E27FC236}">
                  <a16:creationId xmlns:a16="http://schemas.microsoft.com/office/drawing/2014/main" id="{9DBF41C3-B753-4091-9390-52F74BAB63B0}"/>
                </a:ext>
              </a:extLst>
            </p:cNvPr>
            <p:cNvSpPr/>
            <p:nvPr/>
          </p:nvSpPr>
          <p:spPr bwMode="auto">
            <a:xfrm rot="11164700">
              <a:off x="7547208" y="2525891"/>
              <a:ext cx="437547" cy="413925"/>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359" name="TextBox 358">
              <a:extLst>
                <a:ext uri="{FF2B5EF4-FFF2-40B4-BE49-F238E27FC236}">
                  <a16:creationId xmlns:a16="http://schemas.microsoft.com/office/drawing/2014/main" id="{BF6B22E4-162F-4B08-A626-CCF156931AD6}"/>
                </a:ext>
              </a:extLst>
            </p:cNvPr>
            <p:cNvSpPr txBox="1">
              <a:spLocks noChangeArrowheads="1"/>
            </p:cNvSpPr>
            <p:nvPr/>
          </p:nvSpPr>
          <p:spPr bwMode="auto">
            <a:xfrm>
              <a:off x="8778731" y="2254728"/>
              <a:ext cx="1575143" cy="135720"/>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VI. Quick Start 5</a:t>
              </a:r>
            </a:p>
          </p:txBody>
        </p:sp>
        <p:sp>
          <p:nvSpPr>
            <p:cNvPr id="360" name="TextBox 359">
              <a:extLst>
                <a:ext uri="{FF2B5EF4-FFF2-40B4-BE49-F238E27FC236}">
                  <a16:creationId xmlns:a16="http://schemas.microsoft.com/office/drawing/2014/main" id="{DDC20D73-0AC3-4BA4-A84A-AA93B247BF87}"/>
                </a:ext>
              </a:extLst>
            </p:cNvPr>
            <p:cNvSpPr txBox="1">
              <a:spLocks noChangeArrowheads="1"/>
            </p:cNvSpPr>
            <p:nvPr/>
          </p:nvSpPr>
          <p:spPr bwMode="auto">
            <a:xfrm>
              <a:off x="6318936" y="2133505"/>
              <a:ext cx="1575143" cy="135720"/>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II. Quick Start 1</a:t>
              </a:r>
            </a:p>
          </p:txBody>
        </p:sp>
        <p:sp>
          <p:nvSpPr>
            <p:cNvPr id="361" name="TextBox 360">
              <a:extLst>
                <a:ext uri="{FF2B5EF4-FFF2-40B4-BE49-F238E27FC236}">
                  <a16:creationId xmlns:a16="http://schemas.microsoft.com/office/drawing/2014/main" id="{6309B3CE-E5D6-4FB8-A93B-5B64882A0B9C}"/>
                </a:ext>
              </a:extLst>
            </p:cNvPr>
            <p:cNvSpPr txBox="1">
              <a:spLocks noChangeArrowheads="1"/>
            </p:cNvSpPr>
            <p:nvPr/>
          </p:nvSpPr>
          <p:spPr bwMode="auto">
            <a:xfrm>
              <a:off x="7129449" y="3266915"/>
              <a:ext cx="1274916" cy="135720"/>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III. Quick Start 2</a:t>
              </a:r>
            </a:p>
          </p:txBody>
        </p:sp>
        <p:sp>
          <p:nvSpPr>
            <p:cNvPr id="362" name="TextBox 361">
              <a:extLst>
                <a:ext uri="{FF2B5EF4-FFF2-40B4-BE49-F238E27FC236}">
                  <a16:creationId xmlns:a16="http://schemas.microsoft.com/office/drawing/2014/main" id="{B7966330-A3DD-4A50-8F0C-B025F8DDA15B}"/>
                </a:ext>
              </a:extLst>
            </p:cNvPr>
            <p:cNvSpPr txBox="1">
              <a:spLocks noChangeArrowheads="1"/>
            </p:cNvSpPr>
            <p:nvPr/>
          </p:nvSpPr>
          <p:spPr bwMode="auto">
            <a:xfrm>
              <a:off x="7691722" y="1974073"/>
              <a:ext cx="1168386" cy="135720"/>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IV. Quick Start 3</a:t>
              </a:r>
            </a:p>
          </p:txBody>
        </p:sp>
        <p:sp>
          <p:nvSpPr>
            <p:cNvPr id="363" name="TextBox 362">
              <a:extLst>
                <a:ext uri="{FF2B5EF4-FFF2-40B4-BE49-F238E27FC236}">
                  <a16:creationId xmlns:a16="http://schemas.microsoft.com/office/drawing/2014/main" id="{810181EA-5076-433D-B3A7-CE0C9DABF1B0}"/>
                </a:ext>
              </a:extLst>
            </p:cNvPr>
            <p:cNvSpPr txBox="1">
              <a:spLocks noChangeArrowheads="1"/>
            </p:cNvSpPr>
            <p:nvPr/>
          </p:nvSpPr>
          <p:spPr bwMode="auto">
            <a:xfrm>
              <a:off x="8263449" y="3416643"/>
              <a:ext cx="1168386" cy="135720"/>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V. Quick Start 4</a:t>
              </a:r>
            </a:p>
          </p:txBody>
        </p:sp>
      </p:grpSp>
      <p:cxnSp>
        <p:nvCxnSpPr>
          <p:cNvPr id="408" name="Straight Connector 407">
            <a:extLst>
              <a:ext uri="{FF2B5EF4-FFF2-40B4-BE49-F238E27FC236}">
                <a16:creationId xmlns:a16="http://schemas.microsoft.com/office/drawing/2014/main" id="{C649755D-A47F-45D9-AD0B-1CF813F4DCA7}"/>
              </a:ext>
            </a:extLst>
          </p:cNvPr>
          <p:cNvCxnSpPr>
            <a:cxnSpLocks/>
          </p:cNvCxnSpPr>
          <p:nvPr/>
        </p:nvCxnSpPr>
        <p:spPr>
          <a:xfrm>
            <a:off x="5780555" y="5052839"/>
            <a:ext cx="609893" cy="310855"/>
          </a:xfrm>
          <a:prstGeom prst="line">
            <a:avLst/>
          </a:prstGeom>
          <a:noFill/>
          <a:ln w="12700" cap="flat" cmpd="sng" algn="ctr">
            <a:solidFill>
              <a:srgbClr val="795F94">
                <a:lumMod val="40000"/>
                <a:lumOff val="60000"/>
              </a:srgbClr>
            </a:solidFill>
            <a:prstDash val="solid"/>
          </a:ln>
          <a:effectLst/>
        </p:spPr>
      </p:cxnSp>
      <p:sp>
        <p:nvSpPr>
          <p:cNvPr id="409" name="Rectangle 408">
            <a:extLst>
              <a:ext uri="{FF2B5EF4-FFF2-40B4-BE49-F238E27FC236}">
                <a16:creationId xmlns:a16="http://schemas.microsoft.com/office/drawing/2014/main" id="{8D55E417-4B71-4E8D-A119-D6844C60F77C}"/>
              </a:ext>
            </a:extLst>
          </p:cNvPr>
          <p:cNvSpPr/>
          <p:nvPr/>
        </p:nvSpPr>
        <p:spPr>
          <a:xfrm>
            <a:off x="643109" y="1832908"/>
            <a:ext cx="2839344" cy="4613612"/>
          </a:xfrm>
          <a:prstGeom prst="rect">
            <a:avLst/>
          </a:prstGeom>
          <a:noFill/>
          <a:ln w="28575" cap="flat" cmpd="sng" algn="ctr">
            <a:solidFill>
              <a:schemeClr val="bg1"/>
            </a:solidFill>
            <a:prstDash val="sysDash"/>
          </a:ln>
          <a:effectLst/>
        </p:spPr>
        <p:txBody>
          <a:bodyPr rot="0" spcFirstLastPara="0" vertOverflow="overflow" horzOverflow="overflow" vert="horz" wrap="square" lIns="91291" tIns="45646" rIns="91291" bIns="45646" numCol="1" spcCol="0" rtlCol="0" fromWordArt="0" anchor="ctr" anchorCtr="0" forceAA="0" compatLnSpc="1">
            <a:prstTxWarp prst="textNoShape">
              <a:avLst/>
            </a:prstTxWarp>
            <a:noAutofit/>
          </a:bodyPr>
          <a:lstStyle/>
          <a:p>
            <a:pPr marL="0" marR="0" lvl="0" indent="0" algn="ctr" defTabSz="913333" rtl="0" eaLnBrk="0" fontAlgn="base" latinLnBrk="0" hangingPunct="0">
              <a:lnSpc>
                <a:spcPct val="100000"/>
              </a:lnSpc>
              <a:spcBef>
                <a:spcPct val="0"/>
              </a:spcBef>
              <a:spcAft>
                <a:spcPct val="0"/>
              </a:spcAft>
              <a:buClrTx/>
              <a:buSzTx/>
              <a:buFontTx/>
              <a:buNone/>
              <a:tabLst/>
              <a:defRPr/>
            </a:pPr>
            <a:endParaRPr kumimoji="0" lang="en-AU" sz="1198"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410" name="Oval 409">
            <a:extLst>
              <a:ext uri="{FF2B5EF4-FFF2-40B4-BE49-F238E27FC236}">
                <a16:creationId xmlns:a16="http://schemas.microsoft.com/office/drawing/2014/main" id="{6C1A5A22-523C-4176-AFB0-13E644C33F77}"/>
              </a:ext>
            </a:extLst>
          </p:cNvPr>
          <p:cNvSpPr/>
          <p:nvPr/>
        </p:nvSpPr>
        <p:spPr bwMode="auto">
          <a:xfrm rot="626857">
            <a:off x="851313" y="4886892"/>
            <a:ext cx="425773" cy="431191"/>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411" name="Oval 410">
            <a:extLst>
              <a:ext uri="{FF2B5EF4-FFF2-40B4-BE49-F238E27FC236}">
                <a16:creationId xmlns:a16="http://schemas.microsoft.com/office/drawing/2014/main" id="{EDB52775-64AD-43B6-BD15-85DA72A4167E}"/>
              </a:ext>
            </a:extLst>
          </p:cNvPr>
          <p:cNvSpPr/>
          <p:nvPr/>
        </p:nvSpPr>
        <p:spPr bwMode="auto">
          <a:xfrm rot="626857">
            <a:off x="1359411" y="4540515"/>
            <a:ext cx="425773" cy="431191"/>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pic>
        <p:nvPicPr>
          <p:cNvPr id="412" name="Graphic 411">
            <a:extLst>
              <a:ext uri="{FF2B5EF4-FFF2-40B4-BE49-F238E27FC236}">
                <a16:creationId xmlns:a16="http://schemas.microsoft.com/office/drawing/2014/main" id="{46BDF278-12DB-4F73-B8AD-E04D733AF9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97833" y="4586957"/>
            <a:ext cx="322554" cy="322554"/>
          </a:xfrm>
          <a:prstGeom prst="rect">
            <a:avLst/>
          </a:prstGeom>
        </p:spPr>
      </p:pic>
      <p:sp>
        <p:nvSpPr>
          <p:cNvPr id="413" name="Oval 412">
            <a:extLst>
              <a:ext uri="{FF2B5EF4-FFF2-40B4-BE49-F238E27FC236}">
                <a16:creationId xmlns:a16="http://schemas.microsoft.com/office/drawing/2014/main" id="{B3B398CC-BE58-4A56-A9B7-6817A5A9ADA5}"/>
              </a:ext>
            </a:extLst>
          </p:cNvPr>
          <p:cNvSpPr/>
          <p:nvPr/>
        </p:nvSpPr>
        <p:spPr bwMode="auto">
          <a:xfrm rot="626857">
            <a:off x="1894981" y="4267292"/>
            <a:ext cx="425773" cy="431191"/>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pic>
        <p:nvPicPr>
          <p:cNvPr id="414" name="Graphic 413">
            <a:extLst>
              <a:ext uri="{FF2B5EF4-FFF2-40B4-BE49-F238E27FC236}">
                <a16:creationId xmlns:a16="http://schemas.microsoft.com/office/drawing/2014/main" id="{BCE2D41A-AEBE-4F97-B452-A4EED55FE8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51794" y="4326920"/>
            <a:ext cx="315265" cy="315265"/>
          </a:xfrm>
          <a:prstGeom prst="rect">
            <a:avLst/>
          </a:prstGeom>
        </p:spPr>
      </p:pic>
      <p:pic>
        <p:nvPicPr>
          <p:cNvPr id="415" name="Graphic 414">
            <a:extLst>
              <a:ext uri="{FF2B5EF4-FFF2-40B4-BE49-F238E27FC236}">
                <a16:creationId xmlns:a16="http://schemas.microsoft.com/office/drawing/2014/main" id="{2DE7C49D-7525-456C-8065-3EA74B00CA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07654" y="4291259"/>
            <a:ext cx="368898" cy="368898"/>
          </a:xfrm>
          <a:prstGeom prst="rect">
            <a:avLst/>
          </a:prstGeom>
        </p:spPr>
      </p:pic>
      <p:pic>
        <p:nvPicPr>
          <p:cNvPr id="416" name="Graphic 415">
            <a:extLst>
              <a:ext uri="{FF2B5EF4-FFF2-40B4-BE49-F238E27FC236}">
                <a16:creationId xmlns:a16="http://schemas.microsoft.com/office/drawing/2014/main" id="{8EBD3C2B-6D17-4115-AFC9-E455A0B2A6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0840" y="4942041"/>
            <a:ext cx="301284" cy="301284"/>
          </a:xfrm>
          <a:prstGeom prst="rect">
            <a:avLst/>
          </a:prstGeom>
        </p:spPr>
      </p:pic>
      <p:pic>
        <p:nvPicPr>
          <p:cNvPr id="417" name="Graphic 416">
            <a:extLst>
              <a:ext uri="{FF2B5EF4-FFF2-40B4-BE49-F238E27FC236}">
                <a16:creationId xmlns:a16="http://schemas.microsoft.com/office/drawing/2014/main" id="{33DC18AF-E225-4AC5-8A53-0F5BF03DE45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555187" y="4229855"/>
            <a:ext cx="326015" cy="326015"/>
          </a:xfrm>
          <a:prstGeom prst="rect">
            <a:avLst/>
          </a:prstGeom>
        </p:spPr>
      </p:pic>
      <p:pic>
        <p:nvPicPr>
          <p:cNvPr id="418" name="Graphic 417">
            <a:extLst>
              <a:ext uri="{FF2B5EF4-FFF2-40B4-BE49-F238E27FC236}">
                <a16:creationId xmlns:a16="http://schemas.microsoft.com/office/drawing/2014/main" id="{F1F28106-408A-4C18-BC66-556F7D912BC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56993" y="4318570"/>
            <a:ext cx="289659" cy="289659"/>
          </a:xfrm>
          <a:prstGeom prst="rect">
            <a:avLst/>
          </a:prstGeom>
        </p:spPr>
      </p:pic>
      <p:pic>
        <p:nvPicPr>
          <p:cNvPr id="419" name="Graphic 418">
            <a:extLst>
              <a:ext uri="{FF2B5EF4-FFF2-40B4-BE49-F238E27FC236}">
                <a16:creationId xmlns:a16="http://schemas.microsoft.com/office/drawing/2014/main" id="{F065584A-79FC-4743-B336-4E7AC327451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746031" y="4338962"/>
            <a:ext cx="268113" cy="268113"/>
          </a:xfrm>
          <a:prstGeom prst="rect">
            <a:avLst/>
          </a:prstGeom>
        </p:spPr>
      </p:pic>
      <p:pic>
        <p:nvPicPr>
          <p:cNvPr id="420" name="Graphic 419">
            <a:extLst>
              <a:ext uri="{FF2B5EF4-FFF2-40B4-BE49-F238E27FC236}">
                <a16:creationId xmlns:a16="http://schemas.microsoft.com/office/drawing/2014/main" id="{4A98E596-C2B4-4935-9306-02B44C8E5AA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48693" y="4475182"/>
            <a:ext cx="291862" cy="291862"/>
          </a:xfrm>
          <a:prstGeom prst="rect">
            <a:avLst/>
          </a:prstGeom>
        </p:spPr>
      </p:pic>
      <p:pic>
        <p:nvPicPr>
          <p:cNvPr id="421" name="Graphic 420">
            <a:extLst>
              <a:ext uri="{FF2B5EF4-FFF2-40B4-BE49-F238E27FC236}">
                <a16:creationId xmlns:a16="http://schemas.microsoft.com/office/drawing/2014/main" id="{B3C0D7DC-6E5F-46D0-8808-9F757FFD3F0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917307" y="4359131"/>
            <a:ext cx="349554" cy="349554"/>
          </a:xfrm>
          <a:prstGeom prst="rect">
            <a:avLst/>
          </a:prstGeom>
        </p:spPr>
      </p:pic>
      <p:sp>
        <p:nvSpPr>
          <p:cNvPr id="422" name="Oval 421">
            <a:extLst>
              <a:ext uri="{FF2B5EF4-FFF2-40B4-BE49-F238E27FC236}">
                <a16:creationId xmlns:a16="http://schemas.microsoft.com/office/drawing/2014/main" id="{ECBD8BED-D1F7-4FD9-B0BF-147A68A6BFAF}"/>
              </a:ext>
            </a:extLst>
          </p:cNvPr>
          <p:cNvSpPr/>
          <p:nvPr/>
        </p:nvSpPr>
        <p:spPr bwMode="auto">
          <a:xfrm rot="626857">
            <a:off x="5481036" y="4330606"/>
            <a:ext cx="425773" cy="431191"/>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pic>
        <p:nvPicPr>
          <p:cNvPr id="423" name="Graphic 422">
            <a:extLst>
              <a:ext uri="{FF2B5EF4-FFF2-40B4-BE49-F238E27FC236}">
                <a16:creationId xmlns:a16="http://schemas.microsoft.com/office/drawing/2014/main" id="{36460A1C-50EC-4D94-9604-54A13322AEC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547027" y="4396984"/>
            <a:ext cx="289903" cy="289903"/>
          </a:xfrm>
          <a:prstGeom prst="rect">
            <a:avLst/>
          </a:prstGeom>
        </p:spPr>
      </p:pic>
      <p:sp>
        <p:nvSpPr>
          <p:cNvPr id="424" name="Oval 423">
            <a:extLst>
              <a:ext uri="{FF2B5EF4-FFF2-40B4-BE49-F238E27FC236}">
                <a16:creationId xmlns:a16="http://schemas.microsoft.com/office/drawing/2014/main" id="{DC1D0144-353E-4D62-8798-9802F6E63E88}"/>
              </a:ext>
            </a:extLst>
          </p:cNvPr>
          <p:cNvSpPr/>
          <p:nvPr/>
        </p:nvSpPr>
        <p:spPr bwMode="auto">
          <a:xfrm rot="626857">
            <a:off x="6079550" y="4238893"/>
            <a:ext cx="425773" cy="431191"/>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425" name="Oval 424">
            <a:extLst>
              <a:ext uri="{FF2B5EF4-FFF2-40B4-BE49-F238E27FC236}">
                <a16:creationId xmlns:a16="http://schemas.microsoft.com/office/drawing/2014/main" id="{E6865B2C-DACD-4E4E-B14F-60DD073C2448}"/>
              </a:ext>
            </a:extLst>
          </p:cNvPr>
          <p:cNvSpPr/>
          <p:nvPr/>
        </p:nvSpPr>
        <p:spPr bwMode="auto">
          <a:xfrm rot="626857">
            <a:off x="6600522" y="3979122"/>
            <a:ext cx="425773" cy="431191"/>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426" name="Oval 425">
            <a:extLst>
              <a:ext uri="{FF2B5EF4-FFF2-40B4-BE49-F238E27FC236}">
                <a16:creationId xmlns:a16="http://schemas.microsoft.com/office/drawing/2014/main" id="{E9D9EEA7-E649-4813-8CDF-4D98F0F44284}"/>
              </a:ext>
            </a:extLst>
          </p:cNvPr>
          <p:cNvSpPr/>
          <p:nvPr/>
        </p:nvSpPr>
        <p:spPr bwMode="auto">
          <a:xfrm rot="626857">
            <a:off x="7141908" y="3773713"/>
            <a:ext cx="425773" cy="431191"/>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pic>
        <p:nvPicPr>
          <p:cNvPr id="427" name="Graphic 426">
            <a:extLst>
              <a:ext uri="{FF2B5EF4-FFF2-40B4-BE49-F238E27FC236}">
                <a16:creationId xmlns:a16="http://schemas.microsoft.com/office/drawing/2014/main" id="{6B7F9F41-A413-4FEC-9E71-61C7623D8FA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111274" y="4271461"/>
            <a:ext cx="364819" cy="364819"/>
          </a:xfrm>
          <a:prstGeom prst="rect">
            <a:avLst/>
          </a:prstGeom>
        </p:spPr>
      </p:pic>
      <p:pic>
        <p:nvPicPr>
          <p:cNvPr id="428" name="Graphic 427">
            <a:extLst>
              <a:ext uri="{FF2B5EF4-FFF2-40B4-BE49-F238E27FC236}">
                <a16:creationId xmlns:a16="http://schemas.microsoft.com/office/drawing/2014/main" id="{9436CE16-38DC-4FE1-814C-57025A9ABABF}"/>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669420" y="4044136"/>
            <a:ext cx="282293" cy="282293"/>
          </a:xfrm>
          <a:prstGeom prst="rect">
            <a:avLst/>
          </a:prstGeom>
        </p:spPr>
      </p:pic>
      <p:pic>
        <p:nvPicPr>
          <p:cNvPr id="429" name="Graphic 428">
            <a:extLst>
              <a:ext uri="{FF2B5EF4-FFF2-40B4-BE49-F238E27FC236}">
                <a16:creationId xmlns:a16="http://schemas.microsoft.com/office/drawing/2014/main" id="{81CA3F71-15E7-45CE-AC4F-C9147378EF5B}"/>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967779" y="3859367"/>
            <a:ext cx="381569" cy="381569"/>
          </a:xfrm>
          <a:prstGeom prst="rect">
            <a:avLst/>
          </a:prstGeom>
        </p:spPr>
      </p:pic>
      <p:sp>
        <p:nvSpPr>
          <p:cNvPr id="430" name="Oval 429">
            <a:extLst>
              <a:ext uri="{FF2B5EF4-FFF2-40B4-BE49-F238E27FC236}">
                <a16:creationId xmlns:a16="http://schemas.microsoft.com/office/drawing/2014/main" id="{34E3E4BF-F84D-43D5-A8F3-F330D5D10680}"/>
              </a:ext>
            </a:extLst>
          </p:cNvPr>
          <p:cNvSpPr/>
          <p:nvPr/>
        </p:nvSpPr>
        <p:spPr bwMode="auto">
          <a:xfrm rot="626857">
            <a:off x="10993661" y="3297164"/>
            <a:ext cx="426049" cy="435534"/>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pic>
        <p:nvPicPr>
          <p:cNvPr id="431" name="Graphic 430">
            <a:extLst>
              <a:ext uri="{FF2B5EF4-FFF2-40B4-BE49-F238E27FC236}">
                <a16:creationId xmlns:a16="http://schemas.microsoft.com/office/drawing/2014/main" id="{00177274-4C32-41BF-A681-6B48EBFF94C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082016" y="3379343"/>
            <a:ext cx="258736" cy="258736"/>
          </a:xfrm>
          <a:prstGeom prst="rect">
            <a:avLst/>
          </a:prstGeom>
        </p:spPr>
      </p:pic>
      <p:pic>
        <p:nvPicPr>
          <p:cNvPr id="432" name="Graphic 431">
            <a:extLst>
              <a:ext uri="{FF2B5EF4-FFF2-40B4-BE49-F238E27FC236}">
                <a16:creationId xmlns:a16="http://schemas.microsoft.com/office/drawing/2014/main" id="{F65F4D3B-1E5C-4489-B3BE-1D88DA4B7B5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182648" y="3832139"/>
            <a:ext cx="326132" cy="326132"/>
          </a:xfrm>
          <a:prstGeom prst="rect">
            <a:avLst/>
          </a:prstGeom>
        </p:spPr>
      </p:pic>
      <p:pic>
        <p:nvPicPr>
          <p:cNvPr id="433" name="Graphic 432">
            <a:extLst>
              <a:ext uri="{FF2B5EF4-FFF2-40B4-BE49-F238E27FC236}">
                <a16:creationId xmlns:a16="http://schemas.microsoft.com/office/drawing/2014/main" id="{1A28E694-7F91-472C-AC1F-BEC4B4072E62}"/>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7250990" y="3898453"/>
            <a:ext cx="194835" cy="194835"/>
          </a:xfrm>
          <a:prstGeom prst="rect">
            <a:avLst/>
          </a:prstGeom>
        </p:spPr>
      </p:pic>
      <p:pic>
        <p:nvPicPr>
          <p:cNvPr id="434" name="Graphic 433">
            <a:extLst>
              <a:ext uri="{FF2B5EF4-FFF2-40B4-BE49-F238E27FC236}">
                <a16:creationId xmlns:a16="http://schemas.microsoft.com/office/drawing/2014/main" id="{4DFCDAA4-0A4F-435A-9F1E-A0F5DDCF71C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738630" y="3702831"/>
            <a:ext cx="326132" cy="326132"/>
          </a:xfrm>
          <a:prstGeom prst="rect">
            <a:avLst/>
          </a:prstGeom>
        </p:spPr>
      </p:pic>
      <p:pic>
        <p:nvPicPr>
          <p:cNvPr id="435" name="Graphic 434">
            <a:extLst>
              <a:ext uri="{FF2B5EF4-FFF2-40B4-BE49-F238E27FC236}">
                <a16:creationId xmlns:a16="http://schemas.microsoft.com/office/drawing/2014/main" id="{5573418B-B2AA-4BA2-B144-F74C5C279BC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305957" y="3816948"/>
            <a:ext cx="326132" cy="326132"/>
          </a:xfrm>
          <a:prstGeom prst="rect">
            <a:avLst/>
          </a:prstGeom>
        </p:spPr>
      </p:pic>
      <p:pic>
        <p:nvPicPr>
          <p:cNvPr id="436" name="Graphic 435">
            <a:extLst>
              <a:ext uri="{FF2B5EF4-FFF2-40B4-BE49-F238E27FC236}">
                <a16:creationId xmlns:a16="http://schemas.microsoft.com/office/drawing/2014/main" id="{38D3FFB8-BE21-4D42-9851-ECD1EB9501CC}"/>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862805" y="3887406"/>
            <a:ext cx="326132" cy="326132"/>
          </a:xfrm>
          <a:prstGeom prst="rect">
            <a:avLst/>
          </a:prstGeom>
        </p:spPr>
      </p:pic>
      <p:pic>
        <p:nvPicPr>
          <p:cNvPr id="437" name="Graphic 436">
            <a:extLst>
              <a:ext uri="{FF2B5EF4-FFF2-40B4-BE49-F238E27FC236}">
                <a16:creationId xmlns:a16="http://schemas.microsoft.com/office/drawing/2014/main" id="{51A9EA9B-797C-4209-854B-7DA64555CF7D}"/>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410920" y="3949413"/>
            <a:ext cx="326132" cy="326132"/>
          </a:xfrm>
          <a:prstGeom prst="rect">
            <a:avLst/>
          </a:prstGeom>
        </p:spPr>
      </p:pic>
      <p:pic>
        <p:nvPicPr>
          <p:cNvPr id="438" name="Graphic 437">
            <a:extLst>
              <a:ext uri="{FF2B5EF4-FFF2-40B4-BE49-F238E27FC236}">
                <a16:creationId xmlns:a16="http://schemas.microsoft.com/office/drawing/2014/main" id="{BAA1ED0D-68FF-4416-8CAF-C3006029DBE1}"/>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7801472" y="3770454"/>
            <a:ext cx="204091" cy="204091"/>
          </a:xfrm>
          <a:prstGeom prst="rect">
            <a:avLst/>
          </a:prstGeom>
        </p:spPr>
      </p:pic>
      <p:pic>
        <p:nvPicPr>
          <p:cNvPr id="439" name="Graphic 438">
            <a:extLst>
              <a:ext uri="{FF2B5EF4-FFF2-40B4-BE49-F238E27FC236}">
                <a16:creationId xmlns:a16="http://schemas.microsoft.com/office/drawing/2014/main" id="{B9C256A4-4E24-440A-91F4-0E2ED1F68193}"/>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8375988" y="3898452"/>
            <a:ext cx="192456" cy="192456"/>
          </a:xfrm>
          <a:prstGeom prst="rect">
            <a:avLst/>
          </a:prstGeom>
        </p:spPr>
      </p:pic>
      <p:pic>
        <p:nvPicPr>
          <p:cNvPr id="440" name="Graphic 439">
            <a:extLst>
              <a:ext uri="{FF2B5EF4-FFF2-40B4-BE49-F238E27FC236}">
                <a16:creationId xmlns:a16="http://schemas.microsoft.com/office/drawing/2014/main" id="{F88951A7-4102-4C9B-BDF0-92B6F847E927}"/>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8916953" y="3967116"/>
            <a:ext cx="201445" cy="201445"/>
          </a:xfrm>
          <a:prstGeom prst="rect">
            <a:avLst/>
          </a:prstGeom>
        </p:spPr>
      </p:pic>
      <p:pic>
        <p:nvPicPr>
          <p:cNvPr id="441" name="Graphic 440">
            <a:extLst>
              <a:ext uri="{FF2B5EF4-FFF2-40B4-BE49-F238E27FC236}">
                <a16:creationId xmlns:a16="http://schemas.microsoft.com/office/drawing/2014/main" id="{1C1796F4-E14B-4C00-AE78-8699615E0162}"/>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9472357" y="4020925"/>
            <a:ext cx="205385" cy="205385"/>
          </a:xfrm>
          <a:prstGeom prst="rect">
            <a:avLst/>
          </a:prstGeom>
        </p:spPr>
      </p:pic>
      <p:sp>
        <p:nvSpPr>
          <p:cNvPr id="442" name="Isosceles Triangle 441">
            <a:extLst>
              <a:ext uri="{FF2B5EF4-FFF2-40B4-BE49-F238E27FC236}">
                <a16:creationId xmlns:a16="http://schemas.microsoft.com/office/drawing/2014/main" id="{8F56050E-304C-4E87-AA58-5CC8B7892632}"/>
              </a:ext>
            </a:extLst>
          </p:cNvPr>
          <p:cNvSpPr/>
          <p:nvPr/>
        </p:nvSpPr>
        <p:spPr bwMode="auto">
          <a:xfrm rot="20326683">
            <a:off x="10366204" y="3384151"/>
            <a:ext cx="462974" cy="380723"/>
          </a:xfrm>
          <a:prstGeom prst="triangl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443" name="Oval 442">
            <a:extLst>
              <a:ext uri="{FF2B5EF4-FFF2-40B4-BE49-F238E27FC236}">
                <a16:creationId xmlns:a16="http://schemas.microsoft.com/office/drawing/2014/main" id="{30D560D2-848B-41B6-97B7-067947A9AC52}"/>
              </a:ext>
            </a:extLst>
          </p:cNvPr>
          <p:cNvSpPr/>
          <p:nvPr/>
        </p:nvSpPr>
        <p:spPr bwMode="auto">
          <a:xfrm rot="10092261">
            <a:off x="10446027" y="3619361"/>
            <a:ext cx="540254" cy="536088"/>
          </a:xfrm>
          <a:prstGeom prst="ellipse">
            <a:avLst/>
          </a:prstGeom>
          <a:solidFill>
            <a:schemeClr val="accent2"/>
          </a:solidFill>
          <a:ln w="25400" cap="flat" cmpd="sng" algn="ctr">
            <a:no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444" name="Oval 443">
            <a:extLst>
              <a:ext uri="{FF2B5EF4-FFF2-40B4-BE49-F238E27FC236}">
                <a16:creationId xmlns:a16="http://schemas.microsoft.com/office/drawing/2014/main" id="{E628A1AC-DAE7-4394-8719-EA7B06ED0174}"/>
              </a:ext>
            </a:extLst>
          </p:cNvPr>
          <p:cNvSpPr/>
          <p:nvPr/>
        </p:nvSpPr>
        <p:spPr bwMode="auto">
          <a:xfrm rot="626857">
            <a:off x="10500267" y="3664185"/>
            <a:ext cx="426049" cy="435534"/>
          </a:xfrm>
          <a:prstGeom prst="ellipse">
            <a:avLst/>
          </a:prstGeom>
          <a:solidFill>
            <a:sysClr val="window" lastClr="FFFFFF"/>
          </a:solidFill>
          <a:ln w="3175" cap="flat" cmpd="sng" algn="ctr">
            <a:solidFill>
              <a:sysClr val="window" lastClr="FFFFFF">
                <a:lumMod val="65000"/>
              </a:sysClr>
            </a:solidFill>
            <a:prstDash val="solid"/>
          </a:ln>
          <a:effectLst/>
        </p:spPr>
        <p:txBody>
          <a:bodyPr anchor="ctr"/>
          <a:lstStyle/>
          <a:p>
            <a:pPr marL="0" marR="0" lvl="0" indent="0" algn="ctr" defTabSz="913479" rtl="0" eaLnBrk="0" fontAlgn="base" latinLnBrk="0" hangingPunct="0">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Arial"/>
              <a:ea typeface="ＭＳ Ｐゴシック"/>
              <a:cs typeface="Arial"/>
            </a:endParaRPr>
          </a:p>
        </p:txBody>
      </p:sp>
      <p:pic>
        <p:nvPicPr>
          <p:cNvPr id="445" name="Graphic 444">
            <a:extLst>
              <a:ext uri="{FF2B5EF4-FFF2-40B4-BE49-F238E27FC236}">
                <a16:creationId xmlns:a16="http://schemas.microsoft.com/office/drawing/2014/main" id="{C158A4CA-99D5-4FA5-812B-71CFBBA01E50}"/>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10554149" y="3705173"/>
            <a:ext cx="355516" cy="355516"/>
          </a:xfrm>
          <a:prstGeom prst="rect">
            <a:avLst/>
          </a:prstGeom>
        </p:spPr>
      </p:pic>
      <p:sp>
        <p:nvSpPr>
          <p:cNvPr id="446" name="TextBox 445">
            <a:extLst>
              <a:ext uri="{FF2B5EF4-FFF2-40B4-BE49-F238E27FC236}">
                <a16:creationId xmlns:a16="http://schemas.microsoft.com/office/drawing/2014/main" id="{277B30DE-E3D0-4F65-955A-01D1BFD2A34A}"/>
              </a:ext>
            </a:extLst>
          </p:cNvPr>
          <p:cNvSpPr txBox="1">
            <a:spLocks noChangeArrowheads="1"/>
          </p:cNvSpPr>
          <p:nvPr/>
        </p:nvSpPr>
        <p:spPr bwMode="auto">
          <a:xfrm>
            <a:off x="9908552" y="3214566"/>
            <a:ext cx="1198954" cy="142805"/>
          </a:xfrm>
          <a:prstGeom prst="rect">
            <a:avLst/>
          </a:prstGeom>
          <a:noFill/>
          <a:ln w="9525">
            <a:noFill/>
            <a:miter lim="800000"/>
            <a:headEnd/>
            <a:tailEnd/>
          </a:ln>
        </p:spPr>
        <p:txBody>
          <a:bodyPr wrap="square" lIns="19503" tIns="9752" rIns="19503" bIns="9752">
            <a:spAutoFit/>
          </a:bodyPr>
          <a:lstStyle/>
          <a:p>
            <a:pPr marL="0" marR="0" lvl="0" indent="0" algn="ctr" defTabSz="210555"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a:ln>
                  <a:noFill/>
                </a:ln>
                <a:effectLst/>
                <a:uLnTx/>
                <a:uFillTx/>
                <a:latin typeface="EYInterstate Light" panose="02000506000000020004" pitchFamily="2" charset="0"/>
                <a:ea typeface="MS PGothic" panose="020B0600070205080204" pitchFamily="34" charset="-128"/>
                <a:cs typeface="Arial"/>
              </a:rPr>
              <a:t>XVIII. MVP</a:t>
            </a:r>
          </a:p>
        </p:txBody>
      </p:sp>
      <p:sp>
        <p:nvSpPr>
          <p:cNvPr id="135" name="Chevron 26">
            <a:extLst>
              <a:ext uri="{FF2B5EF4-FFF2-40B4-BE49-F238E27FC236}">
                <a16:creationId xmlns:a16="http://schemas.microsoft.com/office/drawing/2014/main" id="{6AE309FB-B0FF-4F7D-B5A2-4CCBDF499CB9}"/>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a:solidFill>
                  <a:schemeClr val="bg2"/>
                </a:solidFill>
                <a:latin typeface="EYInterstate"/>
                <a:sym typeface="EYInterstate Light" panose="02000506000000020004" pitchFamily="2" charset="0"/>
              </a:rPr>
              <a:t>Point of View</a:t>
            </a:r>
          </a:p>
        </p:txBody>
      </p:sp>
      <p:sp>
        <p:nvSpPr>
          <p:cNvPr id="136" name="Rectangle 135">
            <a:extLst>
              <a:ext uri="{FF2B5EF4-FFF2-40B4-BE49-F238E27FC236}">
                <a16:creationId xmlns:a16="http://schemas.microsoft.com/office/drawing/2014/main" id="{93DF81AC-6784-4347-832E-39008F87F014}"/>
              </a:ext>
            </a:extLst>
          </p:cNvPr>
          <p:cNvSpPr/>
          <p:nvPr/>
        </p:nvSpPr>
        <p:spPr>
          <a:xfrm>
            <a:off x="9398848" y="6563678"/>
            <a:ext cx="349978" cy="208758"/>
          </a:xfrm>
          <a:prstGeom prst="rect">
            <a:avLst/>
          </a:prstGeom>
          <a:noFill/>
          <a:ln w="28575" cap="flat" cmpd="sng" algn="ctr">
            <a:solidFill>
              <a:schemeClr val="bg1"/>
            </a:solidFill>
            <a:prstDash val="sysDash"/>
          </a:ln>
          <a:effectLst/>
        </p:spPr>
        <p:txBody>
          <a:bodyPr rot="0" spcFirstLastPara="0" vertOverflow="overflow" horzOverflow="overflow" vert="horz" wrap="square" lIns="91291" tIns="45646" rIns="91291" bIns="45646" numCol="1" spcCol="0" rtlCol="0" fromWordArt="0" anchor="ctr" anchorCtr="0" forceAA="0" compatLnSpc="1">
            <a:prstTxWarp prst="textNoShape">
              <a:avLst/>
            </a:prstTxWarp>
            <a:noAutofit/>
          </a:bodyPr>
          <a:lstStyle/>
          <a:p>
            <a:pPr marL="0" marR="0" lvl="0" indent="0" algn="ctr" defTabSz="913333" rtl="0" eaLnBrk="0" fontAlgn="base" latinLnBrk="0" hangingPunct="0">
              <a:lnSpc>
                <a:spcPct val="100000"/>
              </a:lnSpc>
              <a:spcBef>
                <a:spcPct val="0"/>
              </a:spcBef>
              <a:spcAft>
                <a:spcPct val="0"/>
              </a:spcAft>
              <a:buClrTx/>
              <a:buSzTx/>
              <a:buFontTx/>
              <a:buNone/>
              <a:tabLst/>
              <a:defRPr/>
            </a:pPr>
            <a:endParaRPr kumimoji="0" lang="en-AU" sz="1198"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3" name="Rectangle 2">
            <a:extLst>
              <a:ext uri="{FF2B5EF4-FFF2-40B4-BE49-F238E27FC236}">
                <a16:creationId xmlns:a16="http://schemas.microsoft.com/office/drawing/2014/main" id="{97D6369E-4727-4EA3-9D40-32E9EDA37253}"/>
              </a:ext>
            </a:extLst>
          </p:cNvPr>
          <p:cNvSpPr/>
          <p:nvPr/>
        </p:nvSpPr>
        <p:spPr>
          <a:xfrm>
            <a:off x="9725625" y="6525070"/>
            <a:ext cx="2122621" cy="276999"/>
          </a:xfrm>
          <a:prstGeom prst="rect">
            <a:avLst/>
          </a:prstGeom>
        </p:spPr>
        <p:txBody>
          <a:bodyPr wrap="square">
            <a:spAutoFit/>
          </a:bodyPr>
          <a:lstStyle/>
          <a:p>
            <a:r>
              <a:rPr lang="en-US" sz="1200" i="1">
                <a:solidFill>
                  <a:schemeClr val="tx1">
                    <a:lumMod val="50000"/>
                    <a:lumOff val="50000"/>
                  </a:schemeClr>
                </a:solidFill>
                <a:latin typeface="+mn-lt"/>
              </a:rPr>
              <a:t>Current Scope &amp; Focus</a:t>
            </a:r>
          </a:p>
        </p:txBody>
      </p:sp>
      <p:sp>
        <p:nvSpPr>
          <p:cNvPr id="138" name="Rectangle 137">
            <a:extLst>
              <a:ext uri="{FF2B5EF4-FFF2-40B4-BE49-F238E27FC236}">
                <a16:creationId xmlns:a16="http://schemas.microsoft.com/office/drawing/2014/main" id="{4DE6D307-1C1E-4FED-A281-7556BBCC2F0F}"/>
              </a:ext>
            </a:extLst>
          </p:cNvPr>
          <p:cNvSpPr/>
          <p:nvPr/>
        </p:nvSpPr>
        <p:spPr>
          <a:xfrm>
            <a:off x="8617084" y="6525070"/>
            <a:ext cx="782520" cy="276999"/>
          </a:xfrm>
          <a:prstGeom prst="rect">
            <a:avLst/>
          </a:prstGeom>
        </p:spPr>
        <p:txBody>
          <a:bodyPr wrap="square">
            <a:spAutoFit/>
          </a:bodyPr>
          <a:lstStyle/>
          <a:p>
            <a:r>
              <a:rPr lang="en-US" sz="1200" b="1" u="sng">
                <a:latin typeface="+mn-lt"/>
              </a:rPr>
              <a:t>Legend:</a:t>
            </a:r>
          </a:p>
        </p:txBody>
      </p:sp>
    </p:spTree>
    <p:extLst>
      <p:ext uri="{BB962C8B-B14F-4D97-AF65-F5344CB8AC3E}">
        <p14:creationId xmlns:p14="http://schemas.microsoft.com/office/powerpoint/2010/main" val="8906848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52937"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sz="2180"/>
              <a:t>Implementation considerations to include use-cases / initiatives, data platform design and dependency on enterprise capabilities</a:t>
            </a:r>
            <a:br>
              <a:rPr lang="en-US" sz="2180"/>
            </a:br>
            <a:endParaRPr lang="en-US" sz="2180"/>
          </a:p>
        </p:txBody>
      </p:sp>
      <p:sp>
        <p:nvSpPr>
          <p:cNvPr id="146" name="TextBox 145">
            <a:extLst>
              <a:ext uri="{FF2B5EF4-FFF2-40B4-BE49-F238E27FC236}">
                <a16:creationId xmlns:a16="http://schemas.microsoft.com/office/drawing/2014/main" id="{5E5B7301-E0D7-43A1-8033-79E59BB59102}"/>
              </a:ext>
            </a:extLst>
          </p:cNvPr>
          <p:cNvSpPr txBox="1"/>
          <p:nvPr/>
        </p:nvSpPr>
        <p:spPr>
          <a:xfrm>
            <a:off x="917189" y="1246611"/>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Inputs</a:t>
            </a:r>
          </a:p>
        </p:txBody>
      </p:sp>
      <p:sp>
        <p:nvSpPr>
          <p:cNvPr id="147" name="TextBox 146">
            <a:extLst>
              <a:ext uri="{FF2B5EF4-FFF2-40B4-BE49-F238E27FC236}">
                <a16:creationId xmlns:a16="http://schemas.microsoft.com/office/drawing/2014/main" id="{7652C7A2-374E-45CC-8DFA-0F2B70F41908}"/>
              </a:ext>
            </a:extLst>
          </p:cNvPr>
          <p:cNvSpPr txBox="1"/>
          <p:nvPr/>
        </p:nvSpPr>
        <p:spPr>
          <a:xfrm>
            <a:off x="3923334" y="1246611"/>
            <a:ext cx="4572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EYInterstate"/>
                <a:cs typeface="Arial" charset="0"/>
              </a:rPr>
              <a:t>Process</a:t>
            </a:r>
          </a:p>
        </p:txBody>
      </p:sp>
      <p:sp>
        <p:nvSpPr>
          <p:cNvPr id="148" name="TextBox 147">
            <a:extLst>
              <a:ext uri="{FF2B5EF4-FFF2-40B4-BE49-F238E27FC236}">
                <a16:creationId xmlns:a16="http://schemas.microsoft.com/office/drawing/2014/main" id="{75166EDB-7795-4686-A355-47297C332ED8}"/>
              </a:ext>
            </a:extLst>
          </p:cNvPr>
          <p:cNvSpPr txBox="1"/>
          <p:nvPr/>
        </p:nvSpPr>
        <p:spPr>
          <a:xfrm>
            <a:off x="9380050" y="1246610"/>
            <a:ext cx="2286000" cy="287543"/>
          </a:xfrm>
          <a:prstGeom prst="rect">
            <a:avLst/>
          </a:prstGeom>
          <a:solidFill>
            <a:srgbClr val="00A2AD"/>
          </a:solidFill>
        </p:spPr>
        <p:txBody>
          <a:bodyPr wrap="square" lIns="101882" tIns="50941" rIns="101882" bIns="50941"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200" b="1" kern="0">
                <a:solidFill>
                  <a:srgbClr val="FFFFFF"/>
                </a:solidFill>
                <a:latin typeface="EYInterstate"/>
              </a:rPr>
              <a:t>O</a:t>
            </a:r>
            <a:r>
              <a:rPr kumimoji="0" lang="en-US" sz="1200" b="1" i="0" u="none" strike="noStrike" kern="0" cap="none" spc="0" normalizeH="0" baseline="0" noProof="0" err="1">
                <a:ln>
                  <a:noFill/>
                </a:ln>
                <a:solidFill>
                  <a:srgbClr val="FFFFFF"/>
                </a:solidFill>
                <a:effectLst/>
                <a:uLnTx/>
                <a:uFillTx/>
                <a:latin typeface="EYInterstate"/>
                <a:cs typeface="Arial" charset="0"/>
              </a:rPr>
              <a:t>utputs</a:t>
            </a:r>
            <a:endParaRPr kumimoji="0" lang="en-US" sz="1200" b="1" i="0" u="none" strike="noStrike" kern="0" cap="none" spc="0" normalizeH="0" baseline="0" noProof="0">
              <a:ln>
                <a:noFill/>
              </a:ln>
              <a:solidFill>
                <a:srgbClr val="FFFFFF"/>
              </a:solidFill>
              <a:effectLst/>
              <a:uLnTx/>
              <a:uFillTx/>
              <a:latin typeface="EYInterstate"/>
              <a:cs typeface="Arial" charset="0"/>
            </a:endParaRPr>
          </a:p>
        </p:txBody>
      </p:sp>
      <p:sp>
        <p:nvSpPr>
          <p:cNvPr id="149" name="TextBox 148">
            <a:extLst>
              <a:ext uri="{FF2B5EF4-FFF2-40B4-BE49-F238E27FC236}">
                <a16:creationId xmlns:a16="http://schemas.microsoft.com/office/drawing/2014/main" id="{D534D60A-1CC6-405D-B904-771044A0B1E3}"/>
              </a:ext>
            </a:extLst>
          </p:cNvPr>
          <p:cNvSpPr txBox="1"/>
          <p:nvPr/>
        </p:nvSpPr>
        <p:spPr>
          <a:xfrm>
            <a:off x="3946324" y="3961108"/>
            <a:ext cx="4572000" cy="82296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lvl="1">
              <a:defRPr/>
            </a:pPr>
            <a:r>
              <a:rPr kumimoji="0" lang="en-US" sz="1100" b="1" i="0" u="none" strike="noStrike" kern="0" cap="none" spc="0" normalizeH="0" baseline="0" noProof="0">
                <a:ln>
                  <a:noFill/>
                </a:ln>
                <a:solidFill>
                  <a:srgbClr val="000000"/>
                </a:solidFill>
                <a:effectLst/>
                <a:uLnTx/>
                <a:uFillTx/>
                <a:latin typeface="EYInterstate"/>
                <a:cs typeface="Arial" charset="0"/>
              </a:rPr>
              <a:t>Step 4: Develop the IT Strategic Roadmap </a:t>
            </a:r>
            <a:r>
              <a:rPr lang="en-US" sz="1100" b="0">
                <a:solidFill>
                  <a:srgbClr val="000000"/>
                </a:solidFill>
                <a:latin typeface="EYInterstate"/>
              </a:rPr>
              <a:t>that will have a practical implementation plan accounting for platform build and enterprise dependencies</a:t>
            </a:r>
          </a:p>
        </p:txBody>
      </p:sp>
      <p:sp>
        <p:nvSpPr>
          <p:cNvPr id="150" name="TextBox 149">
            <a:extLst>
              <a:ext uri="{FF2B5EF4-FFF2-40B4-BE49-F238E27FC236}">
                <a16:creationId xmlns:a16="http://schemas.microsoft.com/office/drawing/2014/main" id="{CDB845D0-6A9D-4473-AC48-610FFF1D4474}"/>
              </a:ext>
            </a:extLst>
          </p:cNvPr>
          <p:cNvSpPr txBox="1"/>
          <p:nvPr/>
        </p:nvSpPr>
        <p:spPr>
          <a:xfrm>
            <a:off x="3932570" y="2411271"/>
            <a:ext cx="4572000" cy="599677"/>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lvl="1">
              <a:defRPr/>
            </a:pPr>
            <a:r>
              <a:rPr kumimoji="0" lang="en-US" sz="1100" b="1" i="0" u="none" strike="noStrike" kern="0" cap="none" spc="0" normalizeH="0" baseline="0" noProof="0">
                <a:ln>
                  <a:noFill/>
                </a:ln>
                <a:solidFill>
                  <a:srgbClr val="000000"/>
                </a:solidFill>
                <a:effectLst/>
                <a:uLnTx/>
                <a:uFillTx/>
                <a:latin typeface="EYInterstate"/>
                <a:cs typeface="Arial" charset="0"/>
              </a:rPr>
              <a:t>Step 2: </a:t>
            </a:r>
            <a:r>
              <a:rPr lang="en-US" sz="1100">
                <a:solidFill>
                  <a:srgbClr val="000000"/>
                </a:solidFill>
                <a:latin typeface="EYInterstate"/>
              </a:rPr>
              <a:t>Establish &amp; understand data flows </a:t>
            </a:r>
            <a:r>
              <a:rPr lang="en-US" sz="1100" b="0">
                <a:solidFill>
                  <a:srgbClr val="000000"/>
                </a:solidFill>
                <a:latin typeface="EYInterstate"/>
              </a:rPr>
              <a:t>for current &amp; target state</a:t>
            </a:r>
            <a:r>
              <a:rPr lang="en-US" sz="1100">
                <a:solidFill>
                  <a:srgbClr val="000000"/>
                </a:solidFill>
                <a:latin typeface="EYInterstate"/>
              </a:rPr>
              <a:t> </a:t>
            </a:r>
            <a:r>
              <a:rPr kumimoji="0" lang="en-US" sz="1100" b="0" i="0" u="none" strike="noStrike" kern="0" cap="none" spc="0" normalizeH="0" baseline="0" noProof="0">
                <a:ln>
                  <a:noFill/>
                </a:ln>
                <a:solidFill>
                  <a:srgbClr val="000000"/>
                </a:solidFill>
                <a:effectLst/>
                <a:uLnTx/>
                <a:uFillTx/>
                <a:latin typeface="EYInterstate"/>
                <a:cs typeface="Arial" charset="0"/>
              </a:rPr>
              <a:t>capabilities and platform standards</a:t>
            </a:r>
          </a:p>
        </p:txBody>
      </p:sp>
      <p:sp>
        <p:nvSpPr>
          <p:cNvPr id="151" name="Isosceles Triangle 112">
            <a:extLst>
              <a:ext uri="{FF2B5EF4-FFF2-40B4-BE49-F238E27FC236}">
                <a16:creationId xmlns:a16="http://schemas.microsoft.com/office/drawing/2014/main" id="{2F2AAA87-F6CF-45AA-B483-8297309146DC}"/>
              </a:ext>
            </a:extLst>
          </p:cNvPr>
          <p:cNvSpPr/>
          <p:nvPr/>
        </p:nvSpPr>
        <p:spPr>
          <a:xfrm rot="5400000">
            <a:off x="7097740" y="3386025"/>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2" name="Isosceles Triangle 112">
            <a:extLst>
              <a:ext uri="{FF2B5EF4-FFF2-40B4-BE49-F238E27FC236}">
                <a16:creationId xmlns:a16="http://schemas.microsoft.com/office/drawing/2014/main" id="{9695B018-2E94-44CC-8B5A-D596E2C3F8FF}"/>
              </a:ext>
            </a:extLst>
          </p:cNvPr>
          <p:cNvSpPr/>
          <p:nvPr/>
        </p:nvSpPr>
        <p:spPr>
          <a:xfrm rot="5400000">
            <a:off x="1906642" y="3386025"/>
            <a:ext cx="3393069" cy="287774"/>
          </a:xfrm>
          <a:prstGeom prst="triangle">
            <a:avLst/>
          </a:prstGeom>
          <a:solidFill>
            <a:srgbClr val="00A2AD"/>
          </a:solidFill>
          <a:ln w="12700" algn="ctr">
            <a:noFill/>
            <a:miter lim="800000"/>
            <a:headEnd/>
            <a:tailEnd/>
          </a:ln>
        </p:spPr>
        <p:txBody>
          <a:bodyPr lIns="0" tIns="0" rIns="0" bIns="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EYInterstate"/>
              <a:cs typeface="Arial" charset="0"/>
            </a:endParaRPr>
          </a:p>
        </p:txBody>
      </p:sp>
      <p:sp>
        <p:nvSpPr>
          <p:cNvPr id="153" name="TextBox 152">
            <a:extLst>
              <a:ext uri="{FF2B5EF4-FFF2-40B4-BE49-F238E27FC236}">
                <a16:creationId xmlns:a16="http://schemas.microsoft.com/office/drawing/2014/main" id="{7781A19B-B4C7-4A78-9B85-C33659A9505E}"/>
              </a:ext>
            </a:extLst>
          </p:cNvPr>
          <p:cNvSpPr txBox="1"/>
          <p:nvPr/>
        </p:nvSpPr>
        <p:spPr>
          <a:xfrm>
            <a:off x="3932570" y="1744377"/>
            <a:ext cx="4572000" cy="549918"/>
          </a:xfrm>
          <a:prstGeom prst="rect">
            <a:avLst/>
          </a:prstGeom>
          <a:solidFill>
            <a:schemeClr val="tx2">
              <a:lumMod val="95000"/>
            </a:schemeClr>
          </a:solidFill>
          <a:ln>
            <a:noFill/>
          </a:ln>
        </p:spPr>
        <p:txBody>
          <a:bodyPr wrap="square" lIns="101882" tIns="91440" rIns="91440" bIns="50941" rtlCol="0" anchor="ctr" anchorCtr="0">
            <a:noAutofit/>
          </a:bodyPr>
          <a:lstStyle/>
          <a:p>
            <a:pPr marL="449273" marR="0" lvl="1" indent="-449273" algn="l" defTabSz="914400" rtl="0" eaLnBrk="0" fontAlgn="base" latinLnBrk="0" hangingPunct="0">
              <a:lnSpc>
                <a:spcPct val="90000"/>
              </a:lnSpc>
              <a:spcBef>
                <a:spcPts val="669"/>
              </a:spcBef>
              <a:spcAft>
                <a:spcPct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1: Receive inputs </a:t>
            </a:r>
            <a:r>
              <a:rPr kumimoji="0" lang="en-US" sz="1100" b="0" i="0" u="none" strike="noStrike" kern="0" cap="none" spc="0" normalizeH="0" baseline="0" noProof="0">
                <a:ln>
                  <a:noFill/>
                </a:ln>
                <a:solidFill>
                  <a:srgbClr val="000000"/>
                </a:solidFill>
                <a:effectLst/>
                <a:uLnTx/>
                <a:uFillTx/>
                <a:latin typeface="EYInterstate"/>
                <a:cs typeface="Arial" charset="0"/>
              </a:rPr>
              <a:t>from the current state findings for platform capabilities</a:t>
            </a:r>
          </a:p>
        </p:txBody>
      </p:sp>
      <p:sp>
        <p:nvSpPr>
          <p:cNvPr id="155" name="TextBox 154">
            <a:extLst>
              <a:ext uri="{FF2B5EF4-FFF2-40B4-BE49-F238E27FC236}">
                <a16:creationId xmlns:a16="http://schemas.microsoft.com/office/drawing/2014/main" id="{8E6D95C4-72B3-4A50-B113-6E8D8505955B}"/>
              </a:ext>
            </a:extLst>
          </p:cNvPr>
          <p:cNvSpPr txBox="1"/>
          <p:nvPr/>
        </p:nvSpPr>
        <p:spPr>
          <a:xfrm>
            <a:off x="8967304" y="1630014"/>
            <a:ext cx="3223560" cy="261610"/>
          </a:xfrm>
          <a:prstGeom prst="rect">
            <a:avLst/>
          </a:prstGeom>
        </p:spPr>
        <p:txBody>
          <a:bodyPr wrap="square">
            <a:spAutoFit/>
          </a:bodyPr>
          <a:lstStyle>
            <a:defPPr>
              <a:defRPr lang="en-US"/>
            </a:defPPr>
            <a:lvl1pPr algn="ctr" eaLnBrk="0" hangingPunct="0">
              <a:spcAft>
                <a:spcPct val="0"/>
              </a:spcAft>
              <a:buClrTx/>
              <a:buSzTx/>
              <a:defRPr sz="1100" b="1" kern="0">
                <a:solidFill>
                  <a:srgbClr val="000000"/>
                </a:solidFill>
                <a:latin typeface="EYInterstate"/>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A2AD"/>
                </a:solidFill>
                <a:effectLst/>
                <a:uLnTx/>
                <a:uFillTx/>
                <a:latin typeface="EYInterstate"/>
                <a:cs typeface="Arial" charset="0"/>
              </a:rPr>
              <a:t>Work Product: </a:t>
            </a:r>
            <a:r>
              <a:rPr kumimoji="0" lang="en-US" sz="1100" b="0" i="0" u="none" strike="noStrike" kern="0" cap="none" spc="0" normalizeH="0" baseline="0" noProof="0">
                <a:ln>
                  <a:noFill/>
                </a:ln>
                <a:solidFill>
                  <a:srgbClr val="000000"/>
                </a:solidFill>
                <a:effectLst/>
                <a:uLnTx/>
                <a:uFillTx/>
                <a:latin typeface="EYInterstate"/>
                <a:cs typeface="Arial" charset="0"/>
              </a:rPr>
              <a:t>IT Strategic Roadmap</a:t>
            </a:r>
          </a:p>
        </p:txBody>
      </p:sp>
      <p:sp>
        <p:nvSpPr>
          <p:cNvPr id="156" name="Rectangle 155">
            <a:extLst>
              <a:ext uri="{FF2B5EF4-FFF2-40B4-BE49-F238E27FC236}">
                <a16:creationId xmlns:a16="http://schemas.microsoft.com/office/drawing/2014/main" id="{5C97D5A3-5092-409D-90BB-21DFF9F6FC53}"/>
              </a:ext>
            </a:extLst>
          </p:cNvPr>
          <p:cNvSpPr/>
          <p:nvPr/>
        </p:nvSpPr>
        <p:spPr>
          <a:xfrm>
            <a:off x="1141635" y="3000160"/>
            <a:ext cx="1890760"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Data Platform Capabilities Reference</a:t>
            </a:r>
          </a:p>
        </p:txBody>
      </p:sp>
      <p:sp>
        <p:nvSpPr>
          <p:cNvPr id="158" name="Rectangle 157">
            <a:extLst>
              <a:ext uri="{FF2B5EF4-FFF2-40B4-BE49-F238E27FC236}">
                <a16:creationId xmlns:a16="http://schemas.microsoft.com/office/drawing/2014/main" id="{340B9055-8199-458E-82ED-DEDF74C39130}"/>
              </a:ext>
            </a:extLst>
          </p:cNvPr>
          <p:cNvSpPr/>
          <p:nvPr/>
        </p:nvSpPr>
        <p:spPr>
          <a:xfrm>
            <a:off x="983063" y="5001537"/>
            <a:ext cx="2226989" cy="430887"/>
          </a:xfrm>
          <a:prstGeom prst="rect">
            <a:avLst/>
          </a:prstGeom>
        </p:spPr>
        <p:txBody>
          <a:bodyPr wrap="square">
            <a:spAutoFit/>
          </a:bodyPr>
          <a:lstStyle/>
          <a:p>
            <a:pPr lvl="0" algn="ctr">
              <a:defRPr/>
            </a:pPr>
            <a:r>
              <a:rPr lang="en-US" sz="1100" b="1" kern="0">
                <a:solidFill>
                  <a:srgbClr val="000000"/>
                </a:solidFill>
                <a:latin typeface="EYInterstate"/>
              </a:rPr>
              <a:t>Use Cases &amp; Initiatives</a:t>
            </a:r>
          </a:p>
          <a:p>
            <a:pPr lvl="0" algn="ctr">
              <a:defRPr/>
            </a:pPr>
            <a:r>
              <a:rPr lang="en-US" sz="1100" b="1" kern="0">
                <a:solidFill>
                  <a:srgbClr val="000000"/>
                </a:solidFill>
                <a:latin typeface="EYInterstate"/>
              </a:rPr>
              <a:t>Elaboration and Prioritization</a:t>
            </a:r>
          </a:p>
        </p:txBody>
      </p:sp>
      <p:sp>
        <p:nvSpPr>
          <p:cNvPr id="162" name="TextBox 161">
            <a:extLst>
              <a:ext uri="{FF2B5EF4-FFF2-40B4-BE49-F238E27FC236}">
                <a16:creationId xmlns:a16="http://schemas.microsoft.com/office/drawing/2014/main" id="{8BCCFA91-C62B-4AFC-9E86-5C683DB4C972}"/>
              </a:ext>
            </a:extLst>
          </p:cNvPr>
          <p:cNvSpPr txBox="1"/>
          <p:nvPr/>
        </p:nvSpPr>
        <p:spPr>
          <a:xfrm>
            <a:off x="3932570" y="3131090"/>
            <a:ext cx="4572000" cy="731520"/>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Step 3: Analyze the Use-case initiatives </a:t>
            </a:r>
            <a:r>
              <a:rPr kumimoji="0" lang="en-US" sz="1100" b="0" i="0" u="none" strike="noStrike" kern="0" cap="none" spc="0" normalizeH="0" baseline="0" noProof="0">
                <a:ln>
                  <a:noFill/>
                </a:ln>
                <a:solidFill>
                  <a:srgbClr val="000000"/>
                </a:solidFill>
                <a:effectLst/>
                <a:uLnTx/>
                <a:uFillTx/>
                <a:latin typeface="EYInterstate"/>
                <a:cs typeface="Arial" charset="0"/>
              </a:rPr>
              <a:t>focusing on </a:t>
            </a:r>
            <a:r>
              <a:rPr lang="it-IT" sz="1100" b="0">
                <a:solidFill>
                  <a:srgbClr val="000000"/>
                </a:solidFill>
                <a:latin typeface="EYInterstate"/>
              </a:rPr>
              <a:t>details around prioritization and implementation complexities</a:t>
            </a:r>
            <a:endParaRPr kumimoji="0" lang="it-IT" sz="1100" b="0" i="0" u="none" strike="noStrike" kern="0" cap="none" spc="0" normalizeH="0" baseline="0" noProof="0">
              <a:ln>
                <a:noFill/>
              </a:ln>
              <a:solidFill>
                <a:srgbClr val="000000"/>
              </a:solidFill>
              <a:effectLst/>
              <a:uLnTx/>
              <a:uFillTx/>
              <a:latin typeface="EYInterstate"/>
              <a:cs typeface="Arial" charset="0"/>
            </a:endParaRPr>
          </a:p>
        </p:txBody>
      </p:sp>
      <p:sp>
        <p:nvSpPr>
          <p:cNvPr id="164" name="Rectangle 163">
            <a:extLst>
              <a:ext uri="{FF2B5EF4-FFF2-40B4-BE49-F238E27FC236}">
                <a16:creationId xmlns:a16="http://schemas.microsoft.com/office/drawing/2014/main" id="{18BEB7E2-4CEA-4B16-A0C7-5950138F8079}"/>
              </a:ext>
            </a:extLst>
          </p:cNvPr>
          <p:cNvSpPr/>
          <p:nvPr/>
        </p:nvSpPr>
        <p:spPr>
          <a:xfrm>
            <a:off x="9506995" y="4101642"/>
            <a:ext cx="2014975" cy="261610"/>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EYInterstate"/>
                <a:cs typeface="Arial" charset="0"/>
              </a:rPr>
              <a:t>IT Strategic Roadmap</a:t>
            </a:r>
          </a:p>
        </p:txBody>
      </p:sp>
      <p:sp>
        <p:nvSpPr>
          <p:cNvPr id="169" name="Rectangle 168">
            <a:extLst>
              <a:ext uri="{FF2B5EF4-FFF2-40B4-BE49-F238E27FC236}">
                <a16:creationId xmlns:a16="http://schemas.microsoft.com/office/drawing/2014/main" id="{C2DEE520-32F2-4571-9C56-961FFAB1B53A}"/>
              </a:ext>
            </a:extLst>
          </p:cNvPr>
          <p:cNvSpPr/>
          <p:nvPr/>
        </p:nvSpPr>
        <p:spPr>
          <a:xfrm>
            <a:off x="9065272" y="4307900"/>
            <a:ext cx="2898423" cy="1446550"/>
          </a:xfrm>
          <a:prstGeom prst="rect">
            <a:avLst/>
          </a:prstGeom>
        </p:spPr>
        <p:txBody>
          <a:bodyPr wrap="square">
            <a:spAutoFit/>
          </a:bodyPr>
          <a:lstStyle/>
          <a:p>
            <a:pPr lvl="0">
              <a:defRPr/>
            </a:pPr>
            <a:r>
              <a:rPr lang="en-US" sz="1100" kern="0" dirty="0">
                <a:solidFill>
                  <a:srgbClr val="000000"/>
                </a:solidFill>
                <a:latin typeface="EYInterstate"/>
              </a:rPr>
              <a:t>The roadmap can be broken down into practical implementation plans focused on delivering incremental benefits in alignment with other enterprise initiatives. The timeline, milestones and deliverables for data platform implementation will be clearly indicated in the road map.</a:t>
            </a:r>
          </a:p>
        </p:txBody>
      </p:sp>
      <p:sp>
        <p:nvSpPr>
          <p:cNvPr id="176" name="TextBox 175">
            <a:extLst>
              <a:ext uri="{FF2B5EF4-FFF2-40B4-BE49-F238E27FC236}">
                <a16:creationId xmlns:a16="http://schemas.microsoft.com/office/drawing/2014/main" id="{963963BC-DBBB-4467-BFA2-30E897DDB507}"/>
              </a:ext>
            </a:extLst>
          </p:cNvPr>
          <p:cNvSpPr txBox="1"/>
          <p:nvPr/>
        </p:nvSpPr>
        <p:spPr>
          <a:xfrm>
            <a:off x="890987" y="5936424"/>
            <a:ext cx="1221800" cy="472209"/>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EYInterstate"/>
                <a:cs typeface="Arial" charset="0"/>
              </a:rPr>
              <a:t>EY Accelerator:</a:t>
            </a:r>
          </a:p>
        </p:txBody>
      </p:sp>
      <p:sp>
        <p:nvSpPr>
          <p:cNvPr id="177" name="TextBox 176">
            <a:extLst>
              <a:ext uri="{FF2B5EF4-FFF2-40B4-BE49-F238E27FC236}">
                <a16:creationId xmlns:a16="http://schemas.microsoft.com/office/drawing/2014/main" id="{1AC9B613-63E5-40B4-80B9-7032CD10F81C}"/>
              </a:ext>
            </a:extLst>
          </p:cNvPr>
          <p:cNvSpPr txBox="1"/>
          <p:nvPr/>
        </p:nvSpPr>
        <p:spPr>
          <a:xfrm>
            <a:off x="1990758" y="5752631"/>
            <a:ext cx="9675291" cy="895003"/>
          </a:xfrm>
          <a:prstGeom prst="rect">
            <a:avLst/>
          </a:prstGeom>
          <a:solidFill>
            <a:srgbClr val="F2F2F2"/>
          </a:solidFill>
          <a:ln>
            <a:noFill/>
          </a:ln>
        </p:spPr>
        <p:txBody>
          <a:bodyPr wrap="square" lIns="101882" tIns="91440" rIns="101882" bIns="50941" rtlCol="0" anchor="ctr" anchorCtr="0">
            <a:noAutofit/>
          </a:bodyPr>
          <a:lstStyle>
            <a:defPPr>
              <a:defRPr lang="en-US"/>
            </a:defPPr>
            <a:lvl2pPr marL="449273" lvl="1" indent="-449273">
              <a:lnSpc>
                <a:spcPct val="90000"/>
              </a:lnSpc>
              <a:spcBef>
                <a:spcPts val="669"/>
              </a:spcBef>
              <a:spcAft>
                <a:spcPts val="0"/>
              </a:spcAft>
              <a:buClr>
                <a:srgbClr val="FFD200"/>
              </a:buClr>
              <a:buSzPct val="50000"/>
              <a:defRPr sz="1000" b="1" kern="0">
                <a:solidFill>
                  <a:srgbClr val="646464"/>
                </a:solidFill>
                <a:latin typeface="EYInterstate" panose="02000503020000020004" pitchFamily="2" charset="0"/>
              </a:defRPr>
            </a:lvl2pPr>
          </a:lstStyle>
          <a:p>
            <a:pPr marL="449273" marR="0" lvl="1" indent="-449273" algn="l" defTabSz="914400" rtl="0" eaLnBrk="0" fontAlgn="base" latinLnBrk="0" hangingPunct="0">
              <a:lnSpc>
                <a:spcPct val="90000"/>
              </a:lnSpc>
              <a:spcBef>
                <a:spcPts val="669"/>
              </a:spcBef>
              <a:spcAft>
                <a:spcPts val="0"/>
              </a:spcAft>
              <a:buClr>
                <a:srgbClr val="FFD200"/>
              </a:buClr>
              <a:buSzPct val="50000"/>
              <a:buFontTx/>
              <a:buNone/>
              <a:tabLst/>
              <a:defRPr/>
            </a:pPr>
            <a:endParaRPr kumimoji="0" lang="en-US" sz="1100" b="0" i="0" u="none" strike="noStrike" kern="0" cap="none" spc="0" normalizeH="0" baseline="0" noProof="0" dirty="0">
              <a:ln>
                <a:noFill/>
              </a:ln>
              <a:solidFill>
                <a:srgbClr val="000000"/>
              </a:solidFill>
              <a:effectLst/>
              <a:uLnTx/>
              <a:uFillTx/>
              <a:latin typeface="EYInterstate"/>
              <a:cs typeface="Arial" charset="0"/>
            </a:endParaRPr>
          </a:p>
        </p:txBody>
      </p:sp>
      <p:pic>
        <p:nvPicPr>
          <p:cNvPr id="6" name="Picture 5">
            <a:extLst>
              <a:ext uri="{FF2B5EF4-FFF2-40B4-BE49-F238E27FC236}">
                <a16:creationId xmlns:a16="http://schemas.microsoft.com/office/drawing/2014/main" id="{8FA901A6-6493-4564-9D41-1C0E00BD0500}"/>
              </a:ext>
            </a:extLst>
          </p:cNvPr>
          <p:cNvPicPr>
            <a:picLocks noChangeAspect="1"/>
          </p:cNvPicPr>
          <p:nvPr/>
        </p:nvPicPr>
        <p:blipFill>
          <a:blip r:embed="rId8"/>
          <a:stretch>
            <a:fillRect/>
          </a:stretch>
        </p:blipFill>
        <p:spPr>
          <a:xfrm>
            <a:off x="9171588" y="2240773"/>
            <a:ext cx="2617295" cy="1176713"/>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30" name="Picture 29">
            <a:extLst>
              <a:ext uri="{FF2B5EF4-FFF2-40B4-BE49-F238E27FC236}">
                <a16:creationId xmlns:a16="http://schemas.microsoft.com/office/drawing/2014/main" id="{926CA9FE-DD2F-45F3-B3DC-E9DD5EB7CAA3}"/>
              </a:ext>
            </a:extLst>
          </p:cNvPr>
          <p:cNvPicPr preferRelativeResize="0">
            <a:picLocks/>
          </p:cNvPicPr>
          <p:nvPr/>
        </p:nvPicPr>
        <p:blipFill>
          <a:blip r:embed="rId9" cstate="hqprint">
            <a:extLst>
              <a:ext uri="{28A0092B-C50C-407E-A947-70E740481C1C}">
                <a14:useLocalDpi xmlns:a14="http://schemas.microsoft.com/office/drawing/2010/main"/>
              </a:ext>
            </a:extLst>
          </a:blip>
          <a:stretch>
            <a:fillRect/>
          </a:stretch>
        </p:blipFill>
        <p:spPr>
          <a:xfrm>
            <a:off x="888452" y="3706178"/>
            <a:ext cx="1890761" cy="960492"/>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31" name="Picture 30">
            <a:extLst>
              <a:ext uri="{FF2B5EF4-FFF2-40B4-BE49-F238E27FC236}">
                <a16:creationId xmlns:a16="http://schemas.microsoft.com/office/drawing/2014/main" id="{B6CAB9F7-B259-4133-959E-1627E3C3D417}"/>
              </a:ext>
            </a:extLst>
          </p:cNvPr>
          <p:cNvPicPr preferRelativeResize="0">
            <a:picLocks/>
          </p:cNvPicPr>
          <p:nvPr/>
        </p:nvPicPr>
        <p:blipFill>
          <a:blip r:embed="rId10" cstate="hqprint">
            <a:extLst>
              <a:ext uri="{28A0092B-C50C-407E-A947-70E740481C1C}">
                <a14:useLocalDpi xmlns:a14="http://schemas.microsoft.com/office/drawing/2010/main"/>
              </a:ext>
            </a:extLst>
          </a:blip>
          <a:stretch>
            <a:fillRect/>
          </a:stretch>
        </p:blipFill>
        <p:spPr>
          <a:xfrm>
            <a:off x="1110361" y="3896944"/>
            <a:ext cx="2011680" cy="1042416"/>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32" name="Picture 31">
            <a:extLst>
              <a:ext uri="{FF2B5EF4-FFF2-40B4-BE49-F238E27FC236}">
                <a16:creationId xmlns:a16="http://schemas.microsoft.com/office/drawing/2014/main" id="{FA5056B9-1DDF-4AC2-8182-8FAD756A9A06}"/>
              </a:ext>
            </a:extLst>
          </p:cNvPr>
          <p:cNvPicPr preferRelativeResize="0">
            <a:picLocks/>
          </p:cNvPicPr>
          <p:nvPr/>
        </p:nvPicPr>
        <p:blipFill>
          <a:blip r:embed="rId11"/>
          <a:stretch>
            <a:fillRect/>
          </a:stretch>
        </p:blipFill>
        <p:spPr>
          <a:xfrm>
            <a:off x="963610" y="1823423"/>
            <a:ext cx="1779594" cy="957666"/>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33" name="Picture 32">
            <a:extLst>
              <a:ext uri="{FF2B5EF4-FFF2-40B4-BE49-F238E27FC236}">
                <a16:creationId xmlns:a16="http://schemas.microsoft.com/office/drawing/2014/main" id="{973DAD21-69E6-4062-BA5E-07571997BC30}"/>
              </a:ext>
            </a:extLst>
          </p:cNvPr>
          <p:cNvPicPr preferRelativeResize="0">
            <a:picLocks/>
          </p:cNvPicPr>
          <p:nvPr/>
        </p:nvPicPr>
        <p:blipFill>
          <a:blip r:embed="rId12"/>
          <a:stretch>
            <a:fillRect/>
          </a:stretch>
        </p:blipFill>
        <p:spPr>
          <a:xfrm>
            <a:off x="1177946" y="2031223"/>
            <a:ext cx="1890760" cy="923133"/>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34" name="Chevron 26">
            <a:extLst>
              <a:ext uri="{FF2B5EF4-FFF2-40B4-BE49-F238E27FC236}">
                <a16:creationId xmlns:a16="http://schemas.microsoft.com/office/drawing/2014/main" id="{5539F5F8-299A-4935-A078-9A36074E097F}"/>
              </a:ext>
            </a:extLst>
          </p:cNvPr>
          <p:cNvSpPr/>
          <p:nvPr/>
        </p:nvSpPr>
        <p:spPr bwMode="auto">
          <a:xfrm>
            <a:off x="10739337" y="777"/>
            <a:ext cx="1464984" cy="365760"/>
          </a:xfrm>
          <a:prstGeom prst="rect">
            <a:avLst/>
          </a:prstGeom>
          <a:solidFill>
            <a:srgbClr val="FFE600"/>
          </a:solidFill>
          <a:ln w="12700" cap="flat" cmpd="sng">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45696" tIns="45672" rIns="45696" bIns="45672" numCol="1" spcCol="0" rtlCol="0" fromWordArt="0" anchor="ctr" anchorCtr="0" forceAA="0" compatLnSpc="1">
            <a:prstTxWarp prst="textNoShape">
              <a:avLst/>
            </a:prstTxWarp>
            <a:noAutofit/>
          </a:bodyPr>
          <a:lstStyle/>
          <a:p>
            <a:pPr algn="ctr" fontAlgn="auto">
              <a:spcBef>
                <a:spcPts val="0"/>
              </a:spcBef>
              <a:spcAft>
                <a:spcPts val="0"/>
              </a:spcAft>
              <a:buClrTx/>
              <a:buSzTx/>
            </a:pPr>
            <a:r>
              <a:rPr lang="en-US" sz="1200" b="1" dirty="0">
                <a:solidFill>
                  <a:schemeClr val="bg2"/>
                </a:solidFill>
                <a:latin typeface="EYInterstate"/>
                <a:sym typeface="EYInterstate Light" panose="02000506000000020004" pitchFamily="2" charset="0"/>
              </a:rPr>
              <a:t>Approach</a:t>
            </a:r>
          </a:p>
        </p:txBody>
      </p:sp>
      <p:grpSp>
        <p:nvGrpSpPr>
          <p:cNvPr id="35" name="Group 34">
            <a:extLst>
              <a:ext uri="{FF2B5EF4-FFF2-40B4-BE49-F238E27FC236}">
                <a16:creationId xmlns:a16="http://schemas.microsoft.com/office/drawing/2014/main" id="{C343280F-6F41-441B-A4F5-780EE86D7987}"/>
              </a:ext>
            </a:extLst>
          </p:cNvPr>
          <p:cNvGrpSpPr/>
          <p:nvPr/>
        </p:nvGrpSpPr>
        <p:grpSpPr>
          <a:xfrm>
            <a:off x="2154877" y="1529434"/>
            <a:ext cx="1275262" cy="253916"/>
            <a:chOff x="11862118" y="1197553"/>
            <a:chExt cx="1275262" cy="253916"/>
          </a:xfrm>
        </p:grpSpPr>
        <p:sp>
          <p:nvSpPr>
            <p:cNvPr id="36" name="Rectangle 35">
              <a:extLst>
                <a:ext uri="{FF2B5EF4-FFF2-40B4-BE49-F238E27FC236}">
                  <a16:creationId xmlns:a16="http://schemas.microsoft.com/office/drawing/2014/main" id="{1AD1791D-945F-4C10-BB26-B8619CF7B6C1}"/>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dirty="0">
                <a:ln>
                  <a:noFill/>
                </a:ln>
                <a:solidFill>
                  <a:srgbClr val="000000"/>
                </a:solidFill>
                <a:effectLst/>
                <a:uLnTx/>
                <a:uFillTx/>
                <a:latin typeface="Arial" charset="0"/>
                <a:cs typeface="Arial" charset="0"/>
              </a:endParaRPr>
            </a:p>
          </p:txBody>
        </p:sp>
        <p:cxnSp>
          <p:nvCxnSpPr>
            <p:cNvPr id="37" name="Straight Connector 36">
              <a:extLst>
                <a:ext uri="{FF2B5EF4-FFF2-40B4-BE49-F238E27FC236}">
                  <a16:creationId xmlns:a16="http://schemas.microsoft.com/office/drawing/2014/main" id="{E922106E-7058-4764-A2EA-326F05BD8AFB}"/>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B6CFA75-9D09-4E38-9416-47B430258E8C}"/>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ADA3569-D670-4B7B-A19D-F72864C115FE}"/>
              </a:ext>
            </a:extLst>
          </p:cNvPr>
          <p:cNvGrpSpPr/>
          <p:nvPr/>
        </p:nvGrpSpPr>
        <p:grpSpPr>
          <a:xfrm>
            <a:off x="2086784" y="3397149"/>
            <a:ext cx="1275262" cy="253916"/>
            <a:chOff x="11862118" y="1197553"/>
            <a:chExt cx="1275262" cy="253916"/>
          </a:xfrm>
        </p:grpSpPr>
        <p:sp>
          <p:nvSpPr>
            <p:cNvPr id="40" name="Rectangle 39">
              <a:extLst>
                <a:ext uri="{FF2B5EF4-FFF2-40B4-BE49-F238E27FC236}">
                  <a16:creationId xmlns:a16="http://schemas.microsoft.com/office/drawing/2014/main" id="{F348268D-6449-4B8C-8468-6AD14506A0A0}"/>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dirty="0">
                <a:ln>
                  <a:noFill/>
                </a:ln>
                <a:solidFill>
                  <a:srgbClr val="000000"/>
                </a:solidFill>
                <a:effectLst/>
                <a:uLnTx/>
                <a:uFillTx/>
                <a:latin typeface="Arial" charset="0"/>
                <a:cs typeface="Arial" charset="0"/>
              </a:endParaRPr>
            </a:p>
          </p:txBody>
        </p:sp>
        <p:cxnSp>
          <p:nvCxnSpPr>
            <p:cNvPr id="41" name="Straight Connector 40">
              <a:extLst>
                <a:ext uri="{FF2B5EF4-FFF2-40B4-BE49-F238E27FC236}">
                  <a16:creationId xmlns:a16="http://schemas.microsoft.com/office/drawing/2014/main" id="{047525E5-554E-4AB3-B60C-A347B980E039}"/>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E2FCEBE-5FF0-467F-A2F2-938D673ADAE7}"/>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38B6442-A0C4-4FFD-8561-92CA1696771E}"/>
              </a:ext>
            </a:extLst>
          </p:cNvPr>
          <p:cNvGrpSpPr/>
          <p:nvPr/>
        </p:nvGrpSpPr>
        <p:grpSpPr>
          <a:xfrm>
            <a:off x="10884339" y="1857991"/>
            <a:ext cx="1275262" cy="253916"/>
            <a:chOff x="11862118" y="1197553"/>
            <a:chExt cx="1275262" cy="253916"/>
          </a:xfrm>
        </p:grpSpPr>
        <p:sp>
          <p:nvSpPr>
            <p:cNvPr id="44" name="Rectangle 43">
              <a:extLst>
                <a:ext uri="{FF2B5EF4-FFF2-40B4-BE49-F238E27FC236}">
                  <a16:creationId xmlns:a16="http://schemas.microsoft.com/office/drawing/2014/main" id="{4F8D52E8-15DE-4413-A321-725AB1533B15}"/>
                </a:ext>
              </a:extLst>
            </p:cNvPr>
            <p:cNvSpPr/>
            <p:nvPr/>
          </p:nvSpPr>
          <p:spPr>
            <a:xfrm>
              <a:off x="11928086" y="1197553"/>
              <a:ext cx="1143327" cy="253916"/>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808080">
                      <a:lumMod val="50000"/>
                    </a:srgbClr>
                  </a:solidFill>
                  <a:effectLst/>
                  <a:uLnTx/>
                  <a:uFillTx/>
                  <a:latin typeface="Arial" charset="0"/>
                  <a:cs typeface="Arial" charset="0"/>
                </a:rPr>
                <a:t>ILLUSTRATIVE</a:t>
              </a:r>
              <a:endParaRPr kumimoji="0" lang="en-US" sz="1050" b="0" i="0" u="none" strike="noStrike" kern="1200" cap="none" spc="0" normalizeH="0" baseline="0" noProof="0" dirty="0">
                <a:ln>
                  <a:noFill/>
                </a:ln>
                <a:solidFill>
                  <a:srgbClr val="000000"/>
                </a:solidFill>
                <a:effectLst/>
                <a:uLnTx/>
                <a:uFillTx/>
                <a:latin typeface="Arial" charset="0"/>
                <a:cs typeface="Arial" charset="0"/>
              </a:endParaRPr>
            </a:p>
          </p:txBody>
        </p:sp>
        <p:cxnSp>
          <p:nvCxnSpPr>
            <p:cNvPr id="45" name="Straight Connector 44">
              <a:extLst>
                <a:ext uri="{FF2B5EF4-FFF2-40B4-BE49-F238E27FC236}">
                  <a16:creationId xmlns:a16="http://schemas.microsoft.com/office/drawing/2014/main" id="{EFF5B572-9DA4-4EE2-9E14-9934AAC09640}"/>
                </a:ext>
              </a:extLst>
            </p:cNvPr>
            <p:cNvCxnSpPr/>
            <p:nvPr/>
          </p:nvCxnSpPr>
          <p:spPr>
            <a:xfrm>
              <a:off x="11862118" y="1216728"/>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E36DE4C-F20F-431C-A0C5-80C1AAFE9B6B}"/>
                </a:ext>
              </a:extLst>
            </p:cNvPr>
            <p:cNvCxnSpPr/>
            <p:nvPr/>
          </p:nvCxnSpPr>
          <p:spPr>
            <a:xfrm>
              <a:off x="11862118" y="1432295"/>
              <a:ext cx="127526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pic>
        <p:nvPicPr>
          <p:cNvPr id="47" name="Picture 46">
            <a:extLst>
              <a:ext uri="{FF2B5EF4-FFF2-40B4-BE49-F238E27FC236}">
                <a16:creationId xmlns:a16="http://schemas.microsoft.com/office/drawing/2014/main" id="{CC63440D-06B0-4C8F-AF54-0362DFB28714}"/>
              </a:ext>
            </a:extLst>
          </p:cNvPr>
          <p:cNvPicPr>
            <a:picLocks noChangeAspect="1"/>
          </p:cNvPicPr>
          <p:nvPr/>
        </p:nvPicPr>
        <p:blipFill>
          <a:blip r:embed="rId13"/>
          <a:stretch>
            <a:fillRect/>
          </a:stretch>
        </p:blipFill>
        <p:spPr>
          <a:xfrm>
            <a:off x="2130141" y="5847786"/>
            <a:ext cx="1422614" cy="685996"/>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pic>
        <p:nvPicPr>
          <p:cNvPr id="49" name="Picture 48">
            <a:extLst>
              <a:ext uri="{FF2B5EF4-FFF2-40B4-BE49-F238E27FC236}">
                <a16:creationId xmlns:a16="http://schemas.microsoft.com/office/drawing/2014/main" id="{850A09F5-EA94-4257-9178-2840ACDA573A}"/>
              </a:ext>
            </a:extLst>
          </p:cNvPr>
          <p:cNvPicPr>
            <a:picLocks noChangeAspect="1"/>
          </p:cNvPicPr>
          <p:nvPr/>
        </p:nvPicPr>
        <p:blipFill>
          <a:blip r:embed="rId14"/>
          <a:stretch>
            <a:fillRect/>
          </a:stretch>
        </p:blipFill>
        <p:spPr>
          <a:xfrm>
            <a:off x="6400879" y="5861290"/>
            <a:ext cx="1433725" cy="697521"/>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
        <p:nvSpPr>
          <p:cNvPr id="50" name="TextBox 49">
            <a:extLst>
              <a:ext uri="{FF2B5EF4-FFF2-40B4-BE49-F238E27FC236}">
                <a16:creationId xmlns:a16="http://schemas.microsoft.com/office/drawing/2014/main" id="{3218B0A5-37C3-4428-9D39-09CE175087D1}"/>
              </a:ext>
            </a:extLst>
          </p:cNvPr>
          <p:cNvSpPr txBox="1"/>
          <p:nvPr/>
        </p:nvSpPr>
        <p:spPr>
          <a:xfrm>
            <a:off x="7972353" y="5848564"/>
            <a:ext cx="2286000" cy="749208"/>
          </a:xfrm>
          <a:prstGeom prst="rect">
            <a:avLst/>
          </a:prstGeom>
          <a:noFill/>
        </p:spPr>
        <p:txBody>
          <a:bodyPr wrap="square" lIns="101882" tIns="50941" rIns="101882" bIns="50941" rtlCol="0" anchor="ctr">
            <a:spAutoFit/>
          </a:bodyPr>
          <a:lstStyle/>
          <a:p>
            <a:pPr lvl="0">
              <a:defRPr/>
            </a:pPr>
            <a:r>
              <a:rPr lang="en-US" sz="1050" b="1" kern="0" dirty="0">
                <a:solidFill>
                  <a:srgbClr val="000000"/>
                </a:solidFill>
                <a:latin typeface="EYInterstate"/>
              </a:rPr>
              <a:t>EY Data &amp; Analytics Enablers for TOM implementation with Data Ops, ModelOps &amp; Analytics Factory designs</a:t>
            </a:r>
          </a:p>
        </p:txBody>
      </p:sp>
      <p:sp>
        <p:nvSpPr>
          <p:cNvPr id="51" name="TextBox 50">
            <a:extLst>
              <a:ext uri="{FF2B5EF4-FFF2-40B4-BE49-F238E27FC236}">
                <a16:creationId xmlns:a16="http://schemas.microsoft.com/office/drawing/2014/main" id="{4DD8E6AE-F14D-41A9-916F-78E01DCC7E3B}"/>
              </a:ext>
            </a:extLst>
          </p:cNvPr>
          <p:cNvSpPr txBox="1"/>
          <p:nvPr/>
        </p:nvSpPr>
        <p:spPr>
          <a:xfrm>
            <a:off x="3669242" y="6010147"/>
            <a:ext cx="2286000" cy="426042"/>
          </a:xfrm>
          <a:prstGeom prst="rect">
            <a:avLst/>
          </a:prstGeom>
          <a:noFill/>
        </p:spPr>
        <p:txBody>
          <a:bodyPr wrap="square" lIns="101882" tIns="50941" rIns="101882" bIns="50941"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EYInterstate"/>
                <a:cs typeface="Arial" charset="0"/>
              </a:rPr>
              <a:t>EY Human Centered Design Framework </a:t>
            </a:r>
          </a:p>
        </p:txBody>
      </p:sp>
      <p:pic>
        <p:nvPicPr>
          <p:cNvPr id="2" name="Picture 1">
            <a:extLst>
              <a:ext uri="{FF2B5EF4-FFF2-40B4-BE49-F238E27FC236}">
                <a16:creationId xmlns:a16="http://schemas.microsoft.com/office/drawing/2014/main" id="{E8E89F7E-F021-4C87-A878-3272242911F6}"/>
              </a:ext>
            </a:extLst>
          </p:cNvPr>
          <p:cNvPicPr>
            <a:picLocks noChangeAspect="1"/>
          </p:cNvPicPr>
          <p:nvPr/>
        </p:nvPicPr>
        <p:blipFill>
          <a:blip r:embed="rId15"/>
          <a:stretch>
            <a:fillRect/>
          </a:stretch>
        </p:blipFill>
        <p:spPr>
          <a:xfrm>
            <a:off x="9904548" y="2599170"/>
            <a:ext cx="2091517" cy="1323026"/>
          </a:xfrm>
          <a:prstGeom prst="rect">
            <a:avLst/>
          </a:prstGeom>
          <a:ln w="25400">
            <a:solidFill>
              <a:schemeClr val="bg1"/>
            </a:solidFill>
            <a:miter lim="800000"/>
            <a:headEnd/>
            <a:tailEnd/>
          </a:ln>
          <a:effectLst>
            <a:outerShdw blurRad="50800" dist="38100" dir="2700000" algn="tl" rotWithShape="0">
              <a:schemeClr val="bg1">
                <a:alpha val="43000"/>
              </a:schemeClr>
            </a:outerShdw>
          </a:effectLst>
        </p:spPr>
      </p:pic>
    </p:spTree>
    <p:extLst>
      <p:ext uri="{BB962C8B-B14F-4D97-AF65-F5344CB8AC3E}">
        <p14:creationId xmlns:p14="http://schemas.microsoft.com/office/powerpoint/2010/main" val="36591537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26C4713-91DD-440D-AFE1-2DD0CB84E95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708" b="11958"/>
          <a:stretch/>
        </p:blipFill>
        <p:spPr>
          <a:xfrm flipH="1">
            <a:off x="0" y="3176"/>
            <a:ext cx="13442950" cy="7558088"/>
          </a:xfrm>
          <a:prstGeom prst="rect">
            <a:avLst/>
          </a:prstGeom>
        </p:spPr>
      </p:pic>
      <p:sp>
        <p:nvSpPr>
          <p:cNvPr id="8" name="Freeform 12">
            <a:extLst>
              <a:ext uri="{FF2B5EF4-FFF2-40B4-BE49-F238E27FC236}">
                <a16:creationId xmlns:a16="http://schemas.microsoft.com/office/drawing/2014/main" id="{5D46DDCB-3BE1-4B71-BA08-5E44DE5C46BD}"/>
              </a:ext>
            </a:extLst>
          </p:cNvPr>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marL="0" marR="0" lvl="0" indent="0" algn="ctr" defTabSz="634556" rtl="0" eaLnBrk="1" fontAlgn="base" latinLnBrk="0" hangingPunct="1">
              <a:lnSpc>
                <a:spcPct val="100000"/>
              </a:lnSpc>
              <a:spcBef>
                <a:spcPct val="0"/>
              </a:spcBef>
              <a:spcAft>
                <a:spcPct val="50000"/>
              </a:spcAft>
              <a:buClr>
                <a:srgbClr val="FFE600"/>
              </a:buClr>
              <a:buSzPct val="80000"/>
              <a:buFontTx/>
              <a:buNone/>
              <a:tabLst/>
              <a:defRPr/>
            </a:pPr>
            <a:endParaRPr kumimoji="0" lang="en-US" sz="637"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endParaRPr>
          </a:p>
        </p:txBody>
      </p:sp>
      <p:sp>
        <p:nvSpPr>
          <p:cNvPr id="9" name="Text Placeholder 9">
            <a:extLst>
              <a:ext uri="{FF2B5EF4-FFF2-40B4-BE49-F238E27FC236}">
                <a16:creationId xmlns:a16="http://schemas.microsoft.com/office/drawing/2014/main" id="{188B850A-DD0C-40EC-BF0B-9E263EC88DC9}"/>
              </a:ext>
            </a:extLst>
          </p:cNvPr>
          <p:cNvSpPr txBox="1">
            <a:spLocks/>
          </p:cNvSpPr>
          <p:nvPr/>
        </p:nvSpPr>
        <p:spPr bwMode="gray">
          <a:xfrm>
            <a:off x="2856" y="1865549"/>
            <a:ext cx="4992526"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2000" b="1"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rPr>
              <a:t>   4| </a:t>
            </a:r>
            <a:r>
              <a:rPr kumimoji="0" lang="en-US" sz="2000" b="1" i="0" u="none" strike="noStrike" kern="1200" cap="none" spc="0" normalizeH="0" baseline="0" noProof="0" dirty="0">
                <a:ln>
                  <a:noFill/>
                </a:ln>
                <a:solidFill>
                  <a:srgbClr val="000000"/>
                </a:solidFill>
                <a:effectLst/>
                <a:uLnTx/>
                <a:uFillTx/>
                <a:latin typeface="EYInterstate" panose="02000503020000020004" pitchFamily="2" charset="0"/>
                <a:ea typeface="+mn-ea"/>
                <a:cs typeface="Calibri" panose="020F0502020204030204" pitchFamily="34" charset="0"/>
              </a:rPr>
              <a:t>Value Added</a:t>
            </a:r>
          </a:p>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endParaRPr kumimoji="0" lang="en-US" sz="1814" b="1" i="0" u="none" strike="noStrike" kern="1200" cap="none" spc="0" normalizeH="0" baseline="0" noProof="0" dirty="0">
              <a:ln>
                <a:noFill/>
              </a:ln>
              <a:solidFill>
                <a:srgbClr val="000000"/>
              </a:solidFill>
              <a:effectLst/>
              <a:uLnTx/>
              <a:uFillTx/>
              <a:latin typeface="EYInterstate" panose="02000503020000020004" pitchFamily="2" charset="0"/>
              <a:ea typeface="+mn-ea"/>
              <a:cs typeface="Calibri" panose="020F0502020204030204" pitchFamily="34" charset="0"/>
            </a:endParaRPr>
          </a:p>
        </p:txBody>
      </p:sp>
      <p:sp>
        <p:nvSpPr>
          <p:cNvPr id="10" name="Rectangle 9">
            <a:extLst>
              <a:ext uri="{FF2B5EF4-FFF2-40B4-BE49-F238E27FC236}">
                <a16:creationId xmlns:a16="http://schemas.microsoft.com/office/drawing/2014/main" id="{36766414-5C78-4E7E-B2EC-3AC0DC969E62}"/>
              </a:ext>
            </a:extLst>
          </p:cNvPr>
          <p:cNvSpPr/>
          <p:nvPr/>
        </p:nvSpPr>
        <p:spPr>
          <a:xfrm>
            <a:off x="8583616" y="-213122"/>
            <a:ext cx="3312045" cy="7359419"/>
          </a:xfrm>
          <a:prstGeom prst="rect">
            <a:avLst/>
          </a:prstGeom>
          <a:noFill/>
        </p:spPr>
        <p:txBody>
          <a:bodyPr wrap="square" lIns="72742" tIns="36370" rIns="72742" bIns="36370">
            <a:spAutoFit/>
          </a:bodyPr>
          <a:lstStyle/>
          <a:p>
            <a:pPr marL="0" marR="0" lvl="0" indent="0" algn="ctr" defTabSz="945990" rtl="0" eaLnBrk="1" fontAlgn="auto" latinLnBrk="0" hangingPunct="1">
              <a:lnSpc>
                <a:spcPct val="100000"/>
              </a:lnSpc>
              <a:spcBef>
                <a:spcPts val="0"/>
              </a:spcBef>
              <a:spcAft>
                <a:spcPts val="0"/>
              </a:spcAft>
              <a:buClrTx/>
              <a:buSzTx/>
              <a:buFontTx/>
              <a:buNone/>
              <a:tabLst/>
              <a:defRPr/>
            </a:pPr>
            <a:r>
              <a:rPr kumimoji="0" lang="en-US" sz="47346" b="1" i="0" u="none" strike="noStrike" kern="1200" cap="none" spc="0" normalizeH="0" baseline="0" noProof="0" dirty="0">
                <a:ln w="22225">
                  <a:solidFill>
                    <a:srgbClr val="FFE600"/>
                  </a:solidFill>
                  <a:prstDash val="solid"/>
                </a:ln>
                <a:solidFill>
                  <a:srgbClr val="FFE600"/>
                </a:solidFill>
                <a:effectLst/>
                <a:uLnTx/>
                <a:uFillTx/>
                <a:latin typeface="EYInterstate" panose="02000503020000020004" pitchFamily="2" charset="0"/>
                <a:ea typeface="+mn-ea"/>
                <a:cs typeface="Calibri" panose="020F0502020204030204" pitchFamily="34" charset="0"/>
              </a:rPr>
              <a:t>4</a:t>
            </a:r>
          </a:p>
        </p:txBody>
      </p:sp>
    </p:spTree>
    <p:extLst>
      <p:ext uri="{BB962C8B-B14F-4D97-AF65-F5344CB8AC3E}">
        <p14:creationId xmlns:p14="http://schemas.microsoft.com/office/powerpoint/2010/main" val="21584831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3B6A-4533-4242-AEA3-EE5A90393928}"/>
              </a:ext>
            </a:extLst>
          </p:cNvPr>
          <p:cNvSpPr>
            <a:spLocks noGrp="1"/>
          </p:cNvSpPr>
          <p:nvPr>
            <p:ph type="title"/>
          </p:nvPr>
        </p:nvSpPr>
        <p:spPr>
          <a:xfrm>
            <a:off x="855875" y="551814"/>
            <a:ext cx="10616769" cy="672625"/>
          </a:xfrm>
        </p:spPr>
        <p:txBody>
          <a:bodyPr/>
          <a:lstStyle/>
          <a:p>
            <a:r>
              <a:rPr lang="en-US" dirty="0"/>
              <a:t>List of potential use cases to validate our data platform design &amp; architecture*</a:t>
            </a:r>
          </a:p>
        </p:txBody>
      </p:sp>
      <p:sp>
        <p:nvSpPr>
          <p:cNvPr id="45" name="Google Shape;5791;p63">
            <a:extLst>
              <a:ext uri="{FF2B5EF4-FFF2-40B4-BE49-F238E27FC236}">
                <a16:creationId xmlns:a16="http://schemas.microsoft.com/office/drawing/2014/main" id="{606A9406-C1CD-43B9-BC0D-A2206EF9BB2A}"/>
              </a:ext>
            </a:extLst>
          </p:cNvPr>
          <p:cNvSpPr/>
          <p:nvPr/>
        </p:nvSpPr>
        <p:spPr>
          <a:xfrm>
            <a:off x="1534006" y="1326040"/>
            <a:ext cx="1784711" cy="1494516"/>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7FD1D6"/>
          </a:solidFill>
          <a:ln w="19050" cap="flat" cmpd="sng">
            <a:noFill/>
            <a:prstDash val="solid"/>
            <a:miter lim="58162"/>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cs typeface="Arial" charset="0"/>
            </a:endParaRPr>
          </a:p>
        </p:txBody>
      </p:sp>
      <p:pic>
        <p:nvPicPr>
          <p:cNvPr id="14" name="Graphic 13">
            <a:extLst>
              <a:ext uri="{FF2B5EF4-FFF2-40B4-BE49-F238E27FC236}">
                <a16:creationId xmlns:a16="http://schemas.microsoft.com/office/drawing/2014/main" id="{75CD29E1-2DB6-4896-87EB-756FC3D664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26509" y="1589658"/>
            <a:ext cx="1014709" cy="1014709"/>
          </a:xfrm>
          <a:prstGeom prst="rect">
            <a:avLst/>
          </a:prstGeom>
        </p:spPr>
      </p:pic>
      <p:sp>
        <p:nvSpPr>
          <p:cNvPr id="51" name="Rectangle 50">
            <a:extLst>
              <a:ext uri="{FF2B5EF4-FFF2-40B4-BE49-F238E27FC236}">
                <a16:creationId xmlns:a16="http://schemas.microsoft.com/office/drawing/2014/main" id="{F4DFCBFD-FC58-48F2-9159-444483D83B1B}"/>
              </a:ext>
            </a:extLst>
          </p:cNvPr>
          <p:cNvSpPr/>
          <p:nvPr/>
        </p:nvSpPr>
        <p:spPr>
          <a:xfrm>
            <a:off x="1207979" y="2852976"/>
            <a:ext cx="2544691" cy="523220"/>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EYInterstate"/>
                <a:cs typeface="Arial" charset="0"/>
              </a:rPr>
              <a:t>Automated Closed File Review for Health Claims</a:t>
            </a:r>
          </a:p>
        </p:txBody>
      </p:sp>
      <p:sp>
        <p:nvSpPr>
          <p:cNvPr id="52" name="Rectangle 51">
            <a:extLst>
              <a:ext uri="{FF2B5EF4-FFF2-40B4-BE49-F238E27FC236}">
                <a16:creationId xmlns:a16="http://schemas.microsoft.com/office/drawing/2014/main" id="{5ACFBA3D-6CC3-42D4-B281-6A2D148DB31F}"/>
              </a:ext>
            </a:extLst>
          </p:cNvPr>
          <p:cNvSpPr/>
          <p:nvPr/>
        </p:nvSpPr>
        <p:spPr>
          <a:xfrm>
            <a:off x="913229" y="3311904"/>
            <a:ext cx="3100412"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282B2B"/>
                </a:solidFill>
                <a:effectLst/>
                <a:uLnTx/>
                <a:uFillTx/>
                <a:latin typeface="EYInterstate Light" panose="02000506000000020004" pitchFamily="2" charset="0"/>
                <a:cs typeface="Arial" charset="0"/>
              </a:rPr>
              <a:t>Develop an automated Health Claims solution for our clients leveraging ML/AI capabilities to reduce the time and effort required for a manual closed file review.</a:t>
            </a:r>
            <a:endParaRPr kumimoji="0" lang="en-US" sz="1050" b="0" i="0" u="none" strike="noStrike" kern="1200" cap="none" spc="0" normalizeH="0" baseline="0" noProof="0" dirty="0">
              <a:ln>
                <a:noFill/>
              </a:ln>
              <a:solidFill>
                <a:srgbClr val="000000"/>
              </a:solidFill>
              <a:effectLst/>
              <a:uLnTx/>
              <a:uFillTx/>
              <a:latin typeface="Arial" charset="0"/>
              <a:cs typeface="Arial" charset="0"/>
            </a:endParaRPr>
          </a:p>
        </p:txBody>
      </p:sp>
      <p:sp>
        <p:nvSpPr>
          <p:cNvPr id="53" name="Google Shape;5791;p63">
            <a:extLst>
              <a:ext uri="{FF2B5EF4-FFF2-40B4-BE49-F238E27FC236}">
                <a16:creationId xmlns:a16="http://schemas.microsoft.com/office/drawing/2014/main" id="{0326A717-7F37-4E24-AA47-1BC72CBE6D7C}"/>
              </a:ext>
            </a:extLst>
          </p:cNvPr>
          <p:cNvSpPr/>
          <p:nvPr/>
        </p:nvSpPr>
        <p:spPr>
          <a:xfrm>
            <a:off x="4451923" y="2330335"/>
            <a:ext cx="1430529" cy="1221585"/>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chemeClr val="accent5"/>
          </a:solidFill>
          <a:ln w="19050" cap="flat" cmpd="sng">
            <a:noFill/>
            <a:prstDash val="solid"/>
            <a:miter lim="58162"/>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cs typeface="Arial" charset="0"/>
            </a:endParaRPr>
          </a:p>
        </p:txBody>
      </p:sp>
      <p:sp>
        <p:nvSpPr>
          <p:cNvPr id="55" name="Rectangle 54">
            <a:extLst>
              <a:ext uri="{FF2B5EF4-FFF2-40B4-BE49-F238E27FC236}">
                <a16:creationId xmlns:a16="http://schemas.microsoft.com/office/drawing/2014/main" id="{236006A0-578F-4506-B726-B36D58DFBCAC}"/>
              </a:ext>
            </a:extLst>
          </p:cNvPr>
          <p:cNvSpPr/>
          <p:nvPr/>
        </p:nvSpPr>
        <p:spPr>
          <a:xfrm>
            <a:off x="3924338" y="3583561"/>
            <a:ext cx="2544691" cy="30777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EYInterstate"/>
                <a:cs typeface="Arial" charset="0"/>
              </a:rPr>
              <a:t>Single View for Customer</a:t>
            </a:r>
          </a:p>
        </p:txBody>
      </p:sp>
      <p:sp>
        <p:nvSpPr>
          <p:cNvPr id="56" name="Rectangle 55">
            <a:extLst>
              <a:ext uri="{FF2B5EF4-FFF2-40B4-BE49-F238E27FC236}">
                <a16:creationId xmlns:a16="http://schemas.microsoft.com/office/drawing/2014/main" id="{20300643-8679-42E8-B52F-7F37D7F8B3D5}"/>
              </a:ext>
            </a:extLst>
          </p:cNvPr>
          <p:cNvSpPr/>
          <p:nvPr/>
        </p:nvSpPr>
        <p:spPr>
          <a:xfrm>
            <a:off x="3646477" y="3855833"/>
            <a:ext cx="3100412" cy="90024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282B2B"/>
                </a:solidFill>
                <a:effectLst/>
                <a:uLnTx/>
                <a:uFillTx/>
                <a:latin typeface="EYInterstate Light" panose="02000506000000020004" pitchFamily="2" charset="0"/>
                <a:cs typeface="Arial" charset="0"/>
              </a:rPr>
              <a:t>Create a Single View of Customer across offline/online customer behavior (health, life, pension, AIA vitality, claims, agents, medical providers etc.) that can be used to support Data &amp; Analytics use cases</a:t>
            </a:r>
          </a:p>
        </p:txBody>
      </p:sp>
      <p:pic>
        <p:nvPicPr>
          <p:cNvPr id="48" name="Graphic 47">
            <a:extLst>
              <a:ext uri="{FF2B5EF4-FFF2-40B4-BE49-F238E27FC236}">
                <a16:creationId xmlns:a16="http://schemas.microsoft.com/office/drawing/2014/main" id="{DD8D055B-090D-40EF-9589-A59CE8B6C60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16465" y="2603266"/>
            <a:ext cx="777240" cy="777240"/>
          </a:xfrm>
          <a:prstGeom prst="rect">
            <a:avLst/>
          </a:prstGeom>
        </p:spPr>
      </p:pic>
      <p:sp>
        <p:nvSpPr>
          <p:cNvPr id="57" name="Google Shape;5791;p63">
            <a:extLst>
              <a:ext uri="{FF2B5EF4-FFF2-40B4-BE49-F238E27FC236}">
                <a16:creationId xmlns:a16="http://schemas.microsoft.com/office/drawing/2014/main" id="{891747A4-1F66-4065-BB16-22D8FBFCD9D5}"/>
              </a:ext>
            </a:extLst>
          </p:cNvPr>
          <p:cNvSpPr/>
          <p:nvPr/>
        </p:nvSpPr>
        <p:spPr>
          <a:xfrm>
            <a:off x="6977389" y="1374450"/>
            <a:ext cx="1430529" cy="1221585"/>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chemeClr val="accent2"/>
          </a:solidFill>
          <a:ln w="19050" cap="flat" cmpd="sng">
            <a:noFill/>
            <a:prstDash val="solid"/>
            <a:miter lim="58162"/>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cs typeface="Arial" charset="0"/>
            </a:endParaRPr>
          </a:p>
        </p:txBody>
      </p:sp>
      <p:sp>
        <p:nvSpPr>
          <p:cNvPr id="59" name="Rectangle 58">
            <a:extLst>
              <a:ext uri="{FF2B5EF4-FFF2-40B4-BE49-F238E27FC236}">
                <a16:creationId xmlns:a16="http://schemas.microsoft.com/office/drawing/2014/main" id="{3EB3887F-4DCF-4087-BD18-946CDA5C799C}"/>
              </a:ext>
            </a:extLst>
          </p:cNvPr>
          <p:cNvSpPr/>
          <p:nvPr/>
        </p:nvSpPr>
        <p:spPr>
          <a:xfrm>
            <a:off x="6441046" y="2628265"/>
            <a:ext cx="2544691" cy="30777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EYInterstate"/>
                <a:cs typeface="Arial" charset="0"/>
              </a:rPr>
              <a:t>Single View for Agent</a:t>
            </a:r>
          </a:p>
        </p:txBody>
      </p:sp>
      <p:sp>
        <p:nvSpPr>
          <p:cNvPr id="60" name="Rectangle 59">
            <a:extLst>
              <a:ext uri="{FF2B5EF4-FFF2-40B4-BE49-F238E27FC236}">
                <a16:creationId xmlns:a16="http://schemas.microsoft.com/office/drawing/2014/main" id="{9EA21895-1FB9-42D6-9875-398461D9C3F1}"/>
              </a:ext>
            </a:extLst>
          </p:cNvPr>
          <p:cNvSpPr/>
          <p:nvPr/>
        </p:nvSpPr>
        <p:spPr>
          <a:xfrm>
            <a:off x="6330354" y="2890100"/>
            <a:ext cx="3100412" cy="57708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282B2B"/>
                </a:solidFill>
                <a:effectLst/>
                <a:uLnTx/>
                <a:uFillTx/>
                <a:latin typeface="EYInterstate Light" panose="02000506000000020004" pitchFamily="2" charset="0"/>
                <a:cs typeface="Arial" charset="0"/>
              </a:rPr>
              <a:t>Create a Single View of Agent to manage and monitor the sales &amp; servicing performance of each Agent</a:t>
            </a:r>
          </a:p>
        </p:txBody>
      </p:sp>
      <p:sp>
        <p:nvSpPr>
          <p:cNvPr id="61" name="Google Shape;5791;p63">
            <a:extLst>
              <a:ext uri="{FF2B5EF4-FFF2-40B4-BE49-F238E27FC236}">
                <a16:creationId xmlns:a16="http://schemas.microsoft.com/office/drawing/2014/main" id="{A7715840-6EF1-4CF6-BE8A-5266D7443ADE}"/>
              </a:ext>
            </a:extLst>
          </p:cNvPr>
          <p:cNvSpPr/>
          <p:nvPr/>
        </p:nvSpPr>
        <p:spPr>
          <a:xfrm>
            <a:off x="9530964" y="2207415"/>
            <a:ext cx="1430529" cy="1221585"/>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chemeClr val="accent5"/>
          </a:solidFill>
          <a:ln w="19050" cap="flat" cmpd="sng">
            <a:noFill/>
            <a:prstDash val="solid"/>
            <a:miter lim="58162"/>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cs typeface="Arial" charset="0"/>
            </a:endParaRPr>
          </a:p>
        </p:txBody>
      </p:sp>
      <p:sp>
        <p:nvSpPr>
          <p:cNvPr id="62" name="Rectangle 61">
            <a:extLst>
              <a:ext uri="{FF2B5EF4-FFF2-40B4-BE49-F238E27FC236}">
                <a16:creationId xmlns:a16="http://schemas.microsoft.com/office/drawing/2014/main" id="{D762B250-6784-442B-92CA-3550412BEA0E}"/>
              </a:ext>
            </a:extLst>
          </p:cNvPr>
          <p:cNvSpPr/>
          <p:nvPr/>
        </p:nvSpPr>
        <p:spPr>
          <a:xfrm>
            <a:off x="8725518" y="3460641"/>
            <a:ext cx="3100412" cy="30777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EYInterstate"/>
                <a:cs typeface="Arial" charset="0"/>
              </a:rPr>
              <a:t>Customer to Agent Optimization</a:t>
            </a:r>
          </a:p>
        </p:txBody>
      </p:sp>
      <p:sp>
        <p:nvSpPr>
          <p:cNvPr id="65" name="Rectangle 64">
            <a:extLst>
              <a:ext uri="{FF2B5EF4-FFF2-40B4-BE49-F238E27FC236}">
                <a16:creationId xmlns:a16="http://schemas.microsoft.com/office/drawing/2014/main" id="{57729ACC-A72F-42DC-AB1F-9115687E3C3A}"/>
              </a:ext>
            </a:extLst>
          </p:cNvPr>
          <p:cNvSpPr/>
          <p:nvPr/>
        </p:nvSpPr>
        <p:spPr>
          <a:xfrm>
            <a:off x="8725518" y="3732913"/>
            <a:ext cx="3100412" cy="41549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282B2B"/>
                </a:solidFill>
                <a:effectLst/>
                <a:uLnTx/>
                <a:uFillTx/>
                <a:latin typeface="EYInterstate Light" panose="02000506000000020004" pitchFamily="2" charset="0"/>
                <a:cs typeface="Arial" charset="0"/>
              </a:rPr>
              <a:t>Use advanced analytics to match the right agent to the right customer based on peer similarity</a:t>
            </a:r>
          </a:p>
        </p:txBody>
      </p:sp>
      <p:pic>
        <p:nvPicPr>
          <p:cNvPr id="18" name="Graphic 17">
            <a:extLst>
              <a:ext uri="{FF2B5EF4-FFF2-40B4-BE49-F238E27FC236}">
                <a16:creationId xmlns:a16="http://schemas.microsoft.com/office/drawing/2014/main" id="{9D7ED08B-B9A5-485B-8F60-9D2B126484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5275" y="1627349"/>
            <a:ext cx="777240" cy="777240"/>
          </a:xfrm>
          <a:prstGeom prst="rect">
            <a:avLst/>
          </a:prstGeom>
        </p:spPr>
      </p:pic>
      <p:pic>
        <p:nvPicPr>
          <p:cNvPr id="12" name="Graphic 11">
            <a:extLst>
              <a:ext uri="{FF2B5EF4-FFF2-40B4-BE49-F238E27FC236}">
                <a16:creationId xmlns:a16="http://schemas.microsoft.com/office/drawing/2014/main" id="{F56D885F-B97C-42BA-80C7-642E8AA29A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87104" y="2429587"/>
            <a:ext cx="777240" cy="777240"/>
          </a:xfrm>
          <a:prstGeom prst="rect">
            <a:avLst/>
          </a:prstGeom>
        </p:spPr>
      </p:pic>
      <p:sp>
        <p:nvSpPr>
          <p:cNvPr id="66" name="Google Shape;5791;p63">
            <a:extLst>
              <a:ext uri="{FF2B5EF4-FFF2-40B4-BE49-F238E27FC236}">
                <a16:creationId xmlns:a16="http://schemas.microsoft.com/office/drawing/2014/main" id="{C9470407-E4AC-4E6B-AE39-9C13813147BB}"/>
              </a:ext>
            </a:extLst>
          </p:cNvPr>
          <p:cNvSpPr/>
          <p:nvPr/>
        </p:nvSpPr>
        <p:spPr>
          <a:xfrm>
            <a:off x="6964538" y="3739453"/>
            <a:ext cx="1430529" cy="1221585"/>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chemeClr val="accent2"/>
          </a:solidFill>
          <a:ln w="19050" cap="flat" cmpd="sng">
            <a:noFill/>
            <a:prstDash val="solid"/>
            <a:miter lim="58162"/>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cs typeface="Arial" charset="0"/>
            </a:endParaRPr>
          </a:p>
        </p:txBody>
      </p:sp>
      <p:sp>
        <p:nvSpPr>
          <p:cNvPr id="67" name="Rectangle 66">
            <a:extLst>
              <a:ext uri="{FF2B5EF4-FFF2-40B4-BE49-F238E27FC236}">
                <a16:creationId xmlns:a16="http://schemas.microsoft.com/office/drawing/2014/main" id="{C391F551-1172-40D7-8E7D-96AAE4470322}"/>
              </a:ext>
            </a:extLst>
          </p:cNvPr>
          <p:cNvSpPr/>
          <p:nvPr/>
        </p:nvSpPr>
        <p:spPr>
          <a:xfrm>
            <a:off x="6428196" y="4993458"/>
            <a:ext cx="2544691" cy="30777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EYInterstate"/>
                <a:cs typeface="Arial" charset="0"/>
              </a:rPr>
              <a:t>Digital Microservices</a:t>
            </a:r>
          </a:p>
        </p:txBody>
      </p:sp>
      <p:sp>
        <p:nvSpPr>
          <p:cNvPr id="68" name="Rectangle 67">
            <a:extLst>
              <a:ext uri="{FF2B5EF4-FFF2-40B4-BE49-F238E27FC236}">
                <a16:creationId xmlns:a16="http://schemas.microsoft.com/office/drawing/2014/main" id="{73F7A79D-0ACD-44BC-A0A1-421DF2105BFB}"/>
              </a:ext>
            </a:extLst>
          </p:cNvPr>
          <p:cNvSpPr/>
          <p:nvPr/>
        </p:nvSpPr>
        <p:spPr>
          <a:xfrm>
            <a:off x="6317503" y="5255293"/>
            <a:ext cx="3113263" cy="41549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282B2B"/>
                </a:solidFill>
                <a:effectLst/>
                <a:uLnTx/>
                <a:uFillTx/>
                <a:latin typeface="EYInterstate Light" panose="02000506000000020004" pitchFamily="2" charset="0"/>
                <a:cs typeface="Arial" charset="0"/>
              </a:rPr>
              <a:t>Use the big data platform as a source of data for building new microservice applications</a:t>
            </a:r>
          </a:p>
        </p:txBody>
      </p:sp>
      <p:sp>
        <p:nvSpPr>
          <p:cNvPr id="70" name="Google Shape;5791;p63">
            <a:extLst>
              <a:ext uri="{FF2B5EF4-FFF2-40B4-BE49-F238E27FC236}">
                <a16:creationId xmlns:a16="http://schemas.microsoft.com/office/drawing/2014/main" id="{0346CBF9-974E-44AF-93F6-8805E5303A6C}"/>
              </a:ext>
            </a:extLst>
          </p:cNvPr>
          <p:cNvSpPr/>
          <p:nvPr/>
        </p:nvSpPr>
        <p:spPr>
          <a:xfrm>
            <a:off x="9541458" y="4522049"/>
            <a:ext cx="1430529" cy="1221585"/>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chemeClr val="accent5"/>
          </a:solidFill>
          <a:ln w="19050" cap="flat" cmpd="sng">
            <a:noFill/>
            <a:prstDash val="solid"/>
            <a:miter lim="58162"/>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cs typeface="Arial" charset="0"/>
            </a:endParaRPr>
          </a:p>
        </p:txBody>
      </p:sp>
      <p:sp>
        <p:nvSpPr>
          <p:cNvPr id="71" name="Rectangle 70">
            <a:extLst>
              <a:ext uri="{FF2B5EF4-FFF2-40B4-BE49-F238E27FC236}">
                <a16:creationId xmlns:a16="http://schemas.microsoft.com/office/drawing/2014/main" id="{FC2076EC-A787-4A40-B5C1-9D4D81788B1D}"/>
              </a:ext>
            </a:extLst>
          </p:cNvPr>
          <p:cNvSpPr/>
          <p:nvPr/>
        </p:nvSpPr>
        <p:spPr>
          <a:xfrm>
            <a:off x="8736012" y="5775275"/>
            <a:ext cx="3100412" cy="30777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EYInterstate"/>
                <a:cs typeface="Arial" charset="0"/>
              </a:rPr>
              <a:t>Family tree for existing customers</a:t>
            </a:r>
          </a:p>
        </p:txBody>
      </p:sp>
      <p:sp>
        <p:nvSpPr>
          <p:cNvPr id="72" name="Rectangle 71">
            <a:extLst>
              <a:ext uri="{FF2B5EF4-FFF2-40B4-BE49-F238E27FC236}">
                <a16:creationId xmlns:a16="http://schemas.microsoft.com/office/drawing/2014/main" id="{20312D2C-AF00-4A32-9F7B-97DE8F9DFC19}"/>
              </a:ext>
            </a:extLst>
          </p:cNvPr>
          <p:cNvSpPr/>
          <p:nvPr/>
        </p:nvSpPr>
        <p:spPr>
          <a:xfrm>
            <a:off x="562007" y="6571966"/>
            <a:ext cx="7547813" cy="24622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B2B"/>
                </a:solidFill>
                <a:effectLst/>
                <a:uLnTx/>
                <a:uFillTx/>
                <a:latin typeface="EYInterstate Light" panose="02000506000000020004" pitchFamily="2" charset="0"/>
                <a:cs typeface="Arial" charset="0"/>
              </a:rPr>
              <a:t>*The pricing for value added activity has not been included in our current pricing and is subject to further discussion with AIAT.</a:t>
            </a:r>
          </a:p>
        </p:txBody>
      </p:sp>
      <p:sp>
        <p:nvSpPr>
          <p:cNvPr id="78" name="Google Shape;5791;p63">
            <a:extLst>
              <a:ext uri="{FF2B5EF4-FFF2-40B4-BE49-F238E27FC236}">
                <a16:creationId xmlns:a16="http://schemas.microsoft.com/office/drawing/2014/main" id="{B2639ECC-5A02-45F8-BA18-E92B5EB64BE9}"/>
              </a:ext>
            </a:extLst>
          </p:cNvPr>
          <p:cNvSpPr/>
          <p:nvPr/>
        </p:nvSpPr>
        <p:spPr>
          <a:xfrm>
            <a:off x="1596966" y="4200430"/>
            <a:ext cx="1430529" cy="1221585"/>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chemeClr val="accent2"/>
          </a:solidFill>
          <a:ln w="19050" cap="flat" cmpd="sng">
            <a:noFill/>
            <a:prstDash val="solid"/>
            <a:miter lim="58162"/>
            <a:headEnd type="none" w="sm" len="sm"/>
            <a:tailEnd type="none" w="sm" len="sm"/>
          </a:ln>
        </p:spPr>
        <p:txBody>
          <a:bodyPr spcFirstLastPara="1" wrap="square" lIns="91425" tIns="91425" rIns="91425" bIns="91425" anchor="ctr" anchorCtr="0">
            <a:noAutofit/>
          </a:bodyPr>
          <a:lstStyle/>
          <a:p>
            <a:pPr marL="0" marR="0" lvl="0" indent="0" algn="l" defTabSz="914400" rtl="0" eaLnBrk="0" fontAlgn="base" latinLnBrk="0" hangingPunct="0">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cs typeface="Arial" charset="0"/>
            </a:endParaRPr>
          </a:p>
        </p:txBody>
      </p:sp>
      <p:sp>
        <p:nvSpPr>
          <p:cNvPr id="79" name="Rectangle 78">
            <a:extLst>
              <a:ext uri="{FF2B5EF4-FFF2-40B4-BE49-F238E27FC236}">
                <a16:creationId xmlns:a16="http://schemas.microsoft.com/office/drawing/2014/main" id="{99736B45-BE6D-4D3F-9229-66B78B70144B}"/>
              </a:ext>
            </a:extLst>
          </p:cNvPr>
          <p:cNvSpPr/>
          <p:nvPr/>
        </p:nvSpPr>
        <p:spPr>
          <a:xfrm>
            <a:off x="1060624" y="5454435"/>
            <a:ext cx="2544691" cy="30777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EYInterstate"/>
                <a:cs typeface="Arial" charset="0"/>
              </a:rPr>
              <a:t>Next Best Offer</a:t>
            </a:r>
          </a:p>
        </p:txBody>
      </p:sp>
      <p:sp>
        <p:nvSpPr>
          <p:cNvPr id="80" name="Rectangle 79">
            <a:extLst>
              <a:ext uri="{FF2B5EF4-FFF2-40B4-BE49-F238E27FC236}">
                <a16:creationId xmlns:a16="http://schemas.microsoft.com/office/drawing/2014/main" id="{08CBC858-D40C-4006-B9DB-267FFDF97B35}"/>
              </a:ext>
            </a:extLst>
          </p:cNvPr>
          <p:cNvSpPr/>
          <p:nvPr/>
        </p:nvSpPr>
        <p:spPr>
          <a:xfrm>
            <a:off x="949931" y="5716270"/>
            <a:ext cx="3113263"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282B2B"/>
                </a:solidFill>
                <a:effectLst/>
                <a:uLnTx/>
                <a:uFillTx/>
                <a:latin typeface="EYInterstate Light" panose="02000506000000020004" pitchFamily="2" charset="0"/>
                <a:cs typeface="Arial" charset="0"/>
              </a:rPr>
              <a:t>Leverage advanced analytics to render the next best offer for a customer via Digital Channels (App, Call Centre, Agent, Web, WeChat/WhatsApp/Line)</a:t>
            </a:r>
          </a:p>
        </p:txBody>
      </p:sp>
      <p:pic>
        <p:nvPicPr>
          <p:cNvPr id="81" name="Graphic 80">
            <a:extLst>
              <a:ext uri="{FF2B5EF4-FFF2-40B4-BE49-F238E27FC236}">
                <a16:creationId xmlns:a16="http://schemas.microsoft.com/office/drawing/2014/main" id="{11E5778A-CB5D-4F23-8543-40CC6D0DBA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23611" y="4422792"/>
            <a:ext cx="777240" cy="777240"/>
          </a:xfrm>
          <a:prstGeom prst="rect">
            <a:avLst/>
          </a:prstGeom>
        </p:spPr>
      </p:pic>
      <p:pic>
        <p:nvPicPr>
          <p:cNvPr id="8" name="Graphic 7">
            <a:extLst>
              <a:ext uri="{FF2B5EF4-FFF2-40B4-BE49-F238E27FC236}">
                <a16:creationId xmlns:a16="http://schemas.microsoft.com/office/drawing/2014/main" id="{98800A11-EC65-435F-9997-BCE0C647825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32580" y="3992318"/>
            <a:ext cx="777240" cy="777240"/>
          </a:xfrm>
          <a:prstGeom prst="rect">
            <a:avLst/>
          </a:prstGeom>
        </p:spPr>
      </p:pic>
      <p:pic>
        <p:nvPicPr>
          <p:cNvPr id="6" name="Graphic 5">
            <a:extLst>
              <a:ext uri="{FF2B5EF4-FFF2-40B4-BE49-F238E27FC236}">
                <a16:creationId xmlns:a16="http://schemas.microsoft.com/office/drawing/2014/main" id="{46BF7A03-83E9-4888-89B9-E950A8164ED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886119" y="4758726"/>
            <a:ext cx="777240" cy="777240"/>
          </a:xfrm>
          <a:prstGeom prst="rect">
            <a:avLst/>
          </a:prstGeom>
        </p:spPr>
      </p:pic>
      <p:sp>
        <p:nvSpPr>
          <p:cNvPr id="82" name="object 3">
            <a:extLst>
              <a:ext uri="{FF2B5EF4-FFF2-40B4-BE49-F238E27FC236}">
                <a16:creationId xmlns:a16="http://schemas.microsoft.com/office/drawing/2014/main" id="{03559588-D45F-49D8-8F07-476C1DBC5E61}"/>
              </a:ext>
            </a:extLst>
          </p:cNvPr>
          <p:cNvSpPr txBox="1"/>
          <p:nvPr/>
        </p:nvSpPr>
        <p:spPr>
          <a:xfrm>
            <a:off x="855875" y="778032"/>
            <a:ext cx="11049000" cy="475771"/>
          </a:xfrm>
          <a:prstGeom prst="rect">
            <a:avLst/>
          </a:prstGeom>
          <a:noFill/>
        </p:spPr>
        <p:txBody>
          <a:bodyPr vert="horz" wrap="square" lIns="0" tIns="0" rIns="0" bIns="0" rtlCol="0" anchor="ctr">
            <a:noAutofit/>
          </a:bodyPr>
          <a:lstStyle>
            <a:defPPr>
              <a:defRPr lang="en-US"/>
            </a:defPPr>
            <a:lvl1pPr marL="30480" eaLnBrk="1" fontAlgn="auto" hangingPunct="1">
              <a:spcBef>
                <a:spcPts val="830"/>
              </a:spcBef>
              <a:spcAft>
                <a:spcPts val="0"/>
              </a:spcAft>
              <a:defRPr sz="1200">
                <a:solidFill>
                  <a:prstClr val="black"/>
                </a:solidFill>
                <a:latin typeface="EYInterstate Light" panose="02000506000000020004" pitchFamily="2" charset="0"/>
                <a:ea typeface="+mn-ea"/>
                <a:cs typeface="Arial"/>
              </a:defRPr>
            </a:lvl1pPr>
          </a:lstStyle>
          <a:p>
            <a:pPr marL="30480" marR="0" lvl="0" indent="0" algn="l" defTabSz="914400" rtl="0" eaLnBrk="1" fontAlgn="auto" latinLnBrk="0" hangingPunct="1">
              <a:lnSpc>
                <a:spcPct val="100000"/>
              </a:lnSpc>
              <a:spcBef>
                <a:spcPts val="83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Arial"/>
              </a:rPr>
              <a:t>We will closely work with AIAT stakeholders to confirm on the final use case to be performed for the validation of data platform design and architecture</a:t>
            </a:r>
          </a:p>
        </p:txBody>
      </p:sp>
      <p:sp>
        <p:nvSpPr>
          <p:cNvPr id="83" name="Rectangle 82">
            <a:extLst>
              <a:ext uri="{FF2B5EF4-FFF2-40B4-BE49-F238E27FC236}">
                <a16:creationId xmlns:a16="http://schemas.microsoft.com/office/drawing/2014/main" id="{51109A8F-3F20-4001-9FA3-CE0239DA8473}"/>
              </a:ext>
            </a:extLst>
          </p:cNvPr>
          <p:cNvSpPr/>
          <p:nvPr/>
        </p:nvSpPr>
        <p:spPr>
          <a:xfrm>
            <a:off x="8888412" y="6199947"/>
            <a:ext cx="3100412" cy="57708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282B2B"/>
                </a:solidFill>
                <a:effectLst/>
                <a:uLnTx/>
                <a:uFillTx/>
                <a:latin typeface="EYInterstate Light" panose="02000506000000020004" pitchFamily="2" charset="0"/>
                <a:cs typeface="Arial" charset="0"/>
              </a:rPr>
              <a:t>Use Network Graph technology to map and visualize the family tree/householding for existing or new customers</a:t>
            </a:r>
          </a:p>
        </p:txBody>
      </p:sp>
    </p:spTree>
    <p:extLst>
      <p:ext uri="{BB962C8B-B14F-4D97-AF65-F5344CB8AC3E}">
        <p14:creationId xmlns:p14="http://schemas.microsoft.com/office/powerpoint/2010/main" val="35137100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776DB-C238-4652-93BA-375C786F1F22}"/>
              </a:ext>
            </a:extLst>
          </p:cNvPr>
          <p:cNvSpPr>
            <a:spLocks noGrp="1"/>
          </p:cNvSpPr>
          <p:nvPr>
            <p:ph type="title"/>
          </p:nvPr>
        </p:nvSpPr>
        <p:spPr/>
        <p:txBody>
          <a:bodyPr/>
          <a:lstStyle/>
          <a:p>
            <a:r>
              <a:rPr lang="en-US" dirty="0"/>
              <a:t>We will deploy an end-to-end Automated Closed File Review for Health Claims leveraging ML/AI capabilities through our Azure Platform Architecture</a:t>
            </a:r>
          </a:p>
        </p:txBody>
      </p:sp>
      <p:sp>
        <p:nvSpPr>
          <p:cNvPr id="15" name="TextBox 14">
            <a:extLst>
              <a:ext uri="{FF2B5EF4-FFF2-40B4-BE49-F238E27FC236}">
                <a16:creationId xmlns:a16="http://schemas.microsoft.com/office/drawing/2014/main" id="{D55006CC-DE6D-4A65-BFF9-E5977D9598B9}"/>
              </a:ext>
            </a:extLst>
          </p:cNvPr>
          <p:cNvSpPr txBox="1"/>
          <p:nvPr/>
        </p:nvSpPr>
        <p:spPr>
          <a:xfrm>
            <a:off x="762329" y="1364433"/>
            <a:ext cx="11101261" cy="1384995"/>
          </a:xfrm>
          <a:prstGeom prst="rect">
            <a:avLst/>
          </a:prstGeom>
          <a:noFill/>
        </p:spPr>
        <p:txBody>
          <a:bodyPr wrap="square" rtlCol="0">
            <a:spAutoFit/>
          </a:bodyPr>
          <a:lstStyle/>
          <a:p>
            <a:pPr eaLnBrk="1" fontAlgn="auto" hangingPunct="1">
              <a:spcBef>
                <a:spcPts val="0"/>
              </a:spcBef>
              <a:spcAft>
                <a:spcPts val="0"/>
              </a:spcAft>
            </a:pPr>
            <a:r>
              <a:rPr lang="en-US" sz="1200" dirty="0">
                <a:solidFill>
                  <a:srgbClr val="282B2B"/>
                </a:solidFill>
                <a:latin typeface="EYInterstate Light" panose="02000506000000020004" pitchFamily="2" charset="0"/>
                <a:ea typeface="+mn-ea"/>
                <a:cs typeface="+mn-cs"/>
              </a:rPr>
              <a:t>We have developed an end to end automated Health Claims solution for our clients leveraging ML/AI capabilities to reduce the time and effort required for a manual closed file review. The automated solution is enabled to identify top 5 issue categories and provide explanations for same through a series of business rules. Overall, EY Intelligent Claim Solution provides a single integrated interface for claim management using leading-edge AI technologies and enables </a:t>
            </a:r>
          </a:p>
          <a:p>
            <a:pPr marL="171450" indent="-1714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 Identification of potential issues and corresponding leakages across claims </a:t>
            </a:r>
          </a:p>
          <a:p>
            <a:pPr marL="171450" indent="-1714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 Issue root cause identification and validation through business rules and analysis</a:t>
            </a:r>
          </a:p>
          <a:p>
            <a:pPr marL="171450" indent="-1714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 Solution can also be used as claim management platform which will enable consistency in claims assessment and improved audit procedures across accessors</a:t>
            </a:r>
          </a:p>
        </p:txBody>
      </p:sp>
      <p:sp>
        <p:nvSpPr>
          <p:cNvPr id="16" name="TextBox 15">
            <a:extLst>
              <a:ext uri="{FF2B5EF4-FFF2-40B4-BE49-F238E27FC236}">
                <a16:creationId xmlns:a16="http://schemas.microsoft.com/office/drawing/2014/main" id="{0D247713-29D1-4DBC-B7C7-65C401731B89}"/>
              </a:ext>
            </a:extLst>
          </p:cNvPr>
          <p:cNvSpPr txBox="1"/>
          <p:nvPr/>
        </p:nvSpPr>
        <p:spPr>
          <a:xfrm>
            <a:off x="783591" y="2807307"/>
            <a:ext cx="6813714" cy="2492990"/>
          </a:xfrm>
          <a:prstGeom prst="rect">
            <a:avLst/>
          </a:prstGeom>
          <a:noFill/>
        </p:spPr>
        <p:txBody>
          <a:bodyPr wrap="square" rtlCol="0">
            <a:spAutoFit/>
          </a:bodyPr>
          <a:lstStyle/>
          <a:p>
            <a:pPr eaLnBrk="1" fontAlgn="auto" hangingPunct="1">
              <a:spcBef>
                <a:spcPts val="0"/>
              </a:spcBef>
              <a:spcAft>
                <a:spcPts val="0"/>
              </a:spcAft>
            </a:pPr>
            <a:r>
              <a:rPr lang="en-US" sz="1200" b="1" dirty="0">
                <a:solidFill>
                  <a:srgbClr val="282B2B"/>
                </a:solidFill>
                <a:latin typeface="EYInterstate Light" panose="02000506000000020004" pitchFamily="2" charset="0"/>
                <a:ea typeface="+mn-ea"/>
                <a:cs typeface="+mn-cs"/>
              </a:rPr>
              <a:t>Key Service Offerings:</a:t>
            </a:r>
          </a:p>
          <a:p>
            <a:pPr marL="285750" indent="-2857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Facilitation of CFR leveraging SMEs within the insurers</a:t>
            </a:r>
          </a:p>
          <a:p>
            <a:pPr marL="285750" indent="-2857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Creating the Claims master database by consolidating information across multiple data domains including Customer, Claims, Policy, Underwriting, Agents and Provider information</a:t>
            </a:r>
          </a:p>
          <a:p>
            <a:pPr marL="285750" indent="-2857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Automated Leakage Issue Category detection using ML/AI capabilities</a:t>
            </a:r>
          </a:p>
          <a:p>
            <a:pPr marL="285750" indent="-2857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Root Cause analysis of flagged issues based on business rules and analysis</a:t>
            </a:r>
          </a:p>
          <a:p>
            <a:pPr marL="285750" indent="-2857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Financial Impact analysis to quantify total potential leakage</a:t>
            </a:r>
          </a:p>
          <a:p>
            <a:pPr marL="285750" indent="-2857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Data Transformation &amp; Real Time scoring of Claims transaction using multi-stage AI models on cloud </a:t>
            </a:r>
          </a:p>
          <a:p>
            <a:pPr marL="285750" indent="-2857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EY Hosted end-to-end managed service capability to score claim transactions and flag issues </a:t>
            </a:r>
          </a:p>
          <a:p>
            <a:pPr marL="285750" indent="-2857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Financial Institution hosted with EY managed services to score claims real time and flag issues &amp; risks </a:t>
            </a:r>
          </a:p>
          <a:p>
            <a:pPr marL="285750" indent="-285750" eaLnBrk="1" fontAlgn="auto" hangingPunct="1">
              <a:spcBef>
                <a:spcPts val="0"/>
              </a:spcBef>
              <a:spcAft>
                <a:spcPts val="0"/>
              </a:spcAft>
              <a:buFont typeface="Arial" panose="020B0604020202020204" pitchFamily="34" charset="0"/>
              <a:buChar char="•"/>
            </a:pPr>
            <a:r>
              <a:rPr lang="en-US" sz="1200" dirty="0">
                <a:solidFill>
                  <a:srgbClr val="282B2B"/>
                </a:solidFill>
                <a:latin typeface="EYInterstate Light" panose="02000506000000020004" pitchFamily="2" charset="0"/>
                <a:ea typeface="+mn-ea"/>
                <a:cs typeface="+mn-cs"/>
              </a:rPr>
              <a:t>Offline Scoring of claims data for risk assessment and quick closed file review</a:t>
            </a:r>
          </a:p>
        </p:txBody>
      </p:sp>
      <p:grpSp>
        <p:nvGrpSpPr>
          <p:cNvPr id="17" name="Group 16">
            <a:extLst>
              <a:ext uri="{FF2B5EF4-FFF2-40B4-BE49-F238E27FC236}">
                <a16:creationId xmlns:a16="http://schemas.microsoft.com/office/drawing/2014/main" id="{B715932C-43A5-4DBA-8F97-56BBC19CAD1B}"/>
              </a:ext>
            </a:extLst>
          </p:cNvPr>
          <p:cNvGrpSpPr/>
          <p:nvPr/>
        </p:nvGrpSpPr>
        <p:grpSpPr>
          <a:xfrm>
            <a:off x="7705901" y="2705260"/>
            <a:ext cx="3048001" cy="3245200"/>
            <a:chOff x="4320766" y="1076293"/>
            <a:chExt cx="4497636" cy="4918775"/>
          </a:xfrm>
        </p:grpSpPr>
        <p:pic>
          <p:nvPicPr>
            <p:cNvPr id="18" name="Picture 17">
              <a:extLst>
                <a:ext uri="{FF2B5EF4-FFF2-40B4-BE49-F238E27FC236}">
                  <a16:creationId xmlns:a16="http://schemas.microsoft.com/office/drawing/2014/main" id="{878FBDDF-AE8B-4811-B625-9671E3DB7D7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20766" y="1076293"/>
              <a:ext cx="4497636" cy="4918775"/>
            </a:xfrm>
            <a:prstGeom prst="rect">
              <a:avLst/>
            </a:prstGeom>
          </p:spPr>
        </p:pic>
        <p:pic>
          <p:nvPicPr>
            <p:cNvPr id="19" name="Picture 18">
              <a:extLst>
                <a:ext uri="{FF2B5EF4-FFF2-40B4-BE49-F238E27FC236}">
                  <a16:creationId xmlns:a16="http://schemas.microsoft.com/office/drawing/2014/main" id="{5DEBD90C-F6FA-40C3-AB52-89BB6CE897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26517" y="1353311"/>
              <a:ext cx="3863653" cy="2316011"/>
            </a:xfrm>
            <a:prstGeom prst="rect">
              <a:avLst/>
            </a:prstGeom>
          </p:spPr>
        </p:pic>
      </p:grpSp>
      <p:grpSp>
        <p:nvGrpSpPr>
          <p:cNvPr id="20" name="Group 19">
            <a:extLst>
              <a:ext uri="{FF2B5EF4-FFF2-40B4-BE49-F238E27FC236}">
                <a16:creationId xmlns:a16="http://schemas.microsoft.com/office/drawing/2014/main" id="{F1AC6DC8-38F3-4983-98A1-8E1EF2CA26C8}"/>
              </a:ext>
            </a:extLst>
          </p:cNvPr>
          <p:cNvGrpSpPr/>
          <p:nvPr/>
        </p:nvGrpSpPr>
        <p:grpSpPr>
          <a:xfrm>
            <a:off x="8790398" y="3249135"/>
            <a:ext cx="3048001" cy="3245200"/>
            <a:chOff x="6210693" y="1466790"/>
            <a:chExt cx="4497636" cy="4918775"/>
          </a:xfrm>
        </p:grpSpPr>
        <p:pic>
          <p:nvPicPr>
            <p:cNvPr id="21" name="Picture 20">
              <a:extLst>
                <a:ext uri="{FF2B5EF4-FFF2-40B4-BE49-F238E27FC236}">
                  <a16:creationId xmlns:a16="http://schemas.microsoft.com/office/drawing/2014/main" id="{35F571AF-253C-4A99-B1BA-293EC224BC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10693" y="1466790"/>
              <a:ext cx="4497636" cy="4918775"/>
            </a:xfrm>
            <a:prstGeom prst="rect">
              <a:avLst/>
            </a:prstGeom>
          </p:spPr>
        </p:pic>
        <p:pic>
          <p:nvPicPr>
            <p:cNvPr id="22" name="Picture 21">
              <a:extLst>
                <a:ext uri="{FF2B5EF4-FFF2-40B4-BE49-F238E27FC236}">
                  <a16:creationId xmlns:a16="http://schemas.microsoft.com/office/drawing/2014/main" id="{38C7979F-700C-4C73-87DC-C12C39D2BD8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23191" y="1742111"/>
              <a:ext cx="3863455" cy="2325797"/>
            </a:xfrm>
            <a:prstGeom prst="rect">
              <a:avLst/>
            </a:prstGeom>
          </p:spPr>
        </p:pic>
      </p:grpSp>
      <p:pic>
        <p:nvPicPr>
          <p:cNvPr id="23" name="Picture 22">
            <a:extLst>
              <a:ext uri="{FF2B5EF4-FFF2-40B4-BE49-F238E27FC236}">
                <a16:creationId xmlns:a16="http://schemas.microsoft.com/office/drawing/2014/main" id="{B74A027D-4ED3-413A-A43F-4B8F6D7F9FDB}"/>
              </a:ext>
            </a:extLst>
          </p:cNvPr>
          <p:cNvPicPr>
            <a:picLocks noChangeAspect="1"/>
          </p:cNvPicPr>
          <p:nvPr/>
        </p:nvPicPr>
        <p:blipFill>
          <a:blip r:embed="rId5">
            <a:clrChange>
              <a:clrFrom>
                <a:srgbClr val="FFFFFF"/>
              </a:clrFrom>
              <a:clrTo>
                <a:srgbClr val="FFFFFF">
                  <a:alpha val="0"/>
                </a:srgbClr>
              </a:clrTo>
            </a:clrChange>
            <a:duotone>
              <a:schemeClr val="accent5">
                <a:shade val="45000"/>
                <a:satMod val="135000"/>
              </a:schemeClr>
              <a:prstClr val="white"/>
            </a:duotone>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762329" y="5851276"/>
            <a:ext cx="9237672" cy="865320"/>
          </a:xfrm>
          <a:prstGeom prst="rect">
            <a:avLst/>
          </a:prstGeom>
        </p:spPr>
      </p:pic>
      <p:sp>
        <p:nvSpPr>
          <p:cNvPr id="24" name="Rectangle 23">
            <a:extLst>
              <a:ext uri="{FF2B5EF4-FFF2-40B4-BE49-F238E27FC236}">
                <a16:creationId xmlns:a16="http://schemas.microsoft.com/office/drawing/2014/main" id="{FF61717E-CB49-4E6B-BBB9-830419309399}"/>
              </a:ext>
            </a:extLst>
          </p:cNvPr>
          <p:cNvSpPr/>
          <p:nvPr/>
        </p:nvSpPr>
        <p:spPr>
          <a:xfrm>
            <a:off x="715495" y="5512722"/>
            <a:ext cx="8271262" cy="338554"/>
          </a:xfrm>
          <a:prstGeom prst="rect">
            <a:avLst/>
          </a:prstGeom>
        </p:spPr>
        <p:txBody>
          <a:bodyPr wrap="square">
            <a:spAutoFit/>
          </a:bodyPr>
          <a:lstStyle/>
          <a:p>
            <a:r>
              <a:rPr lang="en-US" sz="1600" b="1" dirty="0">
                <a:solidFill>
                  <a:schemeClr val="accent5"/>
                </a:solidFill>
                <a:latin typeface="EY Interstate Light"/>
              </a:rPr>
              <a:t>EY Intelligent Claim Solution is built on a set of advanced core technologies</a:t>
            </a:r>
          </a:p>
        </p:txBody>
      </p:sp>
    </p:spTree>
    <p:extLst>
      <p:ext uri="{BB962C8B-B14F-4D97-AF65-F5344CB8AC3E}">
        <p14:creationId xmlns:p14="http://schemas.microsoft.com/office/powerpoint/2010/main" val="33951117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68026-A3EF-43C5-B665-BA9F5A9F278B}"/>
              </a:ext>
            </a:extLst>
          </p:cNvPr>
          <p:cNvSpPr>
            <a:spLocks noGrp="1"/>
          </p:cNvSpPr>
          <p:nvPr>
            <p:ph type="title"/>
          </p:nvPr>
        </p:nvSpPr>
        <p:spPr>
          <a:xfrm>
            <a:off x="855875" y="551813"/>
            <a:ext cx="10982687" cy="672625"/>
          </a:xfrm>
        </p:spPr>
        <p:txBody>
          <a:bodyPr/>
          <a:lstStyle/>
          <a:p>
            <a:r>
              <a:rPr lang="en-US" dirty="0"/>
              <a:t>AIAT would have the ability to perform Automated Health Claim Assessment while validating our design of Data Platform enabled for deployment of AI/ML use-cases </a:t>
            </a:r>
          </a:p>
        </p:txBody>
      </p:sp>
      <p:sp>
        <p:nvSpPr>
          <p:cNvPr id="20" name="Arc 19">
            <a:extLst>
              <a:ext uri="{FF2B5EF4-FFF2-40B4-BE49-F238E27FC236}">
                <a16:creationId xmlns:a16="http://schemas.microsoft.com/office/drawing/2014/main" id="{6F3FF1FE-A631-4134-9199-993CED86C8A7}"/>
              </a:ext>
            </a:extLst>
          </p:cNvPr>
          <p:cNvSpPr/>
          <p:nvPr/>
        </p:nvSpPr>
        <p:spPr>
          <a:xfrm>
            <a:off x="2604674" y="836582"/>
            <a:ext cx="4719952" cy="5970334"/>
          </a:xfrm>
          <a:prstGeom prst="arc">
            <a:avLst>
              <a:gd name="adj1" fmla="val 7186204"/>
              <a:gd name="adj2" fmla="val 13977229"/>
            </a:avLst>
          </a:prstGeom>
          <a:noFill/>
          <a:ln w="38100" cap="flat" cmpd="sng" algn="ctr">
            <a:solidFill>
              <a:srgbClr val="747480"/>
            </a:solid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21" name="Rectangle: Rounded Corners 20">
            <a:extLst>
              <a:ext uri="{FF2B5EF4-FFF2-40B4-BE49-F238E27FC236}">
                <a16:creationId xmlns:a16="http://schemas.microsoft.com/office/drawing/2014/main" id="{329B8A69-E4F5-4C43-B486-31930EEB4CE5}"/>
              </a:ext>
            </a:extLst>
          </p:cNvPr>
          <p:cNvSpPr/>
          <p:nvPr/>
        </p:nvSpPr>
        <p:spPr>
          <a:xfrm rot="10800000">
            <a:off x="2512992" y="3676216"/>
            <a:ext cx="611384" cy="451952"/>
          </a:xfrm>
          <a:prstGeom prst="roundRect">
            <a:avLst/>
          </a:prstGeom>
          <a:solidFill>
            <a:schemeClr val="accent2"/>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IN" sz="1199" b="0" i="0" u="none" strike="noStrike" kern="0" cap="none" spc="0" normalizeH="0" baseline="0" noProof="0" dirty="0">
              <a:ln>
                <a:noFill/>
              </a:ln>
              <a:solidFill>
                <a:srgbClr val="FFFFFF"/>
              </a:solidFill>
              <a:effectLst/>
              <a:uLnTx/>
              <a:uFillTx/>
              <a:latin typeface="EYInterstate Light"/>
              <a:ea typeface="+mn-ea"/>
              <a:cs typeface="+mn-cs"/>
            </a:endParaRPr>
          </a:p>
        </p:txBody>
      </p:sp>
      <p:grpSp>
        <p:nvGrpSpPr>
          <p:cNvPr id="26" name="Group 25">
            <a:extLst>
              <a:ext uri="{FF2B5EF4-FFF2-40B4-BE49-F238E27FC236}">
                <a16:creationId xmlns:a16="http://schemas.microsoft.com/office/drawing/2014/main" id="{9DFFB131-8CA8-48BD-A315-68B09CE7DB46}"/>
              </a:ext>
            </a:extLst>
          </p:cNvPr>
          <p:cNvGrpSpPr/>
          <p:nvPr/>
        </p:nvGrpSpPr>
        <p:grpSpPr>
          <a:xfrm>
            <a:off x="616156" y="2994342"/>
            <a:ext cx="1879812" cy="2008801"/>
            <a:chOff x="645678" y="2692400"/>
            <a:chExt cx="1880791" cy="2009847"/>
          </a:xfrm>
        </p:grpSpPr>
        <p:grpSp>
          <p:nvGrpSpPr>
            <p:cNvPr id="27" name="Group 26">
              <a:extLst>
                <a:ext uri="{FF2B5EF4-FFF2-40B4-BE49-F238E27FC236}">
                  <a16:creationId xmlns:a16="http://schemas.microsoft.com/office/drawing/2014/main" id="{9691764B-BC23-406A-990F-17E89143B119}"/>
                </a:ext>
              </a:extLst>
            </p:cNvPr>
            <p:cNvGrpSpPr/>
            <p:nvPr/>
          </p:nvGrpSpPr>
          <p:grpSpPr>
            <a:xfrm>
              <a:off x="712055" y="2692400"/>
              <a:ext cx="1814414" cy="1816648"/>
              <a:chOff x="1535167" y="3231906"/>
              <a:chExt cx="871320" cy="872391"/>
            </a:xfrm>
          </p:grpSpPr>
          <p:grpSp>
            <p:nvGrpSpPr>
              <p:cNvPr id="29" name="Group 145">
                <a:extLst>
                  <a:ext uri="{FF2B5EF4-FFF2-40B4-BE49-F238E27FC236}">
                    <a16:creationId xmlns:a16="http://schemas.microsoft.com/office/drawing/2014/main" id="{29D9FCF2-D414-44E1-BA3C-53B84EA10674}"/>
                  </a:ext>
                </a:extLst>
              </p:cNvPr>
              <p:cNvGrpSpPr>
                <a:grpSpLocks noChangeAspect="1"/>
              </p:cNvGrpSpPr>
              <p:nvPr/>
            </p:nvGrpSpPr>
            <p:grpSpPr bwMode="auto">
              <a:xfrm>
                <a:off x="1535167" y="3231906"/>
                <a:ext cx="871320" cy="872391"/>
                <a:chOff x="2471" y="2922"/>
                <a:chExt cx="813" cy="814"/>
              </a:xfrm>
            </p:grpSpPr>
            <p:sp>
              <p:nvSpPr>
                <p:cNvPr id="31" name="Freeform 146">
                  <a:extLst>
                    <a:ext uri="{FF2B5EF4-FFF2-40B4-BE49-F238E27FC236}">
                      <a16:creationId xmlns:a16="http://schemas.microsoft.com/office/drawing/2014/main" id="{17329FB5-435F-42AA-977E-1F0F9C5C75F8}"/>
                    </a:ext>
                  </a:extLst>
                </p:cNvPr>
                <p:cNvSpPr>
                  <a:spLocks/>
                </p:cNvSpPr>
                <p:nvPr/>
              </p:nvSpPr>
              <p:spPr bwMode="auto">
                <a:xfrm>
                  <a:off x="2877" y="3129"/>
                  <a:ext cx="407" cy="607"/>
                </a:xfrm>
                <a:custGeom>
                  <a:avLst/>
                  <a:gdLst>
                    <a:gd name="T0" fmla="*/ 632 w 726"/>
                    <a:gd name="T1" fmla="*/ 0 h 1082"/>
                    <a:gd name="T2" fmla="*/ 726 w 726"/>
                    <a:gd name="T3" fmla="*/ 356 h 1082"/>
                    <a:gd name="T4" fmla="*/ 0 w 726"/>
                    <a:gd name="T5" fmla="*/ 1082 h 1082"/>
                  </a:gdLst>
                  <a:ahLst/>
                  <a:cxnLst>
                    <a:cxn ang="0">
                      <a:pos x="T0" y="T1"/>
                    </a:cxn>
                    <a:cxn ang="0">
                      <a:pos x="T2" y="T3"/>
                    </a:cxn>
                    <a:cxn ang="0">
                      <a:pos x="T4" y="T5"/>
                    </a:cxn>
                  </a:cxnLst>
                  <a:rect l="0" t="0" r="r" b="b"/>
                  <a:pathLst>
                    <a:path w="726" h="1082">
                      <a:moveTo>
                        <a:pt x="632" y="0"/>
                      </a:moveTo>
                      <a:cubicBezTo>
                        <a:pt x="692" y="106"/>
                        <a:pt x="726" y="227"/>
                        <a:pt x="726" y="356"/>
                      </a:cubicBezTo>
                      <a:cubicBezTo>
                        <a:pt x="726" y="757"/>
                        <a:pt x="401" y="1082"/>
                        <a:pt x="0" y="1082"/>
                      </a:cubicBezTo>
                    </a:path>
                  </a:pathLst>
                </a:custGeom>
                <a:noFill/>
                <a:ln w="36513"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399" b="0" i="0" u="none" strike="noStrike" kern="0" cap="none" spc="0" normalizeH="0" baseline="0" noProof="0" dirty="0">
                    <a:ln>
                      <a:noFill/>
                    </a:ln>
                    <a:solidFill>
                      <a:srgbClr val="000000"/>
                    </a:solidFill>
                    <a:effectLst/>
                    <a:uLnTx/>
                    <a:uFillTx/>
                    <a:latin typeface="EYInterstate Light"/>
                    <a:ea typeface="+mn-ea"/>
                    <a:cs typeface="+mn-cs"/>
                  </a:endParaRPr>
                </a:p>
              </p:txBody>
            </p:sp>
            <p:sp>
              <p:nvSpPr>
                <p:cNvPr id="32" name="Freeform 147">
                  <a:extLst>
                    <a:ext uri="{FF2B5EF4-FFF2-40B4-BE49-F238E27FC236}">
                      <a16:creationId xmlns:a16="http://schemas.microsoft.com/office/drawing/2014/main" id="{D2A2A943-84DA-426E-8941-25BB05FA466A}"/>
                    </a:ext>
                  </a:extLst>
                </p:cNvPr>
                <p:cNvSpPr>
                  <a:spLocks/>
                </p:cNvSpPr>
                <p:nvPr/>
              </p:nvSpPr>
              <p:spPr bwMode="auto">
                <a:xfrm>
                  <a:off x="2877" y="2922"/>
                  <a:ext cx="354" cy="207"/>
                </a:xfrm>
                <a:custGeom>
                  <a:avLst/>
                  <a:gdLst>
                    <a:gd name="T0" fmla="*/ 0 w 632"/>
                    <a:gd name="T1" fmla="*/ 0 h 370"/>
                    <a:gd name="T2" fmla="*/ 632 w 632"/>
                    <a:gd name="T3" fmla="*/ 370 h 370"/>
                  </a:gdLst>
                  <a:ahLst/>
                  <a:cxnLst>
                    <a:cxn ang="0">
                      <a:pos x="T0" y="T1"/>
                    </a:cxn>
                    <a:cxn ang="0">
                      <a:pos x="T2" y="T3"/>
                    </a:cxn>
                  </a:cxnLst>
                  <a:rect l="0" t="0" r="r" b="b"/>
                  <a:pathLst>
                    <a:path w="632" h="370">
                      <a:moveTo>
                        <a:pt x="0" y="0"/>
                      </a:moveTo>
                      <a:cubicBezTo>
                        <a:pt x="271" y="0"/>
                        <a:pt x="508" y="150"/>
                        <a:pt x="632" y="370"/>
                      </a:cubicBezTo>
                    </a:path>
                  </a:pathLst>
                </a:custGeom>
                <a:noFill/>
                <a:ln w="17463" cap="flat">
                  <a:solidFill>
                    <a:schemeClr val="accent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399" b="0" i="0" u="none" strike="noStrike" kern="0" cap="none" spc="0" normalizeH="0" baseline="0" noProof="0" dirty="0">
                    <a:ln>
                      <a:noFill/>
                    </a:ln>
                    <a:solidFill>
                      <a:srgbClr val="000000"/>
                    </a:solidFill>
                    <a:effectLst/>
                    <a:uLnTx/>
                    <a:uFillTx/>
                    <a:latin typeface="EYInterstate Light"/>
                    <a:ea typeface="+mn-ea"/>
                    <a:cs typeface="+mn-cs"/>
                  </a:endParaRPr>
                </a:p>
              </p:txBody>
            </p:sp>
            <p:sp>
              <p:nvSpPr>
                <p:cNvPr id="33" name="Freeform 148">
                  <a:extLst>
                    <a:ext uri="{FF2B5EF4-FFF2-40B4-BE49-F238E27FC236}">
                      <a16:creationId xmlns:a16="http://schemas.microsoft.com/office/drawing/2014/main" id="{3F939DE2-E28D-4BE7-80C0-252CA549CA62}"/>
                    </a:ext>
                  </a:extLst>
                </p:cNvPr>
                <p:cNvSpPr>
                  <a:spLocks/>
                </p:cNvSpPr>
                <p:nvPr/>
              </p:nvSpPr>
              <p:spPr bwMode="auto">
                <a:xfrm>
                  <a:off x="2471" y="2922"/>
                  <a:ext cx="406" cy="407"/>
                </a:xfrm>
                <a:custGeom>
                  <a:avLst/>
                  <a:gdLst>
                    <a:gd name="T0" fmla="*/ 0 w 726"/>
                    <a:gd name="T1" fmla="*/ 726 h 726"/>
                    <a:gd name="T2" fmla="*/ 726 w 726"/>
                    <a:gd name="T3" fmla="*/ 0 h 726"/>
                  </a:gdLst>
                  <a:ahLst/>
                  <a:cxnLst>
                    <a:cxn ang="0">
                      <a:pos x="T0" y="T1"/>
                    </a:cxn>
                    <a:cxn ang="0">
                      <a:pos x="T2" y="T3"/>
                    </a:cxn>
                  </a:cxnLst>
                  <a:rect l="0" t="0" r="r" b="b"/>
                  <a:pathLst>
                    <a:path w="726" h="726">
                      <a:moveTo>
                        <a:pt x="0" y="726"/>
                      </a:moveTo>
                      <a:cubicBezTo>
                        <a:pt x="0" y="326"/>
                        <a:pt x="325" y="0"/>
                        <a:pt x="726" y="0"/>
                      </a:cubicBezTo>
                    </a:path>
                  </a:pathLst>
                </a:custGeom>
                <a:noFill/>
                <a:ln w="36513"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399" b="0" i="0" u="none" strike="noStrike" kern="0" cap="none" spc="0" normalizeH="0" baseline="0" noProof="0" dirty="0">
                    <a:ln>
                      <a:noFill/>
                    </a:ln>
                    <a:solidFill>
                      <a:srgbClr val="000000"/>
                    </a:solidFill>
                    <a:effectLst/>
                    <a:uLnTx/>
                    <a:uFillTx/>
                    <a:latin typeface="EYInterstate Light"/>
                    <a:ea typeface="+mn-ea"/>
                    <a:cs typeface="+mn-cs"/>
                  </a:endParaRPr>
                </a:p>
              </p:txBody>
            </p:sp>
            <p:sp>
              <p:nvSpPr>
                <p:cNvPr id="34" name="Freeform 149">
                  <a:extLst>
                    <a:ext uri="{FF2B5EF4-FFF2-40B4-BE49-F238E27FC236}">
                      <a16:creationId xmlns:a16="http://schemas.microsoft.com/office/drawing/2014/main" id="{62E5B39C-3329-4311-8F3A-6D8553A27DC3}"/>
                    </a:ext>
                  </a:extLst>
                </p:cNvPr>
                <p:cNvSpPr>
                  <a:spLocks/>
                </p:cNvSpPr>
                <p:nvPr/>
              </p:nvSpPr>
              <p:spPr bwMode="auto">
                <a:xfrm>
                  <a:off x="2471" y="3329"/>
                  <a:ext cx="406" cy="407"/>
                </a:xfrm>
                <a:custGeom>
                  <a:avLst/>
                  <a:gdLst>
                    <a:gd name="T0" fmla="*/ 726 w 726"/>
                    <a:gd name="T1" fmla="*/ 726 h 726"/>
                    <a:gd name="T2" fmla="*/ 0 w 726"/>
                    <a:gd name="T3" fmla="*/ 0 h 726"/>
                  </a:gdLst>
                  <a:ahLst/>
                  <a:cxnLst>
                    <a:cxn ang="0">
                      <a:pos x="T0" y="T1"/>
                    </a:cxn>
                    <a:cxn ang="0">
                      <a:pos x="T2" y="T3"/>
                    </a:cxn>
                  </a:cxnLst>
                  <a:rect l="0" t="0" r="r" b="b"/>
                  <a:pathLst>
                    <a:path w="726" h="726">
                      <a:moveTo>
                        <a:pt x="726" y="726"/>
                      </a:moveTo>
                      <a:cubicBezTo>
                        <a:pt x="325" y="726"/>
                        <a:pt x="0" y="401"/>
                        <a:pt x="0" y="0"/>
                      </a:cubicBezTo>
                    </a:path>
                  </a:pathLst>
                </a:custGeom>
                <a:noFill/>
                <a:ln w="17463" cap="flat">
                  <a:solidFill>
                    <a:schemeClr val="accent5"/>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399" b="0" i="0" u="none" strike="noStrike" kern="0" cap="none" spc="0" normalizeH="0" baseline="0" noProof="0" dirty="0">
                    <a:ln>
                      <a:noFill/>
                    </a:ln>
                    <a:solidFill>
                      <a:srgbClr val="000000"/>
                    </a:solidFill>
                    <a:effectLst/>
                    <a:uLnTx/>
                    <a:uFillTx/>
                    <a:latin typeface="EYInterstate Light"/>
                    <a:ea typeface="+mn-ea"/>
                    <a:cs typeface="+mn-cs"/>
                  </a:endParaRPr>
                </a:p>
              </p:txBody>
            </p:sp>
            <p:sp>
              <p:nvSpPr>
                <p:cNvPr id="35" name="Freeform 150">
                  <a:extLst>
                    <a:ext uri="{FF2B5EF4-FFF2-40B4-BE49-F238E27FC236}">
                      <a16:creationId xmlns:a16="http://schemas.microsoft.com/office/drawing/2014/main" id="{C0B62624-8756-4ABF-9DE1-C42A096D0555}"/>
                    </a:ext>
                  </a:extLst>
                </p:cNvPr>
                <p:cNvSpPr>
                  <a:spLocks/>
                </p:cNvSpPr>
                <p:nvPr/>
              </p:nvSpPr>
              <p:spPr bwMode="auto">
                <a:xfrm>
                  <a:off x="2877" y="2956"/>
                  <a:ext cx="373" cy="747"/>
                </a:xfrm>
                <a:custGeom>
                  <a:avLst/>
                  <a:gdLst>
                    <a:gd name="T0" fmla="*/ 0 w 665"/>
                    <a:gd name="T1" fmla="*/ 0 h 1331"/>
                    <a:gd name="T2" fmla="*/ 665 w 665"/>
                    <a:gd name="T3" fmla="*/ 665 h 1331"/>
                    <a:gd name="T4" fmla="*/ 0 w 665"/>
                    <a:gd name="T5" fmla="*/ 1331 h 1331"/>
                  </a:gdLst>
                  <a:ahLst/>
                  <a:cxnLst>
                    <a:cxn ang="0">
                      <a:pos x="T0" y="T1"/>
                    </a:cxn>
                    <a:cxn ang="0">
                      <a:pos x="T2" y="T3"/>
                    </a:cxn>
                    <a:cxn ang="0">
                      <a:pos x="T4" y="T5"/>
                    </a:cxn>
                  </a:cxnLst>
                  <a:rect l="0" t="0" r="r" b="b"/>
                  <a:pathLst>
                    <a:path w="665" h="1331">
                      <a:moveTo>
                        <a:pt x="0" y="0"/>
                      </a:moveTo>
                      <a:cubicBezTo>
                        <a:pt x="367" y="0"/>
                        <a:pt x="665" y="298"/>
                        <a:pt x="665" y="665"/>
                      </a:cubicBezTo>
                      <a:cubicBezTo>
                        <a:pt x="665" y="1033"/>
                        <a:pt x="367" y="1331"/>
                        <a:pt x="0" y="133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399" b="0" i="0" u="none" strike="noStrike" kern="0" cap="none" spc="0" normalizeH="0" baseline="0" noProof="0" dirty="0">
                    <a:ln>
                      <a:noFill/>
                    </a:ln>
                    <a:solidFill>
                      <a:srgbClr val="000000"/>
                    </a:solidFill>
                    <a:effectLst/>
                    <a:uLnTx/>
                    <a:uFillTx/>
                    <a:latin typeface="EYInterstate Light"/>
                    <a:ea typeface="+mn-ea"/>
                    <a:cs typeface="+mn-cs"/>
                  </a:endParaRPr>
                </a:p>
              </p:txBody>
            </p:sp>
            <p:sp>
              <p:nvSpPr>
                <p:cNvPr id="36" name="Freeform 151">
                  <a:extLst>
                    <a:ext uri="{FF2B5EF4-FFF2-40B4-BE49-F238E27FC236}">
                      <a16:creationId xmlns:a16="http://schemas.microsoft.com/office/drawing/2014/main" id="{ACC638AF-2578-4D3A-BBFA-7032559163C3}"/>
                    </a:ext>
                  </a:extLst>
                </p:cNvPr>
                <p:cNvSpPr>
                  <a:spLocks/>
                </p:cNvSpPr>
                <p:nvPr/>
              </p:nvSpPr>
              <p:spPr bwMode="auto">
                <a:xfrm>
                  <a:off x="2504" y="2956"/>
                  <a:ext cx="373" cy="747"/>
                </a:xfrm>
                <a:custGeom>
                  <a:avLst/>
                  <a:gdLst>
                    <a:gd name="T0" fmla="*/ 666 w 666"/>
                    <a:gd name="T1" fmla="*/ 1331 h 1331"/>
                    <a:gd name="T2" fmla="*/ 0 w 666"/>
                    <a:gd name="T3" fmla="*/ 665 h 1331"/>
                    <a:gd name="T4" fmla="*/ 666 w 666"/>
                    <a:gd name="T5" fmla="*/ 0 h 1331"/>
                  </a:gdLst>
                  <a:ahLst/>
                  <a:cxnLst>
                    <a:cxn ang="0">
                      <a:pos x="T0" y="T1"/>
                    </a:cxn>
                    <a:cxn ang="0">
                      <a:pos x="T2" y="T3"/>
                    </a:cxn>
                    <a:cxn ang="0">
                      <a:pos x="T4" y="T5"/>
                    </a:cxn>
                  </a:cxnLst>
                  <a:rect l="0" t="0" r="r" b="b"/>
                  <a:pathLst>
                    <a:path w="666" h="1331">
                      <a:moveTo>
                        <a:pt x="666" y="1331"/>
                      </a:moveTo>
                      <a:cubicBezTo>
                        <a:pt x="298" y="1331"/>
                        <a:pt x="0" y="1033"/>
                        <a:pt x="0" y="665"/>
                      </a:cubicBezTo>
                      <a:cubicBezTo>
                        <a:pt x="0" y="298"/>
                        <a:pt x="298" y="0"/>
                        <a:pt x="666" y="0"/>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399" b="0" i="0" u="none" strike="noStrike" kern="0" cap="none" spc="0" normalizeH="0" baseline="0" noProof="0" dirty="0">
                    <a:ln>
                      <a:noFill/>
                    </a:ln>
                    <a:solidFill>
                      <a:srgbClr val="000000"/>
                    </a:solidFill>
                    <a:effectLst/>
                    <a:uLnTx/>
                    <a:uFillTx/>
                    <a:latin typeface="EYInterstate Light"/>
                    <a:ea typeface="+mn-ea"/>
                    <a:cs typeface="+mn-cs"/>
                  </a:endParaRPr>
                </a:p>
              </p:txBody>
            </p:sp>
          </p:grpSp>
          <p:sp>
            <p:nvSpPr>
              <p:cNvPr id="30" name="Textfeld 13">
                <a:extLst>
                  <a:ext uri="{FF2B5EF4-FFF2-40B4-BE49-F238E27FC236}">
                    <a16:creationId xmlns:a16="http://schemas.microsoft.com/office/drawing/2014/main" id="{08C79610-FD4C-4D22-8F24-CD9698752ABC}"/>
                  </a:ext>
                </a:extLst>
              </p:cNvPr>
              <p:cNvSpPr txBox="1"/>
              <p:nvPr/>
            </p:nvSpPr>
            <p:spPr>
              <a:xfrm>
                <a:off x="1632875" y="3480605"/>
                <a:ext cx="675905" cy="374992"/>
              </a:xfrm>
              <a:prstGeom prst="rect">
                <a:avLst/>
              </a:prstGeom>
              <a:noFill/>
              <a:ln>
                <a:noFill/>
              </a:ln>
            </p:spPr>
            <p:txBody>
              <a:bodyPr wrap="square" lIns="0" tIns="0" rIns="0" bIns="0" rtlCol="0" anchor="ctr">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1399" b="1" i="0" u="none" strike="noStrike" kern="0" cap="none" spc="0" normalizeH="0" baseline="0" noProof="0" dirty="0">
                    <a:ln>
                      <a:noFill/>
                    </a:ln>
                    <a:solidFill>
                      <a:srgbClr val="2E2E38"/>
                    </a:solidFill>
                    <a:effectLst/>
                    <a:uLnTx/>
                    <a:uFillTx/>
                    <a:latin typeface="EYInterstate Light" panose="02000506000000020004" pitchFamily="2" charset="0"/>
                    <a:ea typeface="+mn-ea"/>
                    <a:cs typeface="Arial" pitchFamily="34" charset="0"/>
                  </a:rPr>
                  <a:t>What’s in it for AIAT </a:t>
                </a:r>
              </a:p>
            </p:txBody>
          </p:sp>
        </p:grpSp>
        <p:cxnSp>
          <p:nvCxnSpPr>
            <p:cNvPr id="28" name="Straight Connector 27">
              <a:extLst>
                <a:ext uri="{FF2B5EF4-FFF2-40B4-BE49-F238E27FC236}">
                  <a16:creationId xmlns:a16="http://schemas.microsoft.com/office/drawing/2014/main" id="{B9C31FCD-CC77-4A12-AD74-7468E63130E9}"/>
                </a:ext>
              </a:extLst>
            </p:cNvPr>
            <p:cNvCxnSpPr>
              <a:cxnSpLocks/>
            </p:cNvCxnSpPr>
            <p:nvPr/>
          </p:nvCxnSpPr>
          <p:spPr>
            <a:xfrm flipV="1">
              <a:off x="645678" y="4312104"/>
              <a:ext cx="390141" cy="390143"/>
            </a:xfrm>
            <a:prstGeom prst="line">
              <a:avLst/>
            </a:prstGeom>
            <a:noFill/>
            <a:ln w="19050" cap="flat" cmpd="sng" algn="ctr">
              <a:solidFill>
                <a:schemeClr val="accent5"/>
              </a:solidFill>
              <a:prstDash val="solid"/>
            </a:ln>
            <a:effectLst/>
          </p:spPr>
        </p:cxnSp>
      </p:grpSp>
      <p:sp>
        <p:nvSpPr>
          <p:cNvPr id="37" name="Google Shape;360;p10">
            <a:extLst>
              <a:ext uri="{FF2B5EF4-FFF2-40B4-BE49-F238E27FC236}">
                <a16:creationId xmlns:a16="http://schemas.microsoft.com/office/drawing/2014/main" id="{72A6A495-B884-4319-8BF5-9A133AB69611}"/>
              </a:ext>
            </a:extLst>
          </p:cNvPr>
          <p:cNvSpPr>
            <a:spLocks/>
          </p:cNvSpPr>
          <p:nvPr/>
        </p:nvSpPr>
        <p:spPr>
          <a:xfrm>
            <a:off x="3902829" y="1531262"/>
            <a:ext cx="5382638" cy="830395"/>
          </a:xfrm>
          <a:prstGeom prst="rect">
            <a:avLst/>
          </a:prstGeom>
          <a:noFill/>
          <a:ln>
            <a:noFill/>
          </a:ln>
        </p:spPr>
        <p:txBody>
          <a:bodyPr spcFirstLastPara="1" wrap="square" lIns="91377" tIns="45676" rIns="91377" bIns="45676" anchor="t" anchorCtr="0">
            <a:spAutoFit/>
          </a:bodyPr>
          <a:lstStyle/>
          <a:p>
            <a:pPr defTabSz="913943" eaLnBrk="1" fontAlgn="auto" hangingPunct="1">
              <a:spcBef>
                <a:spcPts val="0"/>
              </a:spcBef>
              <a:spcAft>
                <a:spcPts val="0"/>
              </a:spcAft>
              <a:buClr>
                <a:srgbClr val="000000"/>
              </a:buClr>
              <a:defRPr/>
            </a:pPr>
            <a:r>
              <a:rPr lang="en-US" sz="1199" b="1" kern="0" dirty="0">
                <a:solidFill>
                  <a:schemeClr val="accent5"/>
                </a:solidFill>
                <a:latin typeface="EYInterstate Light" panose="02000506000000020004" pitchFamily="2" charset="0"/>
                <a:ea typeface="Inter"/>
                <a:cs typeface="Inter"/>
                <a:sym typeface="Inter"/>
              </a:rPr>
              <a:t>Automated Closed File Review for Health Claims</a:t>
            </a:r>
            <a:endParaRPr sz="1199" b="1" kern="0" dirty="0">
              <a:solidFill>
                <a:schemeClr val="accent5"/>
              </a:solidFill>
              <a:latin typeface="EYInterstate Light" panose="02000506000000020004" pitchFamily="2" charset="0"/>
              <a:ea typeface="Inter"/>
              <a:cs typeface="Inter"/>
              <a:sym typeface="Inter"/>
            </a:endParaRPr>
          </a:p>
          <a:p>
            <a:pPr defTabSz="913943" eaLnBrk="1" fontAlgn="auto" hangingPunct="1">
              <a:spcBef>
                <a:spcPts val="0"/>
              </a:spcBef>
              <a:spcAft>
                <a:spcPts val="0"/>
              </a:spcAft>
              <a:buClr>
                <a:srgbClr val="000000"/>
              </a:buClr>
              <a:defRPr/>
            </a:pPr>
            <a:r>
              <a:rPr lang="en-US" sz="1199" kern="0" dirty="0">
                <a:solidFill>
                  <a:srgbClr val="000000"/>
                </a:solidFill>
                <a:latin typeface="EYInterstate Light" panose="02000506000000020004" pitchFamily="2" charset="0"/>
                <a:ea typeface="Inter"/>
                <a:cs typeface="Inter"/>
                <a:sym typeface="Inter"/>
              </a:rPr>
              <a:t>We would share all the algorithms leveraging ML/AI capabilities, codes and logics that would provide AIA with an ability to perform Automated Health Claim Assessment independently in its Target state Data Platform</a:t>
            </a:r>
            <a:endParaRPr sz="1199" kern="0" dirty="0">
              <a:solidFill>
                <a:srgbClr val="000000"/>
              </a:solidFill>
              <a:latin typeface="EYInterstate Light" panose="02000506000000020004" pitchFamily="2" charset="0"/>
              <a:ea typeface="Inter"/>
              <a:cs typeface="Inter"/>
              <a:sym typeface="Inter"/>
            </a:endParaRPr>
          </a:p>
        </p:txBody>
      </p:sp>
      <p:sp>
        <p:nvSpPr>
          <p:cNvPr id="39" name="Oval 38">
            <a:extLst>
              <a:ext uri="{FF2B5EF4-FFF2-40B4-BE49-F238E27FC236}">
                <a16:creationId xmlns:a16="http://schemas.microsoft.com/office/drawing/2014/main" id="{942FBEE0-6AB5-4FBF-A395-DCE7B9DA9762}"/>
              </a:ext>
            </a:extLst>
          </p:cNvPr>
          <p:cNvSpPr/>
          <p:nvPr/>
        </p:nvSpPr>
        <p:spPr>
          <a:xfrm>
            <a:off x="3519145" y="1550718"/>
            <a:ext cx="287850" cy="287850"/>
          </a:xfrm>
          <a:prstGeom prst="ellipse">
            <a:avLst/>
          </a:prstGeom>
          <a:solidFill>
            <a:srgbClr val="FFE600"/>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1199" b="0" i="0" u="none" strike="noStrike" kern="0" cap="none" spc="0" normalizeH="0" baseline="0" noProof="0" dirty="0">
                <a:ln>
                  <a:noFill/>
                </a:ln>
                <a:effectLst/>
                <a:uLnTx/>
                <a:uFillTx/>
                <a:latin typeface="EYInterstate Light"/>
                <a:ea typeface="+mn-ea"/>
                <a:cs typeface="+mn-cs"/>
              </a:rPr>
              <a:t>1</a:t>
            </a:r>
          </a:p>
        </p:txBody>
      </p:sp>
      <p:sp>
        <p:nvSpPr>
          <p:cNvPr id="42" name="Google Shape;360;p10">
            <a:extLst>
              <a:ext uri="{FF2B5EF4-FFF2-40B4-BE49-F238E27FC236}">
                <a16:creationId xmlns:a16="http://schemas.microsoft.com/office/drawing/2014/main" id="{229F54AA-F4C5-48B5-A1C1-DDC80A24E84F}"/>
              </a:ext>
            </a:extLst>
          </p:cNvPr>
          <p:cNvSpPr>
            <a:spLocks/>
          </p:cNvSpPr>
          <p:nvPr/>
        </p:nvSpPr>
        <p:spPr>
          <a:xfrm>
            <a:off x="3939097" y="2519872"/>
            <a:ext cx="5382638" cy="830395"/>
          </a:xfrm>
          <a:prstGeom prst="rect">
            <a:avLst/>
          </a:prstGeom>
          <a:noFill/>
          <a:ln>
            <a:noFill/>
          </a:ln>
        </p:spPr>
        <p:txBody>
          <a:bodyPr spcFirstLastPara="1" wrap="square" lIns="91377" tIns="45676" rIns="91377" bIns="45676" anchor="t" anchorCtr="0">
            <a:spAutoFit/>
          </a:bodyPr>
          <a:lstStyle/>
          <a:p>
            <a:pPr defTabSz="913943" eaLnBrk="1" fontAlgn="auto" hangingPunct="1">
              <a:spcBef>
                <a:spcPts val="0"/>
              </a:spcBef>
              <a:spcAft>
                <a:spcPts val="0"/>
              </a:spcAft>
              <a:buClr>
                <a:srgbClr val="000000"/>
              </a:buClr>
              <a:defRPr/>
            </a:pPr>
            <a:r>
              <a:rPr lang="en-US" sz="1199" b="1" kern="0" dirty="0">
                <a:solidFill>
                  <a:schemeClr val="accent5"/>
                </a:solidFill>
                <a:latin typeface="EYInterstate Light" panose="02000506000000020004" pitchFamily="2" charset="0"/>
                <a:ea typeface="Inter"/>
                <a:cs typeface="Inter"/>
                <a:sym typeface="Inter"/>
              </a:rPr>
              <a:t>Validation of end-to-end Azure Cloud enabled Architecture</a:t>
            </a:r>
            <a:endParaRPr sz="1199" b="1" kern="0" dirty="0">
              <a:solidFill>
                <a:schemeClr val="accent5"/>
              </a:solidFill>
              <a:latin typeface="EYInterstate Light" panose="02000506000000020004" pitchFamily="2" charset="0"/>
              <a:ea typeface="Inter"/>
              <a:cs typeface="Inter"/>
              <a:sym typeface="Inter"/>
            </a:endParaRPr>
          </a:p>
          <a:p>
            <a:pPr defTabSz="913943" eaLnBrk="1" fontAlgn="auto" hangingPunct="1">
              <a:spcBef>
                <a:spcPts val="0"/>
              </a:spcBef>
              <a:spcAft>
                <a:spcPts val="0"/>
              </a:spcAft>
              <a:buClr>
                <a:srgbClr val="000000"/>
              </a:buClr>
              <a:defRPr/>
            </a:pPr>
            <a:r>
              <a:rPr lang="en-US" sz="1199" kern="0" dirty="0">
                <a:solidFill>
                  <a:srgbClr val="000000"/>
                </a:solidFill>
                <a:latin typeface="EYInterstate Light" panose="02000506000000020004" pitchFamily="2" charset="0"/>
                <a:ea typeface="Inter"/>
                <a:cs typeface="Inter"/>
                <a:sym typeface="Inter"/>
              </a:rPr>
              <a:t>We would deploy the solution in our Azure Cloud instance of that would also help validate our design and recommendation of the Data Platform Architecture and Capabilities for Target State.</a:t>
            </a:r>
            <a:endParaRPr sz="1199" kern="0" dirty="0">
              <a:solidFill>
                <a:srgbClr val="000000"/>
              </a:solidFill>
              <a:latin typeface="EYInterstate Light" panose="02000506000000020004" pitchFamily="2" charset="0"/>
              <a:ea typeface="Inter"/>
              <a:cs typeface="Inter"/>
              <a:sym typeface="Inter"/>
            </a:endParaRPr>
          </a:p>
        </p:txBody>
      </p:sp>
      <p:sp>
        <p:nvSpPr>
          <p:cNvPr id="44" name="Oval 43">
            <a:extLst>
              <a:ext uri="{FF2B5EF4-FFF2-40B4-BE49-F238E27FC236}">
                <a16:creationId xmlns:a16="http://schemas.microsoft.com/office/drawing/2014/main" id="{5957D25B-6A9C-4B9F-9F3E-2E5F8C450435}"/>
              </a:ext>
            </a:extLst>
          </p:cNvPr>
          <p:cNvSpPr/>
          <p:nvPr/>
        </p:nvSpPr>
        <p:spPr>
          <a:xfrm>
            <a:off x="3555413" y="2519872"/>
            <a:ext cx="287850" cy="287850"/>
          </a:xfrm>
          <a:prstGeom prst="ellipse">
            <a:avLst/>
          </a:prstGeom>
          <a:solidFill>
            <a:schemeClr val="accent2"/>
          </a:solidFill>
          <a:ln w="25400" cap="flat" cmpd="sng" algn="ctr">
            <a:solidFill>
              <a:schemeClr val="accent2"/>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defRPr/>
            </a:pPr>
            <a:r>
              <a:rPr kumimoji="0" lang="en-IN" sz="1199" i="0" u="none" strike="noStrike" kern="0" cap="none" spc="0" normalizeH="0" baseline="0" noProof="0" dirty="0">
                <a:ln>
                  <a:noFill/>
                </a:ln>
                <a:effectLst/>
                <a:uLnTx/>
                <a:uFillTx/>
                <a:latin typeface="EYInterstate Light"/>
                <a:ea typeface="+mn-ea"/>
                <a:cs typeface="+mn-cs"/>
              </a:rPr>
              <a:t>2</a:t>
            </a:r>
          </a:p>
        </p:txBody>
      </p:sp>
      <p:pic>
        <p:nvPicPr>
          <p:cNvPr id="46" name="Picture 45">
            <a:extLst>
              <a:ext uri="{FF2B5EF4-FFF2-40B4-BE49-F238E27FC236}">
                <a16:creationId xmlns:a16="http://schemas.microsoft.com/office/drawing/2014/main" id="{D7C10EB2-8F3A-4BEF-B183-7C40F2FC23B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169849" y="3429256"/>
            <a:ext cx="4741586" cy="2047416"/>
          </a:xfrm>
          <a:prstGeom prst="rect">
            <a:avLst/>
          </a:prstGeom>
        </p:spPr>
      </p:pic>
      <p:pic>
        <p:nvPicPr>
          <p:cNvPr id="47" name="Picture 46">
            <a:extLst>
              <a:ext uri="{FF2B5EF4-FFF2-40B4-BE49-F238E27FC236}">
                <a16:creationId xmlns:a16="http://schemas.microsoft.com/office/drawing/2014/main" id="{5F84F0F7-39CE-49E3-A20F-D1A4B154CD53}"/>
              </a:ext>
            </a:extLst>
          </p:cNvPr>
          <p:cNvPicPr>
            <a:picLocks noChangeAspect="1"/>
          </p:cNvPicPr>
          <p:nvPr/>
        </p:nvPicPr>
        <p:blipFill>
          <a:blip r:embed="rId3"/>
          <a:stretch>
            <a:fillRect/>
          </a:stretch>
        </p:blipFill>
        <p:spPr>
          <a:xfrm>
            <a:off x="8329524" y="3679564"/>
            <a:ext cx="3755300" cy="2335613"/>
          </a:xfrm>
          <a:prstGeom prst="rect">
            <a:avLst/>
          </a:prstGeom>
        </p:spPr>
      </p:pic>
      <p:sp>
        <p:nvSpPr>
          <p:cNvPr id="48" name="Rectangle 47">
            <a:extLst>
              <a:ext uri="{FF2B5EF4-FFF2-40B4-BE49-F238E27FC236}">
                <a16:creationId xmlns:a16="http://schemas.microsoft.com/office/drawing/2014/main" id="{343CFD38-D53A-45E7-AEED-A17884E8D8FD}"/>
              </a:ext>
            </a:extLst>
          </p:cNvPr>
          <p:cNvSpPr/>
          <p:nvPr/>
        </p:nvSpPr>
        <p:spPr>
          <a:xfrm>
            <a:off x="3234031" y="3542460"/>
            <a:ext cx="1639144" cy="307777"/>
          </a:xfrm>
          <a:prstGeom prst="rect">
            <a:avLst/>
          </a:prstGeom>
        </p:spPr>
        <p:txBody>
          <a:bodyPr wrap="square">
            <a:spAutoFit/>
          </a:bodyPr>
          <a:lstStyle/>
          <a:p>
            <a:pPr defTabSz="913943" eaLnBrk="1" fontAlgn="auto" hangingPunct="1">
              <a:spcBef>
                <a:spcPts val="0"/>
              </a:spcBef>
              <a:spcAft>
                <a:spcPts val="0"/>
              </a:spcAft>
              <a:buClr>
                <a:srgbClr val="000000"/>
              </a:buClr>
              <a:defRPr/>
            </a:pPr>
            <a:r>
              <a:rPr lang="en-US" sz="1400" b="1" kern="0" dirty="0">
                <a:solidFill>
                  <a:schemeClr val="bg2"/>
                </a:solidFill>
                <a:latin typeface="EYInterstate Light" panose="02000506000000020004" pitchFamily="2" charset="0"/>
                <a:ea typeface="Inter"/>
                <a:cs typeface="Inter"/>
                <a:sym typeface="Inter"/>
              </a:rPr>
              <a:t>Functional Flow</a:t>
            </a:r>
          </a:p>
        </p:txBody>
      </p:sp>
      <p:sp>
        <p:nvSpPr>
          <p:cNvPr id="49" name="Rectangle 48">
            <a:extLst>
              <a:ext uri="{FF2B5EF4-FFF2-40B4-BE49-F238E27FC236}">
                <a16:creationId xmlns:a16="http://schemas.microsoft.com/office/drawing/2014/main" id="{5E27E22A-0FD8-4E50-9102-BABBA3CBB7A4}"/>
              </a:ext>
            </a:extLst>
          </p:cNvPr>
          <p:cNvSpPr/>
          <p:nvPr/>
        </p:nvSpPr>
        <p:spPr>
          <a:xfrm>
            <a:off x="8253852" y="3377088"/>
            <a:ext cx="3262000" cy="307777"/>
          </a:xfrm>
          <a:prstGeom prst="rect">
            <a:avLst/>
          </a:prstGeom>
        </p:spPr>
        <p:txBody>
          <a:bodyPr wrap="square">
            <a:spAutoFit/>
          </a:bodyPr>
          <a:lstStyle/>
          <a:p>
            <a:pPr defTabSz="913943" eaLnBrk="1" fontAlgn="auto" hangingPunct="1">
              <a:spcBef>
                <a:spcPts val="0"/>
              </a:spcBef>
              <a:spcAft>
                <a:spcPts val="0"/>
              </a:spcAft>
              <a:buClr>
                <a:srgbClr val="000000"/>
              </a:buClr>
              <a:defRPr/>
            </a:pPr>
            <a:r>
              <a:rPr lang="en-US" sz="1400" b="1" kern="0" dirty="0">
                <a:solidFill>
                  <a:schemeClr val="bg2"/>
                </a:solidFill>
                <a:latin typeface="EYInterstate Light" panose="02000506000000020004" pitchFamily="2" charset="0"/>
                <a:ea typeface="Inter"/>
                <a:cs typeface="Inter"/>
                <a:sym typeface="Inter"/>
              </a:rPr>
              <a:t>Logical Architecture in Azure Cloud </a:t>
            </a:r>
          </a:p>
        </p:txBody>
      </p:sp>
    </p:spTree>
    <p:extLst>
      <p:ext uri="{BB962C8B-B14F-4D97-AF65-F5344CB8AC3E}">
        <p14:creationId xmlns:p14="http://schemas.microsoft.com/office/powerpoint/2010/main" val="143282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E3999EC-7A6F-4BB9-AB87-8E784FEC940F}"/>
              </a:ext>
            </a:extLst>
          </p:cNvPr>
          <p:cNvPicPr>
            <a:picLocks noChangeAspect="1"/>
          </p:cNvPicPr>
          <p:nvPr/>
        </p:nvPicPr>
        <p:blipFill>
          <a:blip r:embed="rId2"/>
          <a:stretch>
            <a:fillRect/>
          </a:stretch>
        </p:blipFill>
        <p:spPr>
          <a:xfrm>
            <a:off x="0" y="1844"/>
            <a:ext cx="12198350" cy="6854311"/>
          </a:xfrm>
          <a:prstGeom prst="rect">
            <a:avLst/>
          </a:prstGeom>
        </p:spPr>
      </p:pic>
      <p:sp>
        <p:nvSpPr>
          <p:cNvPr id="8" name="Freeform 12">
            <a:extLst>
              <a:ext uri="{FF2B5EF4-FFF2-40B4-BE49-F238E27FC236}">
                <a16:creationId xmlns:a16="http://schemas.microsoft.com/office/drawing/2014/main" id="{5D46DDCB-3BE1-4B71-BA08-5E44DE5C46BD}"/>
              </a:ext>
            </a:extLst>
          </p:cNvPr>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algn="ctr" defTabSz="634556" eaLnBrk="1" hangingPunct="1">
              <a:spcAft>
                <a:spcPct val="50000"/>
              </a:spcAft>
              <a:buClr>
                <a:srgbClr val="FFE600"/>
              </a:buClr>
              <a:buSzPct val="80000"/>
            </a:pPr>
            <a:endParaRPr lang="en-US" sz="637" dirty="0">
              <a:solidFill>
                <a:srgbClr val="FFFFFF"/>
              </a:solidFill>
              <a:latin typeface="EYInterstate Light" panose="02000506000000020004" pitchFamily="2" charset="0"/>
            </a:endParaRPr>
          </a:p>
        </p:txBody>
      </p:sp>
      <p:sp>
        <p:nvSpPr>
          <p:cNvPr id="9" name="Text Placeholder 9">
            <a:extLst>
              <a:ext uri="{FF2B5EF4-FFF2-40B4-BE49-F238E27FC236}">
                <a16:creationId xmlns:a16="http://schemas.microsoft.com/office/drawing/2014/main" id="{188B850A-DD0C-40EC-BF0B-9E263EC88DC9}"/>
              </a:ext>
            </a:extLst>
          </p:cNvPr>
          <p:cNvSpPr txBox="1">
            <a:spLocks/>
          </p:cNvSpPr>
          <p:nvPr/>
        </p:nvSpPr>
        <p:spPr bwMode="gray">
          <a:xfrm>
            <a:off x="2856" y="1865549"/>
            <a:ext cx="4992526"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defTabSz="634779" eaLnBrk="1" hangingPunct="1">
              <a:buClr>
                <a:srgbClr val="FFE600"/>
              </a:buClr>
              <a:buSzPct val="80000"/>
            </a:pPr>
            <a:r>
              <a:rPr lang="en-US" sz="2000" dirty="0">
                <a:solidFill>
                  <a:schemeClr val="bg1"/>
                </a:solidFill>
                <a:latin typeface="EYInterstate" panose="02000503020000020004" pitchFamily="2" charset="0"/>
              </a:rPr>
              <a:t>   1| </a:t>
            </a:r>
            <a:r>
              <a:rPr lang="en-US" sz="2000" dirty="0">
                <a:solidFill>
                  <a:schemeClr val="bg1"/>
                </a:solidFill>
                <a:latin typeface="EYInterstate" panose="02000503020000020004" pitchFamily="2" charset="0"/>
                <a:cs typeface="Calibri" panose="020F0502020204030204" pitchFamily="34" charset="0"/>
              </a:rPr>
              <a:t>Our Understanding of Your Needs</a:t>
            </a:r>
          </a:p>
          <a:p>
            <a:pPr defTabSz="634779" eaLnBrk="1" hangingPunct="1">
              <a:buClr>
                <a:srgbClr val="FFE600"/>
              </a:buClr>
              <a:buSzPct val="80000"/>
            </a:pPr>
            <a:endParaRPr lang="en-US" sz="1814" dirty="0">
              <a:solidFill>
                <a:srgbClr val="000000"/>
              </a:solidFill>
              <a:latin typeface="EYInterstate" panose="02000503020000020004" pitchFamily="2" charset="0"/>
              <a:cs typeface="Calibri" panose="020F0502020204030204" pitchFamily="34" charset="0"/>
            </a:endParaRPr>
          </a:p>
        </p:txBody>
      </p:sp>
      <p:sp>
        <p:nvSpPr>
          <p:cNvPr id="10" name="Rectangle 9">
            <a:extLst>
              <a:ext uri="{FF2B5EF4-FFF2-40B4-BE49-F238E27FC236}">
                <a16:creationId xmlns:a16="http://schemas.microsoft.com/office/drawing/2014/main" id="{36766414-5C78-4E7E-B2EC-3AC0DC969E62}"/>
              </a:ext>
            </a:extLst>
          </p:cNvPr>
          <p:cNvSpPr/>
          <p:nvPr/>
        </p:nvSpPr>
        <p:spPr>
          <a:xfrm>
            <a:off x="8583616" y="-213122"/>
            <a:ext cx="3312045" cy="7359419"/>
          </a:xfrm>
          <a:prstGeom prst="rect">
            <a:avLst/>
          </a:prstGeom>
          <a:noFill/>
        </p:spPr>
        <p:txBody>
          <a:bodyPr wrap="square" lIns="72742" tIns="36370" rIns="72742" bIns="36370">
            <a:spAutoFit/>
          </a:bodyPr>
          <a:lstStyle/>
          <a:p>
            <a:pPr algn="ctr" defTabSz="945990" eaLnBrk="1" fontAlgn="auto" hangingPunct="1">
              <a:spcBef>
                <a:spcPts val="0"/>
              </a:spcBef>
              <a:spcAft>
                <a:spcPts val="0"/>
              </a:spcAft>
            </a:pPr>
            <a:r>
              <a:rPr lang="en-US" sz="47346" b="1" dirty="0">
                <a:ln w="22225">
                  <a:solidFill>
                    <a:srgbClr val="FFE600"/>
                  </a:solidFill>
                  <a:prstDash val="solid"/>
                </a:ln>
                <a:solidFill>
                  <a:srgbClr val="FFE600"/>
                </a:solidFill>
                <a:latin typeface="EYInterstate" panose="02000503020000020004" pitchFamily="2" charset="0"/>
                <a:ea typeface="+mn-ea"/>
                <a:cs typeface="Calibri" panose="020F0502020204030204" pitchFamily="34" charset="0"/>
              </a:rPr>
              <a:t>1</a:t>
            </a:r>
          </a:p>
        </p:txBody>
      </p:sp>
    </p:spTree>
    <p:extLst>
      <p:ext uri="{BB962C8B-B14F-4D97-AF65-F5344CB8AC3E}">
        <p14:creationId xmlns:p14="http://schemas.microsoft.com/office/powerpoint/2010/main" val="24170054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26C4713-91DD-440D-AFE1-2DD0CB84E95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708" b="11958"/>
          <a:stretch/>
        </p:blipFill>
        <p:spPr>
          <a:xfrm flipH="1">
            <a:off x="0" y="3176"/>
            <a:ext cx="13442950" cy="7558088"/>
          </a:xfrm>
          <a:prstGeom prst="rect">
            <a:avLst/>
          </a:prstGeom>
        </p:spPr>
      </p:pic>
      <p:sp>
        <p:nvSpPr>
          <p:cNvPr id="8" name="Freeform 12">
            <a:extLst>
              <a:ext uri="{FF2B5EF4-FFF2-40B4-BE49-F238E27FC236}">
                <a16:creationId xmlns:a16="http://schemas.microsoft.com/office/drawing/2014/main" id="{5D46DDCB-3BE1-4B71-BA08-5E44DE5C46BD}"/>
              </a:ext>
            </a:extLst>
          </p:cNvPr>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marL="0" marR="0" lvl="0" indent="0" algn="ctr" defTabSz="634556" rtl="0" eaLnBrk="1" fontAlgn="base" latinLnBrk="0" hangingPunct="1">
              <a:lnSpc>
                <a:spcPct val="100000"/>
              </a:lnSpc>
              <a:spcBef>
                <a:spcPct val="0"/>
              </a:spcBef>
              <a:spcAft>
                <a:spcPct val="50000"/>
              </a:spcAft>
              <a:buClr>
                <a:srgbClr val="FFE600"/>
              </a:buClr>
              <a:buSzPct val="80000"/>
              <a:buFontTx/>
              <a:buNone/>
              <a:tabLst/>
              <a:defRPr/>
            </a:pPr>
            <a:endParaRPr kumimoji="0" lang="en-US" sz="637"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endParaRPr>
          </a:p>
        </p:txBody>
      </p:sp>
      <p:sp>
        <p:nvSpPr>
          <p:cNvPr id="9" name="Text Placeholder 9">
            <a:extLst>
              <a:ext uri="{FF2B5EF4-FFF2-40B4-BE49-F238E27FC236}">
                <a16:creationId xmlns:a16="http://schemas.microsoft.com/office/drawing/2014/main" id="{188B850A-DD0C-40EC-BF0B-9E263EC88DC9}"/>
              </a:ext>
            </a:extLst>
          </p:cNvPr>
          <p:cNvSpPr txBox="1">
            <a:spLocks/>
          </p:cNvSpPr>
          <p:nvPr/>
        </p:nvSpPr>
        <p:spPr bwMode="gray">
          <a:xfrm>
            <a:off x="2856" y="1865549"/>
            <a:ext cx="4992526"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2000" b="1"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rPr>
              <a:t>   5| </a:t>
            </a:r>
            <a:r>
              <a:rPr kumimoji="0" lang="en-US" sz="2000" b="1" i="0" u="none" strike="noStrike" kern="1200" cap="none" spc="0" normalizeH="0" baseline="0" noProof="0" dirty="0">
                <a:ln>
                  <a:noFill/>
                </a:ln>
                <a:solidFill>
                  <a:srgbClr val="000000"/>
                </a:solidFill>
                <a:effectLst/>
                <a:uLnTx/>
                <a:uFillTx/>
                <a:latin typeface="EYInterstate" panose="02000503020000020004" pitchFamily="2" charset="0"/>
                <a:ea typeface="+mn-ea"/>
                <a:cs typeface="Calibri" panose="020F0502020204030204" pitchFamily="34" charset="0"/>
              </a:rPr>
              <a:t>Timelines</a:t>
            </a:r>
          </a:p>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endParaRPr kumimoji="0" lang="en-US" sz="1814" b="1" i="0" u="none" strike="noStrike" kern="1200" cap="none" spc="0" normalizeH="0" baseline="0" noProof="0" dirty="0">
              <a:ln>
                <a:noFill/>
              </a:ln>
              <a:solidFill>
                <a:srgbClr val="000000"/>
              </a:solidFill>
              <a:effectLst/>
              <a:uLnTx/>
              <a:uFillTx/>
              <a:latin typeface="EYInterstate" panose="02000503020000020004" pitchFamily="2" charset="0"/>
              <a:ea typeface="+mn-ea"/>
              <a:cs typeface="Calibri" panose="020F0502020204030204" pitchFamily="34" charset="0"/>
            </a:endParaRPr>
          </a:p>
        </p:txBody>
      </p:sp>
      <p:sp>
        <p:nvSpPr>
          <p:cNvPr id="10" name="Rectangle 9">
            <a:extLst>
              <a:ext uri="{FF2B5EF4-FFF2-40B4-BE49-F238E27FC236}">
                <a16:creationId xmlns:a16="http://schemas.microsoft.com/office/drawing/2014/main" id="{36766414-5C78-4E7E-B2EC-3AC0DC969E62}"/>
              </a:ext>
            </a:extLst>
          </p:cNvPr>
          <p:cNvSpPr/>
          <p:nvPr/>
        </p:nvSpPr>
        <p:spPr>
          <a:xfrm>
            <a:off x="8583616" y="-213122"/>
            <a:ext cx="3312045" cy="7359419"/>
          </a:xfrm>
          <a:prstGeom prst="rect">
            <a:avLst/>
          </a:prstGeom>
          <a:noFill/>
        </p:spPr>
        <p:txBody>
          <a:bodyPr wrap="square" lIns="72742" tIns="36370" rIns="72742" bIns="36370">
            <a:spAutoFit/>
          </a:bodyPr>
          <a:lstStyle/>
          <a:p>
            <a:pPr marL="0" marR="0" lvl="0" indent="0" algn="ctr" defTabSz="945990" rtl="0" eaLnBrk="1" fontAlgn="auto" latinLnBrk="0" hangingPunct="1">
              <a:lnSpc>
                <a:spcPct val="100000"/>
              </a:lnSpc>
              <a:spcBef>
                <a:spcPts val="0"/>
              </a:spcBef>
              <a:spcAft>
                <a:spcPts val="0"/>
              </a:spcAft>
              <a:buClrTx/>
              <a:buSzTx/>
              <a:buFontTx/>
              <a:buNone/>
              <a:tabLst/>
              <a:defRPr/>
            </a:pPr>
            <a:r>
              <a:rPr kumimoji="0" lang="en-US" sz="47346" b="1" i="0" u="none" strike="noStrike" kern="1200" cap="none" spc="0" normalizeH="0" baseline="0" noProof="0" dirty="0">
                <a:ln w="22225">
                  <a:solidFill>
                    <a:srgbClr val="FFE600"/>
                  </a:solidFill>
                  <a:prstDash val="solid"/>
                </a:ln>
                <a:solidFill>
                  <a:srgbClr val="FFE600"/>
                </a:solidFill>
                <a:effectLst/>
                <a:uLnTx/>
                <a:uFillTx/>
                <a:latin typeface="EYInterstate" panose="02000503020000020004" pitchFamily="2" charset="0"/>
                <a:ea typeface="+mn-ea"/>
                <a:cs typeface="Calibri" panose="020F0502020204030204" pitchFamily="34" charset="0"/>
              </a:rPr>
              <a:t>5</a:t>
            </a:r>
          </a:p>
        </p:txBody>
      </p:sp>
    </p:spTree>
    <p:extLst>
      <p:ext uri="{BB962C8B-B14F-4D97-AF65-F5344CB8AC3E}">
        <p14:creationId xmlns:p14="http://schemas.microsoft.com/office/powerpoint/2010/main" val="19006941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EFCA379B-9434-44DC-A30C-C53D9C2C89DF}"/>
              </a:ext>
            </a:extLst>
          </p:cNvPr>
          <p:cNvSpPr/>
          <p:nvPr/>
        </p:nvSpPr>
        <p:spPr>
          <a:xfrm>
            <a:off x="6211576" y="4246806"/>
            <a:ext cx="4995539" cy="462244"/>
          </a:xfrm>
          <a:prstGeom prst="rect">
            <a:avLst/>
          </a:prstGeom>
        </p:spPr>
        <p:txBody>
          <a:bodyPr wrap="square" anchor="ctr">
            <a:noAutofit/>
          </a:bodyPr>
          <a:lstStyle/>
          <a:p>
            <a:pPr defTabSz="829269" eaLnBrk="1" hangingPunct="1">
              <a:lnSpc>
                <a:spcPct val="85000"/>
              </a:lnSpc>
              <a:spcAft>
                <a:spcPts val="544"/>
              </a:spcAft>
              <a:buClr>
                <a:srgbClr val="FFE600"/>
              </a:buClr>
              <a:buSzPct val="70000"/>
              <a:defRPr/>
            </a:pPr>
            <a:r>
              <a:rPr lang="en-US" sz="1179" dirty="0">
                <a:solidFill>
                  <a:srgbClr val="646464"/>
                </a:solidFill>
                <a:latin typeface="EYInterstate Light" pitchFamily="2" charset="0"/>
                <a:ea typeface="+mn-ea"/>
                <a:cs typeface="+mn-cs"/>
              </a:rPr>
              <a:t>These pillars of framework include the Architecture, Implementation and Roadmap </a:t>
            </a:r>
          </a:p>
        </p:txBody>
      </p:sp>
      <p:sp>
        <p:nvSpPr>
          <p:cNvPr id="141" name="Rectangle 140">
            <a:extLst>
              <a:ext uri="{FF2B5EF4-FFF2-40B4-BE49-F238E27FC236}">
                <a16:creationId xmlns:a16="http://schemas.microsoft.com/office/drawing/2014/main" id="{28FF34D6-281D-4632-A05E-DA4D8A30E90B}"/>
              </a:ext>
            </a:extLst>
          </p:cNvPr>
          <p:cNvSpPr/>
          <p:nvPr/>
        </p:nvSpPr>
        <p:spPr>
          <a:xfrm>
            <a:off x="5528325" y="2889511"/>
            <a:ext cx="6157994" cy="393145"/>
          </a:xfrm>
          <a:prstGeom prst="rect">
            <a:avLst/>
          </a:prstGeom>
        </p:spPr>
        <p:txBody>
          <a:bodyPr wrap="square">
            <a:noAutofit/>
          </a:bodyPr>
          <a:lstStyle/>
          <a:p>
            <a:pPr defTabSz="829269" eaLnBrk="1" hangingPunct="1">
              <a:spcAft>
                <a:spcPts val="544"/>
              </a:spcAft>
              <a:buClr>
                <a:srgbClr val="FFE600"/>
              </a:buClr>
              <a:buSzPct val="70000"/>
              <a:defRPr/>
            </a:pPr>
            <a:endParaRPr lang="en-GB" sz="1179" dirty="0">
              <a:solidFill>
                <a:srgbClr val="646464"/>
              </a:solidFill>
              <a:latin typeface="EYInterstate Light" pitchFamily="2" charset="0"/>
              <a:ea typeface="+mn-ea"/>
              <a:cs typeface="+mn-cs"/>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605" y="521485"/>
            <a:ext cx="11336571" cy="672590"/>
          </a:xfrm>
        </p:spPr>
        <p:txBody>
          <a:bodyPr vert="horz" lIns="0" tIns="0" rIns="0" bIns="0" rtlCol="0" anchor="t" anchorCtr="0">
            <a:noAutofit/>
          </a:bodyPr>
          <a:lstStyle/>
          <a:p>
            <a:r>
              <a:rPr lang="en-US" dirty="0"/>
              <a:t>Agile implementation timeline with iterative sprints to progressively prioritize use-cases and keep enhancing the Data Platform Architecture </a:t>
            </a:r>
          </a:p>
        </p:txBody>
      </p:sp>
      <p:sp>
        <p:nvSpPr>
          <p:cNvPr id="30" name="TextBox 29">
            <a:extLst>
              <a:ext uri="{FF2B5EF4-FFF2-40B4-BE49-F238E27FC236}">
                <a16:creationId xmlns:a16="http://schemas.microsoft.com/office/drawing/2014/main" id="{02C5C868-CB8B-47FF-BAAF-B72CBA00B498}"/>
              </a:ext>
            </a:extLst>
          </p:cNvPr>
          <p:cNvSpPr txBox="1"/>
          <p:nvPr/>
        </p:nvSpPr>
        <p:spPr>
          <a:xfrm>
            <a:off x="3911575" y="1981009"/>
            <a:ext cx="4766536" cy="279762"/>
          </a:xfrm>
          <a:prstGeom prst="rect">
            <a:avLst/>
          </a:prstGeom>
          <a:solidFill>
            <a:schemeClr val="bg1">
              <a:lumMod val="20000"/>
              <a:lumOff val="80000"/>
            </a:schemeClr>
          </a:solidFill>
        </p:spPr>
        <p:txBody>
          <a:bodyPr wrap="square" lIns="0" tIns="33172" rIns="0" bIns="0" rtlCol="0" anchor="t" anchorCtr="0">
            <a:noAutofit/>
          </a:bodyPr>
          <a:lstStyle/>
          <a:p>
            <a:pPr algn="ctr" defTabSz="829269" eaLnBrk="1" fontAlgn="auto" hangingPunct="1">
              <a:lnSpc>
                <a:spcPct val="85000"/>
              </a:lnSpc>
              <a:spcBef>
                <a:spcPts val="0"/>
              </a:spcBef>
              <a:spcAft>
                <a:spcPts val="544"/>
              </a:spcAft>
              <a:buClr>
                <a:srgbClr val="00A3AE"/>
              </a:buClr>
              <a:buSzPct val="80000"/>
              <a:defRPr/>
            </a:pPr>
            <a:r>
              <a:rPr lang="it-IT" sz="1451" b="1">
                <a:solidFill>
                  <a:sysClr val="windowText" lastClr="000000"/>
                </a:solidFill>
                <a:latin typeface="EYInterstate"/>
                <a:ea typeface="+mn-ea"/>
                <a:cs typeface="+mn-cs"/>
              </a:rPr>
              <a:t>Our use cases enablement illustration</a:t>
            </a:r>
            <a:endParaRPr lang="it-IT" sz="1451">
              <a:solidFill>
                <a:sysClr val="windowText" lastClr="000000"/>
              </a:solidFill>
              <a:latin typeface="EYInterstate"/>
              <a:ea typeface="+mn-ea"/>
              <a:cs typeface="+mn-cs"/>
            </a:endParaRPr>
          </a:p>
        </p:txBody>
      </p:sp>
      <p:cxnSp>
        <p:nvCxnSpPr>
          <p:cNvPr id="7" name="Straight Connector 6">
            <a:extLst>
              <a:ext uri="{FF2B5EF4-FFF2-40B4-BE49-F238E27FC236}">
                <a16:creationId xmlns:a16="http://schemas.microsoft.com/office/drawing/2014/main" id="{A2EB4CAA-2D93-45EE-90E5-641B0235EF18}"/>
              </a:ext>
            </a:extLst>
          </p:cNvPr>
          <p:cNvCxnSpPr/>
          <p:nvPr/>
        </p:nvCxnSpPr>
        <p:spPr>
          <a:xfrm>
            <a:off x="2479945" y="1975913"/>
            <a:ext cx="7629797" cy="0"/>
          </a:xfrm>
          <a:prstGeom prst="line">
            <a:avLst/>
          </a:prstGeom>
          <a:ln w="9525">
            <a:solidFill>
              <a:schemeClr val="accent1">
                <a:lumMod val="60000"/>
                <a:lumOff val="40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8321B3DF-23E6-450A-9400-499C17A23585}"/>
              </a:ext>
            </a:extLst>
          </p:cNvPr>
          <p:cNvSpPr/>
          <p:nvPr/>
        </p:nvSpPr>
        <p:spPr>
          <a:xfrm>
            <a:off x="5528325" y="2914745"/>
            <a:ext cx="6157994" cy="393145"/>
          </a:xfrm>
          <a:prstGeom prst="rect">
            <a:avLst/>
          </a:prstGeom>
        </p:spPr>
        <p:txBody>
          <a:bodyPr wrap="square">
            <a:noAutofit/>
          </a:bodyPr>
          <a:lstStyle/>
          <a:p>
            <a:pPr defTabSz="829269" eaLnBrk="1" hangingPunct="1">
              <a:spcAft>
                <a:spcPts val="544"/>
              </a:spcAft>
              <a:buClr>
                <a:srgbClr val="FFE600"/>
              </a:buClr>
              <a:buSzPct val="70000"/>
              <a:defRPr/>
            </a:pPr>
            <a:r>
              <a:rPr lang="en-US" sz="1179" b="1" dirty="0">
                <a:solidFill>
                  <a:srgbClr val="00A3AE"/>
                </a:solidFill>
                <a:latin typeface="EYInterstate Light" pitchFamily="2" charset="0"/>
                <a:ea typeface="+mn-ea"/>
                <a:cs typeface="+mn-cs"/>
              </a:rPr>
              <a:t>Sprints 1-3 </a:t>
            </a:r>
            <a:r>
              <a:rPr lang="en-US" sz="1179" dirty="0">
                <a:solidFill>
                  <a:srgbClr val="646464"/>
                </a:solidFill>
                <a:latin typeface="EYInterstate Light" pitchFamily="2" charset="0"/>
                <a:ea typeface="+mn-ea"/>
                <a:cs typeface="+mn-cs"/>
              </a:rPr>
              <a:t>focuses on assessing the current-state technical capabilities of the data platform, and identifying their gaps within the first 3 weeks.</a:t>
            </a:r>
            <a:endParaRPr lang="en-GB" sz="1179" dirty="0">
              <a:solidFill>
                <a:srgbClr val="646464"/>
              </a:solidFill>
              <a:latin typeface="EYInterstate Light" pitchFamily="2" charset="0"/>
              <a:ea typeface="+mn-ea"/>
              <a:cs typeface="+mn-cs"/>
            </a:endParaRPr>
          </a:p>
        </p:txBody>
      </p:sp>
      <p:cxnSp>
        <p:nvCxnSpPr>
          <p:cNvPr id="117" name="Straight Connector 116">
            <a:extLst>
              <a:ext uri="{FF2B5EF4-FFF2-40B4-BE49-F238E27FC236}">
                <a16:creationId xmlns:a16="http://schemas.microsoft.com/office/drawing/2014/main" id="{B7DA6982-4C7F-4E36-9034-633C45918137}"/>
              </a:ext>
            </a:extLst>
          </p:cNvPr>
          <p:cNvCxnSpPr>
            <a:cxnSpLocks/>
          </p:cNvCxnSpPr>
          <p:nvPr/>
        </p:nvCxnSpPr>
        <p:spPr>
          <a:xfrm>
            <a:off x="1666766" y="3809377"/>
            <a:ext cx="9785851" cy="0"/>
          </a:xfrm>
          <a:prstGeom prst="line">
            <a:avLst/>
          </a:prstGeom>
          <a:ln w="9525">
            <a:solidFill>
              <a:schemeClr val="bg1">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69B9895-DCBF-479E-9D7D-815A56B29593}"/>
              </a:ext>
            </a:extLst>
          </p:cNvPr>
          <p:cNvCxnSpPr>
            <a:cxnSpLocks/>
          </p:cNvCxnSpPr>
          <p:nvPr/>
        </p:nvCxnSpPr>
        <p:spPr>
          <a:xfrm>
            <a:off x="2636946" y="4652634"/>
            <a:ext cx="8832145" cy="0"/>
          </a:xfrm>
          <a:prstGeom prst="line">
            <a:avLst/>
          </a:prstGeom>
          <a:ln w="9525">
            <a:solidFill>
              <a:schemeClr val="bg1">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990E173F-7219-4B66-8119-59B39C77FE6F}"/>
              </a:ext>
            </a:extLst>
          </p:cNvPr>
          <p:cNvSpPr/>
          <p:nvPr/>
        </p:nvSpPr>
        <p:spPr>
          <a:xfrm>
            <a:off x="6180341" y="3865440"/>
            <a:ext cx="4995539" cy="402162"/>
          </a:xfrm>
          <a:prstGeom prst="rect">
            <a:avLst/>
          </a:prstGeom>
        </p:spPr>
        <p:txBody>
          <a:bodyPr wrap="square">
            <a:noAutofit/>
          </a:bodyPr>
          <a:lstStyle/>
          <a:p>
            <a:pPr defTabSz="829269" eaLnBrk="1" hangingPunct="1">
              <a:lnSpc>
                <a:spcPct val="85000"/>
              </a:lnSpc>
              <a:spcAft>
                <a:spcPts val="544"/>
              </a:spcAft>
              <a:buClr>
                <a:srgbClr val="FFE600"/>
              </a:buClr>
              <a:buSzPct val="70000"/>
              <a:defRPr/>
            </a:pPr>
            <a:r>
              <a:rPr lang="en-US" sz="1179" dirty="0">
                <a:solidFill>
                  <a:srgbClr val="00A3AE"/>
                </a:solidFill>
                <a:latin typeface="EYInterstate Light" pitchFamily="2" charset="0"/>
                <a:ea typeface="+mn-ea"/>
                <a:cs typeface="+mn-cs"/>
              </a:rPr>
              <a:t>Sprint 9 – 12 </a:t>
            </a:r>
            <a:r>
              <a:rPr lang="en-US" sz="1179" dirty="0">
                <a:solidFill>
                  <a:srgbClr val="646464"/>
                </a:solidFill>
                <a:latin typeface="EYInterstate Light" pitchFamily="2" charset="0"/>
                <a:ea typeface="+mn-ea"/>
                <a:cs typeface="+mn-cs"/>
              </a:rPr>
              <a:t>is centered around the design and build of the TOM. Each of the four sprints will focus on a separate pillar of framework</a:t>
            </a:r>
          </a:p>
        </p:txBody>
      </p:sp>
      <p:sp>
        <p:nvSpPr>
          <p:cNvPr id="140" name="Rectangle 139">
            <a:extLst>
              <a:ext uri="{FF2B5EF4-FFF2-40B4-BE49-F238E27FC236}">
                <a16:creationId xmlns:a16="http://schemas.microsoft.com/office/drawing/2014/main" id="{A887B2BE-5D14-43B9-9345-2EC04E469E55}"/>
              </a:ext>
            </a:extLst>
          </p:cNvPr>
          <p:cNvSpPr/>
          <p:nvPr/>
        </p:nvSpPr>
        <p:spPr>
          <a:xfrm>
            <a:off x="6766479" y="4814249"/>
            <a:ext cx="5014579" cy="393112"/>
          </a:xfrm>
          <a:prstGeom prst="rect">
            <a:avLst/>
          </a:prstGeom>
        </p:spPr>
        <p:txBody>
          <a:bodyPr wrap="square">
            <a:noAutofit/>
          </a:bodyPr>
          <a:lstStyle/>
          <a:p>
            <a:pPr defTabSz="829269" eaLnBrk="1" hangingPunct="1">
              <a:spcAft>
                <a:spcPts val="544"/>
              </a:spcAft>
              <a:buClr>
                <a:srgbClr val="FFE600"/>
              </a:buClr>
              <a:buSzPct val="70000"/>
              <a:defRPr/>
            </a:pPr>
            <a:r>
              <a:rPr lang="en-US" sz="1179" b="1" dirty="0">
                <a:solidFill>
                  <a:srgbClr val="00A3AE"/>
                </a:solidFill>
                <a:latin typeface="EYInterstate Light" pitchFamily="2" charset="0"/>
                <a:ea typeface="+mn-ea"/>
                <a:cs typeface="+mn-cs"/>
              </a:rPr>
              <a:t>Sprint 13 – 22 </a:t>
            </a:r>
            <a:r>
              <a:rPr lang="en-US" sz="1179" dirty="0">
                <a:latin typeface="EYInterstate Light" pitchFamily="2" charset="0"/>
                <a:ea typeface="+mn-ea"/>
                <a:cs typeface="+mn-cs"/>
              </a:rPr>
              <a:t>concerns the Value-add phase, and notably </a:t>
            </a:r>
            <a:r>
              <a:rPr lang="en-US" sz="1179" dirty="0" err="1">
                <a:latin typeface="EYInterstate Light" pitchFamily="2" charset="0"/>
                <a:ea typeface="+mn-ea"/>
                <a:cs typeface="+mn-cs"/>
              </a:rPr>
              <a:t>centres</a:t>
            </a:r>
            <a:r>
              <a:rPr lang="en-US" sz="1179" dirty="0">
                <a:latin typeface="EYInterstate Light" pitchFamily="2" charset="0"/>
                <a:ea typeface="+mn-ea"/>
                <a:cs typeface="+mn-cs"/>
              </a:rPr>
              <a:t> around the Implementation of the Health Claim Assessment</a:t>
            </a:r>
          </a:p>
          <a:p>
            <a:pPr defTabSz="829269" eaLnBrk="1" hangingPunct="1">
              <a:spcAft>
                <a:spcPts val="544"/>
              </a:spcAft>
              <a:buClr>
                <a:srgbClr val="FFE600"/>
              </a:buClr>
              <a:buSzPct val="70000"/>
              <a:defRPr/>
            </a:pPr>
            <a:endParaRPr lang="en-GB" sz="1179" dirty="0">
              <a:solidFill>
                <a:srgbClr val="646464"/>
              </a:solidFill>
              <a:latin typeface="EYInterstate Light" pitchFamily="2" charset="0"/>
              <a:ea typeface="+mn-ea"/>
              <a:cs typeface="+mn-cs"/>
            </a:endParaRPr>
          </a:p>
        </p:txBody>
      </p:sp>
      <p:sp>
        <p:nvSpPr>
          <p:cNvPr id="49" name="Left Brace 48">
            <a:extLst>
              <a:ext uri="{FF2B5EF4-FFF2-40B4-BE49-F238E27FC236}">
                <a16:creationId xmlns:a16="http://schemas.microsoft.com/office/drawing/2014/main" id="{23831945-796A-463C-8EE8-9293A3FC0FDF}"/>
              </a:ext>
            </a:extLst>
          </p:cNvPr>
          <p:cNvSpPr/>
          <p:nvPr/>
        </p:nvSpPr>
        <p:spPr>
          <a:xfrm>
            <a:off x="1567324" y="2527278"/>
            <a:ext cx="101856" cy="1168080"/>
          </a:xfrm>
          <a:prstGeom prst="leftBrace">
            <a:avLst>
              <a:gd name="adj1" fmla="val 0"/>
              <a:gd name="adj2" fmla="val 50000"/>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29269" eaLnBrk="1" hangingPunct="1">
              <a:spcAft>
                <a:spcPct val="50000"/>
              </a:spcAft>
              <a:buClr>
                <a:srgbClr val="FFE600"/>
              </a:buClr>
              <a:buSzPct val="80000"/>
              <a:defRPr/>
            </a:pPr>
            <a:endParaRPr lang="en-US" sz="816">
              <a:solidFill>
                <a:srgbClr val="000000"/>
              </a:solidFill>
              <a:latin typeface="EYInterstate"/>
            </a:endParaRPr>
          </a:p>
        </p:txBody>
      </p:sp>
      <p:sp>
        <p:nvSpPr>
          <p:cNvPr id="142" name="Left Brace 141">
            <a:extLst>
              <a:ext uri="{FF2B5EF4-FFF2-40B4-BE49-F238E27FC236}">
                <a16:creationId xmlns:a16="http://schemas.microsoft.com/office/drawing/2014/main" id="{B4C3FE7C-42DE-4AED-A151-B8E24241AC6E}"/>
              </a:ext>
            </a:extLst>
          </p:cNvPr>
          <p:cNvSpPr/>
          <p:nvPr/>
        </p:nvSpPr>
        <p:spPr>
          <a:xfrm>
            <a:off x="2527663" y="3873700"/>
            <a:ext cx="99159" cy="853519"/>
          </a:xfrm>
          <a:prstGeom prst="leftBrace">
            <a:avLst>
              <a:gd name="adj1" fmla="val 0"/>
              <a:gd name="adj2" fmla="val 50000"/>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29269" eaLnBrk="1" hangingPunct="1">
              <a:spcAft>
                <a:spcPct val="50000"/>
              </a:spcAft>
              <a:buClr>
                <a:srgbClr val="FFE600"/>
              </a:buClr>
              <a:buSzPct val="80000"/>
              <a:defRPr/>
            </a:pPr>
            <a:endParaRPr lang="en-US" sz="816">
              <a:solidFill>
                <a:srgbClr val="000000"/>
              </a:solidFill>
              <a:latin typeface="EYInterstate"/>
            </a:endParaRPr>
          </a:p>
        </p:txBody>
      </p:sp>
      <p:sp>
        <p:nvSpPr>
          <p:cNvPr id="144" name="Left Brace 143">
            <a:extLst>
              <a:ext uri="{FF2B5EF4-FFF2-40B4-BE49-F238E27FC236}">
                <a16:creationId xmlns:a16="http://schemas.microsoft.com/office/drawing/2014/main" id="{2A97DA90-AC38-4C33-9B86-A3609AA76730}"/>
              </a:ext>
            </a:extLst>
          </p:cNvPr>
          <p:cNvSpPr/>
          <p:nvPr/>
        </p:nvSpPr>
        <p:spPr>
          <a:xfrm>
            <a:off x="3238439" y="4639156"/>
            <a:ext cx="99159" cy="853519"/>
          </a:xfrm>
          <a:prstGeom prst="leftBrace">
            <a:avLst>
              <a:gd name="adj1" fmla="val 0"/>
              <a:gd name="adj2" fmla="val 50000"/>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29269" eaLnBrk="1" hangingPunct="1">
              <a:spcAft>
                <a:spcPct val="50000"/>
              </a:spcAft>
              <a:buClr>
                <a:srgbClr val="FFE600"/>
              </a:buClr>
              <a:buSzPct val="80000"/>
              <a:defRPr/>
            </a:pPr>
            <a:endParaRPr lang="en-US" sz="816">
              <a:solidFill>
                <a:srgbClr val="000000"/>
              </a:solidFill>
              <a:latin typeface="EYInterstate"/>
            </a:endParaRPr>
          </a:p>
        </p:txBody>
      </p:sp>
      <p:sp>
        <p:nvSpPr>
          <p:cNvPr id="102" name="Rectangle 101">
            <a:extLst>
              <a:ext uri="{FF2B5EF4-FFF2-40B4-BE49-F238E27FC236}">
                <a16:creationId xmlns:a16="http://schemas.microsoft.com/office/drawing/2014/main" id="{83935AB9-2467-4803-B4C2-0808D5A20712}"/>
              </a:ext>
            </a:extLst>
          </p:cNvPr>
          <p:cNvSpPr/>
          <p:nvPr/>
        </p:nvSpPr>
        <p:spPr>
          <a:xfrm>
            <a:off x="1666766" y="2824950"/>
            <a:ext cx="1160018" cy="573403"/>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defTabSz="829269" eaLnBrk="1" hangingPunct="1">
              <a:spcAft>
                <a:spcPct val="50000"/>
              </a:spcAft>
              <a:buClr>
                <a:srgbClr val="FFE600"/>
              </a:buClr>
              <a:buSzPct val="80000"/>
              <a:defRPr/>
            </a:pPr>
            <a:r>
              <a:rPr lang="en-US" sz="1632">
                <a:solidFill>
                  <a:srgbClr val="000000"/>
                </a:solidFill>
                <a:latin typeface="EYInterstate"/>
              </a:rPr>
              <a:t>8 Sprints</a:t>
            </a:r>
            <a:endParaRPr lang="en-US" sz="1088">
              <a:solidFill>
                <a:srgbClr val="000000"/>
              </a:solidFill>
              <a:latin typeface="EYInterstate"/>
            </a:endParaRPr>
          </a:p>
        </p:txBody>
      </p:sp>
      <p:grpSp>
        <p:nvGrpSpPr>
          <p:cNvPr id="104" name="Group 103">
            <a:extLst>
              <a:ext uri="{FF2B5EF4-FFF2-40B4-BE49-F238E27FC236}">
                <a16:creationId xmlns:a16="http://schemas.microsoft.com/office/drawing/2014/main" id="{DB7DEE0E-071D-4F77-A08A-4336EC5B52A2}"/>
              </a:ext>
            </a:extLst>
          </p:cNvPr>
          <p:cNvGrpSpPr/>
          <p:nvPr/>
        </p:nvGrpSpPr>
        <p:grpSpPr>
          <a:xfrm>
            <a:off x="3935066" y="4070925"/>
            <a:ext cx="1765537" cy="380177"/>
            <a:chOff x="2395405" y="4841003"/>
            <a:chExt cx="2311082" cy="542034"/>
          </a:xfrm>
        </p:grpSpPr>
        <p:sp>
          <p:nvSpPr>
            <p:cNvPr id="125" name="Rectangle 124">
              <a:extLst>
                <a:ext uri="{FF2B5EF4-FFF2-40B4-BE49-F238E27FC236}">
                  <a16:creationId xmlns:a16="http://schemas.microsoft.com/office/drawing/2014/main" id="{91DC8C9F-17A7-4DB9-A2D8-F33F89002166}"/>
                </a:ext>
              </a:extLst>
            </p:cNvPr>
            <p:cNvSpPr/>
            <p:nvPr/>
          </p:nvSpPr>
          <p:spPr>
            <a:xfrm>
              <a:off x="2395405" y="4841003"/>
              <a:ext cx="2262783" cy="527113"/>
            </a:xfrm>
            <a:prstGeom prst="rect">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9269" eaLnBrk="1" hangingPunct="1">
                <a:spcAft>
                  <a:spcPct val="50000"/>
                </a:spcAft>
                <a:buClr>
                  <a:srgbClr val="FFE600"/>
                </a:buClr>
                <a:buSzPct val="80000"/>
                <a:defRPr/>
              </a:pPr>
              <a:endParaRPr lang="en-US" sz="1088">
                <a:solidFill>
                  <a:srgbClr val="000000"/>
                </a:solidFill>
                <a:latin typeface="EYInterstate"/>
              </a:endParaRPr>
            </a:p>
          </p:txBody>
        </p:sp>
        <p:pic>
          <p:nvPicPr>
            <p:cNvPr id="126" name="Picture 125">
              <a:extLst>
                <a:ext uri="{FF2B5EF4-FFF2-40B4-BE49-F238E27FC236}">
                  <a16:creationId xmlns:a16="http://schemas.microsoft.com/office/drawing/2014/main" id="{C64B9D1B-3700-402B-8F1C-46AB7B179761}"/>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2407020" y="4866666"/>
              <a:ext cx="677847" cy="516371"/>
            </a:xfrm>
            <a:prstGeom prst="rect">
              <a:avLst/>
            </a:prstGeom>
          </p:spPr>
        </p:pic>
        <p:pic>
          <p:nvPicPr>
            <p:cNvPr id="127" name="Picture 126">
              <a:extLst>
                <a:ext uri="{FF2B5EF4-FFF2-40B4-BE49-F238E27FC236}">
                  <a16:creationId xmlns:a16="http://schemas.microsoft.com/office/drawing/2014/main" id="{39EF9BD2-8C29-4F04-9603-AACAC59410A8}"/>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2963977" y="4866661"/>
              <a:ext cx="677847" cy="516371"/>
            </a:xfrm>
            <a:prstGeom prst="rect">
              <a:avLst/>
            </a:prstGeom>
          </p:spPr>
        </p:pic>
        <p:pic>
          <p:nvPicPr>
            <p:cNvPr id="129" name="Picture 128">
              <a:extLst>
                <a:ext uri="{FF2B5EF4-FFF2-40B4-BE49-F238E27FC236}">
                  <a16:creationId xmlns:a16="http://schemas.microsoft.com/office/drawing/2014/main" id="{67EEEC6C-5A62-456F-B16D-153EF88C53E4}"/>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3497991" y="4852852"/>
              <a:ext cx="677847" cy="516371"/>
            </a:xfrm>
            <a:prstGeom prst="rect">
              <a:avLst/>
            </a:prstGeom>
          </p:spPr>
        </p:pic>
        <p:pic>
          <p:nvPicPr>
            <p:cNvPr id="134" name="Picture 133">
              <a:extLst>
                <a:ext uri="{FF2B5EF4-FFF2-40B4-BE49-F238E27FC236}">
                  <a16:creationId xmlns:a16="http://schemas.microsoft.com/office/drawing/2014/main" id="{84ECF693-4603-458C-9E85-0D39FFDC8E82}"/>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028640" y="4851746"/>
              <a:ext cx="677847" cy="516371"/>
            </a:xfrm>
            <a:prstGeom prst="rect">
              <a:avLst/>
            </a:prstGeom>
          </p:spPr>
        </p:pic>
      </p:grpSp>
      <p:sp>
        <p:nvSpPr>
          <p:cNvPr id="147" name="Rectangle 146">
            <a:extLst>
              <a:ext uri="{FF2B5EF4-FFF2-40B4-BE49-F238E27FC236}">
                <a16:creationId xmlns:a16="http://schemas.microsoft.com/office/drawing/2014/main" id="{BB797282-6D1A-465A-8F9C-6910F5850A25}"/>
              </a:ext>
            </a:extLst>
          </p:cNvPr>
          <p:cNvSpPr/>
          <p:nvPr/>
        </p:nvSpPr>
        <p:spPr>
          <a:xfrm>
            <a:off x="5528325" y="3372883"/>
            <a:ext cx="6157994" cy="393145"/>
          </a:xfrm>
          <a:prstGeom prst="rect">
            <a:avLst/>
          </a:prstGeom>
        </p:spPr>
        <p:txBody>
          <a:bodyPr wrap="square">
            <a:noAutofit/>
          </a:bodyPr>
          <a:lstStyle/>
          <a:p>
            <a:pPr defTabSz="829269" eaLnBrk="1" hangingPunct="1">
              <a:spcAft>
                <a:spcPts val="544"/>
              </a:spcAft>
              <a:buClr>
                <a:srgbClr val="FFE600"/>
              </a:buClr>
              <a:buSzPct val="70000"/>
              <a:defRPr/>
            </a:pPr>
            <a:r>
              <a:rPr lang="en-US" sz="1100" b="1">
                <a:solidFill>
                  <a:srgbClr val="00A3AE"/>
                </a:solidFill>
                <a:latin typeface="EYInterstate Light" pitchFamily="2" charset="0"/>
              </a:rPr>
              <a:t>Sprints 4-8 </a:t>
            </a:r>
            <a:r>
              <a:rPr lang="en-US" sz="1100">
                <a:solidFill>
                  <a:srgbClr val="646464"/>
                </a:solidFill>
                <a:latin typeface="EYInterstate Light" pitchFamily="2" charset="0"/>
              </a:rPr>
              <a:t>proceeds to conduct multiple workshops in order to validate use cases and in order to prioritize the various products on offer.</a:t>
            </a:r>
            <a:endParaRPr lang="en-GB" sz="1100">
              <a:solidFill>
                <a:srgbClr val="646464"/>
              </a:solidFill>
              <a:latin typeface="EYInterstate Light" pitchFamily="2" charset="0"/>
            </a:endParaRPr>
          </a:p>
        </p:txBody>
      </p:sp>
      <p:sp>
        <p:nvSpPr>
          <p:cNvPr id="158" name="Rectangle 157">
            <a:extLst>
              <a:ext uri="{FF2B5EF4-FFF2-40B4-BE49-F238E27FC236}">
                <a16:creationId xmlns:a16="http://schemas.microsoft.com/office/drawing/2014/main" id="{1C5F2A4A-6787-4E28-BDF2-80B77B6186C0}"/>
              </a:ext>
            </a:extLst>
          </p:cNvPr>
          <p:cNvSpPr/>
          <p:nvPr/>
        </p:nvSpPr>
        <p:spPr>
          <a:xfrm>
            <a:off x="2626821" y="4005590"/>
            <a:ext cx="1160018" cy="573403"/>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defTabSz="829269" eaLnBrk="1" hangingPunct="1">
              <a:spcAft>
                <a:spcPct val="50000"/>
              </a:spcAft>
              <a:buClr>
                <a:srgbClr val="FFE600"/>
              </a:buClr>
              <a:buSzPct val="80000"/>
              <a:defRPr/>
            </a:pPr>
            <a:r>
              <a:rPr lang="en-US" sz="1632">
                <a:solidFill>
                  <a:srgbClr val="000000"/>
                </a:solidFill>
                <a:latin typeface="EYInterstate"/>
              </a:rPr>
              <a:t>4 Sprints</a:t>
            </a:r>
            <a:endParaRPr lang="en-US" sz="1088">
              <a:solidFill>
                <a:srgbClr val="000000"/>
              </a:solidFill>
              <a:latin typeface="EYInterstate"/>
            </a:endParaRPr>
          </a:p>
        </p:txBody>
      </p:sp>
      <p:grpSp>
        <p:nvGrpSpPr>
          <p:cNvPr id="2" name="Group 1">
            <a:extLst>
              <a:ext uri="{FF2B5EF4-FFF2-40B4-BE49-F238E27FC236}">
                <a16:creationId xmlns:a16="http://schemas.microsoft.com/office/drawing/2014/main" id="{453A6072-1472-4A40-A878-219757D3093C}"/>
              </a:ext>
            </a:extLst>
          </p:cNvPr>
          <p:cNvGrpSpPr/>
          <p:nvPr/>
        </p:nvGrpSpPr>
        <p:grpSpPr>
          <a:xfrm>
            <a:off x="3127111" y="2691711"/>
            <a:ext cx="2252688" cy="730661"/>
            <a:chOff x="4083835" y="5689891"/>
            <a:chExt cx="2483823" cy="805628"/>
          </a:xfrm>
        </p:grpSpPr>
        <p:sp>
          <p:nvSpPr>
            <p:cNvPr id="151" name="Rectangle 150">
              <a:extLst>
                <a:ext uri="{FF2B5EF4-FFF2-40B4-BE49-F238E27FC236}">
                  <a16:creationId xmlns:a16="http://schemas.microsoft.com/office/drawing/2014/main" id="{2CC54209-8249-4258-A9BF-01B019B0E4AB}"/>
                </a:ext>
              </a:extLst>
            </p:cNvPr>
            <p:cNvSpPr/>
            <p:nvPr/>
          </p:nvSpPr>
          <p:spPr>
            <a:xfrm>
              <a:off x="4134975" y="5689891"/>
              <a:ext cx="2432683" cy="805628"/>
            </a:xfrm>
            <a:prstGeom prst="rect">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9269" eaLnBrk="1" hangingPunct="1">
                <a:spcAft>
                  <a:spcPct val="50000"/>
                </a:spcAft>
                <a:buClr>
                  <a:srgbClr val="FFE600"/>
                </a:buClr>
                <a:buSzPct val="80000"/>
                <a:defRPr/>
              </a:pPr>
              <a:endParaRPr lang="en-US" sz="1088">
                <a:solidFill>
                  <a:srgbClr val="000000"/>
                </a:solidFill>
                <a:latin typeface="EYInterstate"/>
              </a:endParaRPr>
            </a:p>
          </p:txBody>
        </p:sp>
        <p:pic>
          <p:nvPicPr>
            <p:cNvPr id="152" name="Picture 151">
              <a:extLst>
                <a:ext uri="{FF2B5EF4-FFF2-40B4-BE49-F238E27FC236}">
                  <a16:creationId xmlns:a16="http://schemas.microsoft.com/office/drawing/2014/main" id="{328F96E4-01BE-4F8A-8EC6-25FAD6B38B30}"/>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987178" y="5702961"/>
              <a:ext cx="570970" cy="399338"/>
            </a:xfrm>
            <a:prstGeom prst="rect">
              <a:avLst/>
            </a:prstGeom>
          </p:spPr>
        </p:pic>
        <p:pic>
          <p:nvPicPr>
            <p:cNvPr id="153" name="Picture 152">
              <a:extLst>
                <a:ext uri="{FF2B5EF4-FFF2-40B4-BE49-F238E27FC236}">
                  <a16:creationId xmlns:a16="http://schemas.microsoft.com/office/drawing/2014/main" id="{D8811E43-6CB2-4F33-A131-B47722DBB574}"/>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083835" y="5702866"/>
              <a:ext cx="570970" cy="399338"/>
            </a:xfrm>
            <a:prstGeom prst="rect">
              <a:avLst/>
            </a:prstGeom>
          </p:spPr>
        </p:pic>
        <p:pic>
          <p:nvPicPr>
            <p:cNvPr id="154" name="Picture 153">
              <a:extLst>
                <a:ext uri="{FF2B5EF4-FFF2-40B4-BE49-F238E27FC236}">
                  <a16:creationId xmlns:a16="http://schemas.microsoft.com/office/drawing/2014/main" id="{3D9FD869-106B-4015-97DD-95F9AD55D263}"/>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529822" y="6061599"/>
              <a:ext cx="570970" cy="399338"/>
            </a:xfrm>
            <a:prstGeom prst="rect">
              <a:avLst/>
            </a:prstGeom>
          </p:spPr>
        </p:pic>
        <p:pic>
          <p:nvPicPr>
            <p:cNvPr id="155" name="Picture 154">
              <a:extLst>
                <a:ext uri="{FF2B5EF4-FFF2-40B4-BE49-F238E27FC236}">
                  <a16:creationId xmlns:a16="http://schemas.microsoft.com/office/drawing/2014/main" id="{F0E05465-BB04-4EA9-A70F-2C2EB10E778C}"/>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542223" y="5702865"/>
              <a:ext cx="570970" cy="399338"/>
            </a:xfrm>
            <a:prstGeom prst="rect">
              <a:avLst/>
            </a:prstGeom>
          </p:spPr>
        </p:pic>
        <p:pic>
          <p:nvPicPr>
            <p:cNvPr id="156" name="Picture 155">
              <a:extLst>
                <a:ext uri="{FF2B5EF4-FFF2-40B4-BE49-F238E27FC236}">
                  <a16:creationId xmlns:a16="http://schemas.microsoft.com/office/drawing/2014/main" id="{296656F1-9895-451B-AF2F-787B7778AEB6}"/>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983697" y="6063496"/>
              <a:ext cx="570970" cy="399338"/>
            </a:xfrm>
            <a:prstGeom prst="rect">
              <a:avLst/>
            </a:prstGeom>
          </p:spPr>
        </p:pic>
        <p:pic>
          <p:nvPicPr>
            <p:cNvPr id="157" name="Picture 156">
              <a:extLst>
                <a:ext uri="{FF2B5EF4-FFF2-40B4-BE49-F238E27FC236}">
                  <a16:creationId xmlns:a16="http://schemas.microsoft.com/office/drawing/2014/main" id="{8CDB3DC6-38E9-4543-BC07-614AEC026E70}"/>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097400" y="6061600"/>
              <a:ext cx="570970" cy="399339"/>
            </a:xfrm>
            <a:prstGeom prst="rect">
              <a:avLst/>
            </a:prstGeom>
          </p:spPr>
        </p:pic>
        <p:pic>
          <p:nvPicPr>
            <p:cNvPr id="159" name="Picture 158">
              <a:extLst>
                <a:ext uri="{FF2B5EF4-FFF2-40B4-BE49-F238E27FC236}">
                  <a16:creationId xmlns:a16="http://schemas.microsoft.com/office/drawing/2014/main" id="{4C28EB1B-1065-4EB9-B32C-546E2D6D041D}"/>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5423078" y="6061610"/>
              <a:ext cx="570970" cy="399338"/>
            </a:xfrm>
            <a:prstGeom prst="rect">
              <a:avLst/>
            </a:prstGeom>
          </p:spPr>
        </p:pic>
      </p:grpSp>
      <p:sp>
        <p:nvSpPr>
          <p:cNvPr id="161" name="Rectangle 160">
            <a:extLst>
              <a:ext uri="{FF2B5EF4-FFF2-40B4-BE49-F238E27FC236}">
                <a16:creationId xmlns:a16="http://schemas.microsoft.com/office/drawing/2014/main" id="{1AF0BDB3-86EA-4D15-9E92-1C58073B54DC}"/>
              </a:ext>
            </a:extLst>
          </p:cNvPr>
          <p:cNvSpPr/>
          <p:nvPr/>
        </p:nvSpPr>
        <p:spPr>
          <a:xfrm>
            <a:off x="3355057" y="4860192"/>
            <a:ext cx="1160018" cy="573403"/>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defTabSz="829269" eaLnBrk="1" hangingPunct="1">
              <a:spcAft>
                <a:spcPct val="50000"/>
              </a:spcAft>
              <a:buClr>
                <a:srgbClr val="FFE600"/>
              </a:buClr>
              <a:buSzPct val="80000"/>
              <a:defRPr/>
            </a:pPr>
            <a:r>
              <a:rPr lang="en-US" sz="1632">
                <a:solidFill>
                  <a:srgbClr val="000000"/>
                </a:solidFill>
                <a:latin typeface="EYInterstate"/>
              </a:rPr>
              <a:t>10 Sprints</a:t>
            </a:r>
            <a:endParaRPr lang="en-US" sz="1088">
              <a:solidFill>
                <a:srgbClr val="000000"/>
              </a:solidFill>
              <a:latin typeface="EYInterstate"/>
            </a:endParaRPr>
          </a:p>
        </p:txBody>
      </p:sp>
      <p:grpSp>
        <p:nvGrpSpPr>
          <p:cNvPr id="8" name="Group 7">
            <a:extLst>
              <a:ext uri="{FF2B5EF4-FFF2-40B4-BE49-F238E27FC236}">
                <a16:creationId xmlns:a16="http://schemas.microsoft.com/office/drawing/2014/main" id="{F20EE917-DF40-415A-8236-A35E612550F6}"/>
              </a:ext>
            </a:extLst>
          </p:cNvPr>
          <p:cNvGrpSpPr/>
          <p:nvPr/>
        </p:nvGrpSpPr>
        <p:grpSpPr>
          <a:xfrm>
            <a:off x="4567738" y="5113569"/>
            <a:ext cx="2176656" cy="371519"/>
            <a:chOff x="4908972" y="6718784"/>
            <a:chExt cx="2399990" cy="409636"/>
          </a:xfrm>
        </p:grpSpPr>
        <p:sp>
          <p:nvSpPr>
            <p:cNvPr id="128" name="Rectangle 127">
              <a:extLst>
                <a:ext uri="{FF2B5EF4-FFF2-40B4-BE49-F238E27FC236}">
                  <a16:creationId xmlns:a16="http://schemas.microsoft.com/office/drawing/2014/main" id="{1E89A6D7-8E87-4257-95D4-E2B9BAF8EC89}"/>
                </a:ext>
              </a:extLst>
            </p:cNvPr>
            <p:cNvSpPr/>
            <p:nvPr/>
          </p:nvSpPr>
          <p:spPr>
            <a:xfrm>
              <a:off x="4908972" y="6731981"/>
              <a:ext cx="2399990" cy="389199"/>
            </a:xfrm>
            <a:prstGeom prst="rect">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9269" eaLnBrk="1" hangingPunct="1">
                <a:spcAft>
                  <a:spcPct val="50000"/>
                </a:spcAft>
                <a:buClr>
                  <a:srgbClr val="FFE600"/>
                </a:buClr>
                <a:buSzPct val="80000"/>
                <a:defRPr/>
              </a:pPr>
              <a:endParaRPr lang="en-US" sz="1088">
                <a:solidFill>
                  <a:srgbClr val="000000"/>
                </a:solidFill>
                <a:latin typeface="EYInterstate"/>
              </a:endParaRPr>
            </a:p>
          </p:txBody>
        </p:sp>
        <p:pic>
          <p:nvPicPr>
            <p:cNvPr id="130" name="Picture 129">
              <a:extLst>
                <a:ext uri="{FF2B5EF4-FFF2-40B4-BE49-F238E27FC236}">
                  <a16:creationId xmlns:a16="http://schemas.microsoft.com/office/drawing/2014/main" id="{8EC64589-24A6-464B-A7F1-2C0B553E6CA6}"/>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933322" y="6729082"/>
              <a:ext cx="570970" cy="399338"/>
            </a:xfrm>
            <a:prstGeom prst="rect">
              <a:avLst/>
            </a:prstGeom>
          </p:spPr>
        </p:pic>
        <p:pic>
          <p:nvPicPr>
            <p:cNvPr id="131" name="Picture 130">
              <a:extLst>
                <a:ext uri="{FF2B5EF4-FFF2-40B4-BE49-F238E27FC236}">
                  <a16:creationId xmlns:a16="http://schemas.microsoft.com/office/drawing/2014/main" id="{F1F51FF2-7988-414A-B5DA-FE83D1263D75}"/>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5379575" y="6729082"/>
              <a:ext cx="570970" cy="399338"/>
            </a:xfrm>
            <a:prstGeom prst="rect">
              <a:avLst/>
            </a:prstGeom>
          </p:spPr>
        </p:pic>
        <p:pic>
          <p:nvPicPr>
            <p:cNvPr id="132" name="Picture 131">
              <a:extLst>
                <a:ext uri="{FF2B5EF4-FFF2-40B4-BE49-F238E27FC236}">
                  <a16:creationId xmlns:a16="http://schemas.microsoft.com/office/drawing/2014/main" id="{698CF2A6-5E2F-410E-894E-3E5A407987F0}"/>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5833715" y="6729082"/>
              <a:ext cx="570970" cy="399338"/>
            </a:xfrm>
            <a:prstGeom prst="rect">
              <a:avLst/>
            </a:prstGeom>
          </p:spPr>
        </p:pic>
        <p:pic>
          <p:nvPicPr>
            <p:cNvPr id="133" name="Picture 132">
              <a:extLst>
                <a:ext uri="{FF2B5EF4-FFF2-40B4-BE49-F238E27FC236}">
                  <a16:creationId xmlns:a16="http://schemas.microsoft.com/office/drawing/2014/main" id="{C40423D0-9899-43D8-80BE-8DB186998CF6}"/>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6255661" y="6718784"/>
              <a:ext cx="570970" cy="399338"/>
            </a:xfrm>
            <a:prstGeom prst="rect">
              <a:avLst/>
            </a:prstGeom>
          </p:spPr>
        </p:pic>
        <p:pic>
          <p:nvPicPr>
            <p:cNvPr id="162" name="Picture 161">
              <a:extLst>
                <a:ext uri="{FF2B5EF4-FFF2-40B4-BE49-F238E27FC236}">
                  <a16:creationId xmlns:a16="http://schemas.microsoft.com/office/drawing/2014/main" id="{BFCFEA04-A964-43D2-973F-D43E9A61628F}"/>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6712909" y="6718784"/>
              <a:ext cx="570970" cy="399338"/>
            </a:xfrm>
            <a:prstGeom prst="rect">
              <a:avLst/>
            </a:prstGeom>
          </p:spPr>
        </p:pic>
      </p:grpSp>
      <p:cxnSp>
        <p:nvCxnSpPr>
          <p:cNvPr id="163" name="Straight Connector 162">
            <a:extLst>
              <a:ext uri="{FF2B5EF4-FFF2-40B4-BE49-F238E27FC236}">
                <a16:creationId xmlns:a16="http://schemas.microsoft.com/office/drawing/2014/main" id="{26F841DB-B7BA-4D11-8699-6F0BC36CB5D9}"/>
              </a:ext>
            </a:extLst>
          </p:cNvPr>
          <p:cNvCxnSpPr>
            <a:cxnSpLocks/>
          </p:cNvCxnSpPr>
          <p:nvPr/>
        </p:nvCxnSpPr>
        <p:spPr>
          <a:xfrm>
            <a:off x="3355057" y="5429300"/>
            <a:ext cx="8127232" cy="0"/>
          </a:xfrm>
          <a:prstGeom prst="line">
            <a:avLst/>
          </a:prstGeom>
          <a:ln w="9525">
            <a:solidFill>
              <a:schemeClr val="bg1">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DA75C166-EA4D-451C-9812-1B5591B16B64}"/>
              </a:ext>
            </a:extLst>
          </p:cNvPr>
          <p:cNvSpPr/>
          <p:nvPr/>
        </p:nvSpPr>
        <p:spPr>
          <a:xfrm>
            <a:off x="5528324" y="2419091"/>
            <a:ext cx="6252733" cy="452304"/>
          </a:xfrm>
          <a:prstGeom prst="rect">
            <a:avLst/>
          </a:prstGeom>
        </p:spPr>
        <p:txBody>
          <a:bodyPr wrap="square">
            <a:noAutofit/>
          </a:bodyPr>
          <a:lstStyle/>
          <a:p>
            <a:pPr defTabSz="829269" eaLnBrk="1" hangingPunct="1">
              <a:spcAft>
                <a:spcPts val="544"/>
              </a:spcAft>
              <a:buClr>
                <a:srgbClr val="FFE600"/>
              </a:buClr>
              <a:buSzPct val="70000"/>
              <a:defRPr/>
            </a:pPr>
            <a:r>
              <a:rPr lang="en-GB" sz="1179">
                <a:solidFill>
                  <a:srgbClr val="646464"/>
                </a:solidFill>
                <a:latin typeface="EYInterstate Light" pitchFamily="2" charset="0"/>
                <a:ea typeface="+mn-ea"/>
                <a:cs typeface="+mn-cs"/>
              </a:rPr>
              <a:t>The Sprints presented here are an illustration of the sprints that will be undertaken during this project. The exact number of sprints will be finalized with further information </a:t>
            </a:r>
          </a:p>
        </p:txBody>
      </p:sp>
      <p:pic>
        <p:nvPicPr>
          <p:cNvPr id="68" name="Picture 67">
            <a:extLst>
              <a:ext uri="{FF2B5EF4-FFF2-40B4-BE49-F238E27FC236}">
                <a16:creationId xmlns:a16="http://schemas.microsoft.com/office/drawing/2014/main" id="{6B0DDD34-52FF-4C96-BE85-1CF294B3DD7F}"/>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740223" y="3027824"/>
            <a:ext cx="517838" cy="362178"/>
          </a:xfrm>
          <a:prstGeom prst="rect">
            <a:avLst/>
          </a:prstGeom>
        </p:spPr>
      </p:pic>
      <p:grpSp>
        <p:nvGrpSpPr>
          <p:cNvPr id="69" name="Group 68">
            <a:extLst>
              <a:ext uri="{FF2B5EF4-FFF2-40B4-BE49-F238E27FC236}">
                <a16:creationId xmlns:a16="http://schemas.microsoft.com/office/drawing/2014/main" id="{58864269-F04C-462A-BF05-74D78042F48E}"/>
              </a:ext>
            </a:extLst>
          </p:cNvPr>
          <p:cNvGrpSpPr/>
          <p:nvPr/>
        </p:nvGrpSpPr>
        <p:grpSpPr>
          <a:xfrm>
            <a:off x="4570069" y="4800674"/>
            <a:ext cx="2176656" cy="371519"/>
            <a:chOff x="4908972" y="6718784"/>
            <a:chExt cx="2399990" cy="409636"/>
          </a:xfrm>
        </p:grpSpPr>
        <p:sp>
          <p:nvSpPr>
            <p:cNvPr id="74" name="Rectangle 73">
              <a:extLst>
                <a:ext uri="{FF2B5EF4-FFF2-40B4-BE49-F238E27FC236}">
                  <a16:creationId xmlns:a16="http://schemas.microsoft.com/office/drawing/2014/main" id="{64E052F3-642C-490D-BB88-6143835D71FC}"/>
                </a:ext>
              </a:extLst>
            </p:cNvPr>
            <p:cNvSpPr/>
            <p:nvPr/>
          </p:nvSpPr>
          <p:spPr>
            <a:xfrm>
              <a:off x="4908972" y="6731981"/>
              <a:ext cx="2399990" cy="389199"/>
            </a:xfrm>
            <a:prstGeom prst="rect">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9269" eaLnBrk="1" hangingPunct="1">
                <a:spcAft>
                  <a:spcPct val="50000"/>
                </a:spcAft>
                <a:buClr>
                  <a:srgbClr val="FFE600"/>
                </a:buClr>
                <a:buSzPct val="80000"/>
                <a:defRPr/>
              </a:pPr>
              <a:endParaRPr lang="en-US" sz="1088">
                <a:solidFill>
                  <a:srgbClr val="000000"/>
                </a:solidFill>
                <a:latin typeface="EYInterstate"/>
              </a:endParaRPr>
            </a:p>
          </p:txBody>
        </p:sp>
        <p:pic>
          <p:nvPicPr>
            <p:cNvPr id="75" name="Picture 74">
              <a:extLst>
                <a:ext uri="{FF2B5EF4-FFF2-40B4-BE49-F238E27FC236}">
                  <a16:creationId xmlns:a16="http://schemas.microsoft.com/office/drawing/2014/main" id="{84673894-B7F8-4F00-9E0A-5C12AE1DB84F}"/>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4933322" y="6729082"/>
              <a:ext cx="570970" cy="399338"/>
            </a:xfrm>
            <a:prstGeom prst="rect">
              <a:avLst/>
            </a:prstGeom>
          </p:spPr>
        </p:pic>
        <p:pic>
          <p:nvPicPr>
            <p:cNvPr id="76" name="Picture 75">
              <a:extLst>
                <a:ext uri="{FF2B5EF4-FFF2-40B4-BE49-F238E27FC236}">
                  <a16:creationId xmlns:a16="http://schemas.microsoft.com/office/drawing/2014/main" id="{C9A69753-9016-4C77-B0A6-B56847079977}"/>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5379575" y="6729082"/>
              <a:ext cx="570970" cy="399338"/>
            </a:xfrm>
            <a:prstGeom prst="rect">
              <a:avLst/>
            </a:prstGeom>
          </p:spPr>
        </p:pic>
        <p:pic>
          <p:nvPicPr>
            <p:cNvPr id="77" name="Picture 76">
              <a:extLst>
                <a:ext uri="{FF2B5EF4-FFF2-40B4-BE49-F238E27FC236}">
                  <a16:creationId xmlns:a16="http://schemas.microsoft.com/office/drawing/2014/main" id="{DE79CA6B-FDC3-469B-B9C2-786E4386803B}"/>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5833715" y="6729082"/>
              <a:ext cx="570970" cy="399338"/>
            </a:xfrm>
            <a:prstGeom prst="rect">
              <a:avLst/>
            </a:prstGeom>
          </p:spPr>
        </p:pic>
        <p:pic>
          <p:nvPicPr>
            <p:cNvPr id="78" name="Picture 77">
              <a:extLst>
                <a:ext uri="{FF2B5EF4-FFF2-40B4-BE49-F238E27FC236}">
                  <a16:creationId xmlns:a16="http://schemas.microsoft.com/office/drawing/2014/main" id="{30E22225-16B0-4408-8B89-10C292D73DAA}"/>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6255661" y="6718784"/>
              <a:ext cx="570970" cy="399338"/>
            </a:xfrm>
            <a:prstGeom prst="rect">
              <a:avLst/>
            </a:prstGeom>
          </p:spPr>
        </p:pic>
        <p:pic>
          <p:nvPicPr>
            <p:cNvPr id="79" name="Picture 78">
              <a:extLst>
                <a:ext uri="{FF2B5EF4-FFF2-40B4-BE49-F238E27FC236}">
                  <a16:creationId xmlns:a16="http://schemas.microsoft.com/office/drawing/2014/main" id="{091E12CF-C716-4A80-B870-ED6BF1F9AB1E}"/>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6712909" y="6718784"/>
              <a:ext cx="570970" cy="399338"/>
            </a:xfrm>
            <a:prstGeom prst="rect">
              <a:avLst/>
            </a:prstGeom>
          </p:spPr>
        </p:pic>
      </p:grpSp>
    </p:spTree>
    <p:extLst>
      <p:ext uri="{BB962C8B-B14F-4D97-AF65-F5344CB8AC3E}">
        <p14:creationId xmlns:p14="http://schemas.microsoft.com/office/powerpoint/2010/main" val="12687005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7469" y="3226"/>
          <a:ext cx="1439" cy="1439"/>
        </p:xfrm>
        <a:graphic>
          <a:graphicData uri="http://schemas.openxmlformats.org/presentationml/2006/ole">
            <mc:AlternateContent xmlns:mc="http://schemas.openxmlformats.org/markup-compatibility/2006">
              <mc:Choice xmlns:v="urn:schemas-microsoft-com:vml" Requires="v">
                <p:oleObj spid="_x0000_s262153"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7469" y="3226"/>
                        <a:ext cx="1439"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6029" y="1786"/>
            <a:ext cx="143910" cy="14391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8946" eaLnBrk="1" hangingPunct="1">
              <a:spcAft>
                <a:spcPct val="50000"/>
              </a:spcAft>
              <a:buClr>
                <a:srgbClr val="FFE600"/>
              </a:buClr>
              <a:buSzPct val="80000"/>
              <a:defRPr/>
            </a:pPr>
            <a:endParaRPr lang="en-US" sz="2176" b="1">
              <a:solidFill>
                <a:srgbClr val="000000"/>
              </a:solidFill>
              <a:latin typeface="EYInterstate" panose="02000503020000020004" pitchFamily="2" charset="0"/>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10703" y="569846"/>
            <a:ext cx="10789787" cy="672275"/>
          </a:xfrm>
        </p:spPr>
        <p:txBody>
          <a:bodyPr vert="horz" lIns="0" tIns="0" rIns="0" bIns="0" rtlCol="0" anchor="t" anchorCtr="0">
            <a:noAutofit/>
          </a:bodyPr>
          <a:lstStyle/>
          <a:p>
            <a:r>
              <a:rPr lang="en-US"/>
              <a:t>We proposed the project timeline of 8 weeks with an agile delivery approach along with value added activities based on use cases selected by AIAT</a:t>
            </a:r>
          </a:p>
        </p:txBody>
      </p:sp>
      <p:graphicFrame>
        <p:nvGraphicFramePr>
          <p:cNvPr id="8" name="Table 7">
            <a:extLst>
              <a:ext uri="{FF2B5EF4-FFF2-40B4-BE49-F238E27FC236}">
                <a16:creationId xmlns:a16="http://schemas.microsoft.com/office/drawing/2014/main" id="{56FD8C97-DCD7-4645-B11B-201A0A479228}"/>
              </a:ext>
            </a:extLst>
          </p:cNvPr>
          <p:cNvGraphicFramePr>
            <a:graphicFrameLocks noGrp="1"/>
          </p:cNvGraphicFramePr>
          <p:nvPr/>
        </p:nvGraphicFramePr>
        <p:xfrm>
          <a:off x="1350242" y="1332925"/>
          <a:ext cx="9531288" cy="4576428"/>
        </p:xfrm>
        <a:graphic>
          <a:graphicData uri="http://schemas.openxmlformats.org/drawingml/2006/table">
            <a:tbl>
              <a:tblPr firstRow="1" bandRow="1"/>
              <a:tblGrid>
                <a:gridCol w="496057">
                  <a:extLst>
                    <a:ext uri="{9D8B030D-6E8A-4147-A177-3AD203B41FA5}">
                      <a16:colId xmlns:a16="http://schemas.microsoft.com/office/drawing/2014/main" val="2014532655"/>
                    </a:ext>
                  </a:extLst>
                </a:gridCol>
                <a:gridCol w="2403871">
                  <a:extLst>
                    <a:ext uri="{9D8B030D-6E8A-4147-A177-3AD203B41FA5}">
                      <a16:colId xmlns:a16="http://schemas.microsoft.com/office/drawing/2014/main" val="1919316868"/>
                    </a:ext>
                  </a:extLst>
                </a:gridCol>
                <a:gridCol w="414460">
                  <a:extLst>
                    <a:ext uri="{9D8B030D-6E8A-4147-A177-3AD203B41FA5}">
                      <a16:colId xmlns:a16="http://schemas.microsoft.com/office/drawing/2014/main" val="372251728"/>
                    </a:ext>
                  </a:extLst>
                </a:gridCol>
                <a:gridCol w="414460">
                  <a:extLst>
                    <a:ext uri="{9D8B030D-6E8A-4147-A177-3AD203B41FA5}">
                      <a16:colId xmlns:a16="http://schemas.microsoft.com/office/drawing/2014/main" val="734976360"/>
                    </a:ext>
                  </a:extLst>
                </a:gridCol>
                <a:gridCol w="828920">
                  <a:extLst>
                    <a:ext uri="{9D8B030D-6E8A-4147-A177-3AD203B41FA5}">
                      <a16:colId xmlns:a16="http://schemas.microsoft.com/office/drawing/2014/main" val="20002"/>
                    </a:ext>
                  </a:extLst>
                </a:gridCol>
                <a:gridCol w="828920">
                  <a:extLst>
                    <a:ext uri="{9D8B030D-6E8A-4147-A177-3AD203B41FA5}">
                      <a16:colId xmlns:a16="http://schemas.microsoft.com/office/drawing/2014/main" val="3584400320"/>
                    </a:ext>
                  </a:extLst>
                </a:gridCol>
                <a:gridCol w="828920">
                  <a:extLst>
                    <a:ext uri="{9D8B030D-6E8A-4147-A177-3AD203B41FA5}">
                      <a16:colId xmlns:a16="http://schemas.microsoft.com/office/drawing/2014/main" val="4257081425"/>
                    </a:ext>
                  </a:extLst>
                </a:gridCol>
                <a:gridCol w="828920">
                  <a:extLst>
                    <a:ext uri="{9D8B030D-6E8A-4147-A177-3AD203B41FA5}">
                      <a16:colId xmlns:a16="http://schemas.microsoft.com/office/drawing/2014/main" val="4105844060"/>
                    </a:ext>
                  </a:extLst>
                </a:gridCol>
                <a:gridCol w="828920">
                  <a:extLst>
                    <a:ext uri="{9D8B030D-6E8A-4147-A177-3AD203B41FA5}">
                      <a16:colId xmlns:a16="http://schemas.microsoft.com/office/drawing/2014/main" val="2839026748"/>
                    </a:ext>
                  </a:extLst>
                </a:gridCol>
                <a:gridCol w="828920">
                  <a:extLst>
                    <a:ext uri="{9D8B030D-6E8A-4147-A177-3AD203B41FA5}">
                      <a16:colId xmlns:a16="http://schemas.microsoft.com/office/drawing/2014/main" val="2451323036"/>
                    </a:ext>
                  </a:extLst>
                </a:gridCol>
                <a:gridCol w="828920">
                  <a:extLst>
                    <a:ext uri="{9D8B030D-6E8A-4147-A177-3AD203B41FA5}">
                      <a16:colId xmlns:a16="http://schemas.microsoft.com/office/drawing/2014/main" val="4259181998"/>
                    </a:ext>
                  </a:extLst>
                </a:gridCol>
              </a:tblGrid>
              <a:tr h="418071">
                <a:tc>
                  <a:txBody>
                    <a:bodyPr/>
                    <a:lstStyle/>
                    <a:p>
                      <a:pPr algn="ctr"/>
                      <a:r>
                        <a:rPr lang="en-US" sz="1300">
                          <a:solidFill>
                            <a:schemeClr val="bg1"/>
                          </a:solidFill>
                          <a:latin typeface="EYInterstate" panose="02000503020000020004" pitchFamily="2" charset="0"/>
                        </a:rPr>
                        <a:t>#</a:t>
                      </a:r>
                    </a:p>
                  </a:txBody>
                  <a:tcPr marL="91398" marR="91398" marT="45698" marB="4569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862119" rtl="0" eaLnBrk="1" latinLnBrk="0" hangingPunct="1">
                        <a:defRPr sz="1697" b="1" kern="1200">
                          <a:solidFill>
                            <a:schemeClr val="lt1"/>
                          </a:solidFill>
                          <a:latin typeface="Arial"/>
                          <a:cs typeface="CordiaUPC"/>
                        </a:defRPr>
                      </a:lvl1pPr>
                      <a:lvl2pPr marL="431060" algn="l" defTabSz="862119" rtl="0" eaLnBrk="1" latinLnBrk="0" hangingPunct="1">
                        <a:defRPr sz="1697" b="1" kern="1200">
                          <a:solidFill>
                            <a:schemeClr val="lt1"/>
                          </a:solidFill>
                          <a:latin typeface="Arial"/>
                          <a:cs typeface="CordiaUPC"/>
                        </a:defRPr>
                      </a:lvl2pPr>
                      <a:lvl3pPr marL="862119" algn="l" defTabSz="862119" rtl="0" eaLnBrk="1" latinLnBrk="0" hangingPunct="1">
                        <a:defRPr sz="1697" b="1" kern="1200">
                          <a:solidFill>
                            <a:schemeClr val="lt1"/>
                          </a:solidFill>
                          <a:latin typeface="Arial"/>
                          <a:cs typeface="CordiaUPC"/>
                        </a:defRPr>
                      </a:lvl3pPr>
                      <a:lvl4pPr marL="1293179" algn="l" defTabSz="862119" rtl="0" eaLnBrk="1" latinLnBrk="0" hangingPunct="1">
                        <a:defRPr sz="1697" b="1" kern="1200">
                          <a:solidFill>
                            <a:schemeClr val="lt1"/>
                          </a:solidFill>
                          <a:latin typeface="Arial"/>
                          <a:cs typeface="CordiaUPC"/>
                        </a:defRPr>
                      </a:lvl4pPr>
                      <a:lvl5pPr marL="1724238" algn="l" defTabSz="862119" rtl="0" eaLnBrk="1" latinLnBrk="0" hangingPunct="1">
                        <a:defRPr sz="1697" b="1" kern="1200">
                          <a:solidFill>
                            <a:schemeClr val="lt1"/>
                          </a:solidFill>
                          <a:latin typeface="Arial"/>
                          <a:cs typeface="CordiaUPC"/>
                        </a:defRPr>
                      </a:lvl5pPr>
                      <a:lvl6pPr marL="2155298" algn="l" defTabSz="862119" rtl="0" eaLnBrk="1" latinLnBrk="0" hangingPunct="1">
                        <a:defRPr sz="1697" b="1" kern="1200">
                          <a:solidFill>
                            <a:schemeClr val="lt1"/>
                          </a:solidFill>
                          <a:latin typeface="Arial"/>
                          <a:cs typeface="CordiaUPC"/>
                        </a:defRPr>
                      </a:lvl6pPr>
                      <a:lvl7pPr marL="2586358" algn="l" defTabSz="862119" rtl="0" eaLnBrk="1" latinLnBrk="0" hangingPunct="1">
                        <a:defRPr sz="1697" b="1" kern="1200">
                          <a:solidFill>
                            <a:schemeClr val="lt1"/>
                          </a:solidFill>
                          <a:latin typeface="Arial"/>
                          <a:cs typeface="CordiaUPC"/>
                        </a:defRPr>
                      </a:lvl7pPr>
                      <a:lvl8pPr marL="3017417" algn="l" defTabSz="862119" rtl="0" eaLnBrk="1" latinLnBrk="0" hangingPunct="1">
                        <a:defRPr sz="1697" b="1" kern="1200">
                          <a:solidFill>
                            <a:schemeClr val="lt1"/>
                          </a:solidFill>
                          <a:latin typeface="Arial"/>
                          <a:cs typeface="CordiaUPC"/>
                        </a:defRPr>
                      </a:lvl8pPr>
                      <a:lvl9pPr marL="3448477" algn="l" defTabSz="862119" rtl="0" eaLnBrk="1" latinLnBrk="0" hangingPunct="1">
                        <a:defRPr sz="1697" b="1" kern="1200">
                          <a:solidFill>
                            <a:schemeClr val="lt1"/>
                          </a:solidFill>
                          <a:latin typeface="Arial"/>
                          <a:cs typeface="CordiaUPC"/>
                        </a:defRPr>
                      </a:lvl9pPr>
                    </a:lstStyle>
                    <a:p>
                      <a:pPr algn="ctr"/>
                      <a:r>
                        <a:rPr lang="en-US" sz="1300">
                          <a:solidFill>
                            <a:schemeClr val="bg1"/>
                          </a:solidFill>
                          <a:latin typeface="EYInterstate" panose="02000503020000020004" pitchFamily="2" charset="0"/>
                        </a:rPr>
                        <a:t>Activity</a:t>
                      </a:r>
                    </a:p>
                  </a:txBody>
                  <a:tcPr marL="91398" marR="91398" marT="45698" marB="4569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gridSpan="2">
                  <a:txBody>
                    <a:bodyPr/>
                    <a:lstStyle>
                      <a:lvl1pPr marL="0" algn="l" defTabSz="862119" rtl="0" eaLnBrk="1" latinLnBrk="0" hangingPunct="1">
                        <a:defRPr sz="1697" b="1" kern="1200">
                          <a:solidFill>
                            <a:schemeClr val="lt1"/>
                          </a:solidFill>
                          <a:latin typeface="Arial"/>
                          <a:cs typeface="CordiaUPC"/>
                        </a:defRPr>
                      </a:lvl1pPr>
                      <a:lvl2pPr marL="431060" algn="l" defTabSz="862119" rtl="0" eaLnBrk="1" latinLnBrk="0" hangingPunct="1">
                        <a:defRPr sz="1697" b="1" kern="1200">
                          <a:solidFill>
                            <a:schemeClr val="lt1"/>
                          </a:solidFill>
                          <a:latin typeface="Arial"/>
                          <a:cs typeface="CordiaUPC"/>
                        </a:defRPr>
                      </a:lvl2pPr>
                      <a:lvl3pPr marL="862119" algn="l" defTabSz="862119" rtl="0" eaLnBrk="1" latinLnBrk="0" hangingPunct="1">
                        <a:defRPr sz="1697" b="1" kern="1200">
                          <a:solidFill>
                            <a:schemeClr val="lt1"/>
                          </a:solidFill>
                          <a:latin typeface="Arial"/>
                          <a:cs typeface="CordiaUPC"/>
                        </a:defRPr>
                      </a:lvl3pPr>
                      <a:lvl4pPr marL="1293179" algn="l" defTabSz="862119" rtl="0" eaLnBrk="1" latinLnBrk="0" hangingPunct="1">
                        <a:defRPr sz="1697" b="1" kern="1200">
                          <a:solidFill>
                            <a:schemeClr val="lt1"/>
                          </a:solidFill>
                          <a:latin typeface="Arial"/>
                          <a:cs typeface="CordiaUPC"/>
                        </a:defRPr>
                      </a:lvl4pPr>
                      <a:lvl5pPr marL="1724238" algn="l" defTabSz="862119" rtl="0" eaLnBrk="1" latinLnBrk="0" hangingPunct="1">
                        <a:defRPr sz="1697" b="1" kern="1200">
                          <a:solidFill>
                            <a:schemeClr val="lt1"/>
                          </a:solidFill>
                          <a:latin typeface="Arial"/>
                          <a:cs typeface="CordiaUPC"/>
                        </a:defRPr>
                      </a:lvl5pPr>
                      <a:lvl6pPr marL="2155298" algn="l" defTabSz="862119" rtl="0" eaLnBrk="1" latinLnBrk="0" hangingPunct="1">
                        <a:defRPr sz="1697" b="1" kern="1200">
                          <a:solidFill>
                            <a:schemeClr val="lt1"/>
                          </a:solidFill>
                          <a:latin typeface="Arial"/>
                          <a:cs typeface="CordiaUPC"/>
                        </a:defRPr>
                      </a:lvl6pPr>
                      <a:lvl7pPr marL="2586358" algn="l" defTabSz="862119" rtl="0" eaLnBrk="1" latinLnBrk="0" hangingPunct="1">
                        <a:defRPr sz="1697" b="1" kern="1200">
                          <a:solidFill>
                            <a:schemeClr val="lt1"/>
                          </a:solidFill>
                          <a:latin typeface="Arial"/>
                          <a:cs typeface="CordiaUPC"/>
                        </a:defRPr>
                      </a:lvl7pPr>
                      <a:lvl8pPr marL="3017417" algn="l" defTabSz="862119" rtl="0" eaLnBrk="1" latinLnBrk="0" hangingPunct="1">
                        <a:defRPr sz="1697" b="1" kern="1200">
                          <a:solidFill>
                            <a:schemeClr val="lt1"/>
                          </a:solidFill>
                          <a:latin typeface="Arial"/>
                          <a:cs typeface="CordiaUPC"/>
                        </a:defRPr>
                      </a:lvl8pPr>
                      <a:lvl9pPr marL="3448477" algn="l" defTabSz="862119" rtl="0" eaLnBrk="1" latinLnBrk="0" hangingPunct="1">
                        <a:defRPr sz="1697" b="1" kern="1200">
                          <a:solidFill>
                            <a:schemeClr val="lt1"/>
                          </a:solidFill>
                          <a:latin typeface="Arial"/>
                          <a:cs typeface="CordiaUPC"/>
                        </a:defRPr>
                      </a:lvl9pPr>
                    </a:lstStyle>
                    <a:p>
                      <a:pPr algn="ctr"/>
                      <a:r>
                        <a:rPr lang="en-US" sz="1100">
                          <a:solidFill>
                            <a:schemeClr val="tx2"/>
                          </a:solidFill>
                          <a:latin typeface="EYInterstate" panose="02000503020000020004" pitchFamily="2" charset="0"/>
                        </a:rPr>
                        <a:t>Week 1</a:t>
                      </a:r>
                    </a:p>
                  </a:txBody>
                  <a:tcPr marL="0" marR="0" marT="9139" marB="913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en-US"/>
                    </a:p>
                  </a:txBody>
                  <a:tcPr/>
                </a:tc>
                <a:tc>
                  <a:txBody>
                    <a:bodyPr/>
                    <a:lstStyle>
                      <a:lvl1pPr marL="0" algn="l" defTabSz="862119" rtl="0" eaLnBrk="1" latinLnBrk="0" hangingPunct="1">
                        <a:defRPr sz="1697" b="1" kern="1200">
                          <a:solidFill>
                            <a:schemeClr val="lt1"/>
                          </a:solidFill>
                          <a:latin typeface="Arial"/>
                          <a:cs typeface="CordiaUPC"/>
                        </a:defRPr>
                      </a:lvl1pPr>
                      <a:lvl2pPr marL="431060" algn="l" defTabSz="862119" rtl="0" eaLnBrk="1" latinLnBrk="0" hangingPunct="1">
                        <a:defRPr sz="1697" b="1" kern="1200">
                          <a:solidFill>
                            <a:schemeClr val="lt1"/>
                          </a:solidFill>
                          <a:latin typeface="Arial"/>
                          <a:cs typeface="CordiaUPC"/>
                        </a:defRPr>
                      </a:lvl2pPr>
                      <a:lvl3pPr marL="862119" algn="l" defTabSz="862119" rtl="0" eaLnBrk="1" latinLnBrk="0" hangingPunct="1">
                        <a:defRPr sz="1697" b="1" kern="1200">
                          <a:solidFill>
                            <a:schemeClr val="lt1"/>
                          </a:solidFill>
                          <a:latin typeface="Arial"/>
                          <a:cs typeface="CordiaUPC"/>
                        </a:defRPr>
                      </a:lvl3pPr>
                      <a:lvl4pPr marL="1293179" algn="l" defTabSz="862119" rtl="0" eaLnBrk="1" latinLnBrk="0" hangingPunct="1">
                        <a:defRPr sz="1697" b="1" kern="1200">
                          <a:solidFill>
                            <a:schemeClr val="lt1"/>
                          </a:solidFill>
                          <a:latin typeface="Arial"/>
                          <a:cs typeface="CordiaUPC"/>
                        </a:defRPr>
                      </a:lvl4pPr>
                      <a:lvl5pPr marL="1724238" algn="l" defTabSz="862119" rtl="0" eaLnBrk="1" latinLnBrk="0" hangingPunct="1">
                        <a:defRPr sz="1697" b="1" kern="1200">
                          <a:solidFill>
                            <a:schemeClr val="lt1"/>
                          </a:solidFill>
                          <a:latin typeface="Arial"/>
                          <a:cs typeface="CordiaUPC"/>
                        </a:defRPr>
                      </a:lvl5pPr>
                      <a:lvl6pPr marL="2155298" algn="l" defTabSz="862119" rtl="0" eaLnBrk="1" latinLnBrk="0" hangingPunct="1">
                        <a:defRPr sz="1697" b="1" kern="1200">
                          <a:solidFill>
                            <a:schemeClr val="lt1"/>
                          </a:solidFill>
                          <a:latin typeface="Arial"/>
                          <a:cs typeface="CordiaUPC"/>
                        </a:defRPr>
                      </a:lvl6pPr>
                      <a:lvl7pPr marL="2586358" algn="l" defTabSz="862119" rtl="0" eaLnBrk="1" latinLnBrk="0" hangingPunct="1">
                        <a:defRPr sz="1697" b="1" kern="1200">
                          <a:solidFill>
                            <a:schemeClr val="lt1"/>
                          </a:solidFill>
                          <a:latin typeface="Arial"/>
                          <a:cs typeface="CordiaUPC"/>
                        </a:defRPr>
                      </a:lvl7pPr>
                      <a:lvl8pPr marL="3017417" algn="l" defTabSz="862119" rtl="0" eaLnBrk="1" latinLnBrk="0" hangingPunct="1">
                        <a:defRPr sz="1697" b="1" kern="1200">
                          <a:solidFill>
                            <a:schemeClr val="lt1"/>
                          </a:solidFill>
                          <a:latin typeface="Arial"/>
                          <a:cs typeface="CordiaUPC"/>
                        </a:defRPr>
                      </a:lvl8pPr>
                      <a:lvl9pPr marL="3448477" algn="l" defTabSz="862119" rtl="0" eaLnBrk="1" latinLnBrk="0" hangingPunct="1">
                        <a:defRPr sz="1697" b="1" kern="1200">
                          <a:solidFill>
                            <a:schemeClr val="lt1"/>
                          </a:solidFill>
                          <a:latin typeface="Arial"/>
                          <a:cs typeface="CordiaUPC"/>
                        </a:defRPr>
                      </a:lvl9pPr>
                    </a:lstStyle>
                    <a:p>
                      <a:pPr marL="0" marR="0" lvl="0" indent="0" algn="ctr" defTabSz="862119" rtl="0" eaLnBrk="1" fontAlgn="auto" latinLnBrk="0" hangingPunct="1">
                        <a:lnSpc>
                          <a:spcPct val="100000"/>
                        </a:lnSpc>
                        <a:spcBef>
                          <a:spcPts val="0"/>
                        </a:spcBef>
                        <a:spcAft>
                          <a:spcPts val="0"/>
                        </a:spcAft>
                        <a:buClrTx/>
                        <a:buSzTx/>
                        <a:buFontTx/>
                        <a:buNone/>
                        <a:tabLst/>
                        <a:defRPr/>
                      </a:pPr>
                      <a:r>
                        <a:rPr lang="en-US" sz="1100" b="1" kern="1200" noProof="0">
                          <a:solidFill>
                            <a:schemeClr val="tx2"/>
                          </a:solidFill>
                          <a:latin typeface="EYInterstate" panose="02000503020000020004" pitchFamily="2" charset="0"/>
                          <a:ea typeface="+mn-ea"/>
                          <a:cs typeface="CordiaUPC"/>
                        </a:rPr>
                        <a:t>Week</a:t>
                      </a:r>
                      <a:r>
                        <a:rPr kumimoji="0" lang="en-US" sz="1100" b="1"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 2</a:t>
                      </a:r>
                    </a:p>
                  </a:txBody>
                  <a:tcPr marL="0" marR="0" marT="9139" marB="913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862119" rtl="0" eaLnBrk="1" latinLnBrk="0" hangingPunct="1">
                        <a:defRPr sz="1697" b="1" kern="1200">
                          <a:solidFill>
                            <a:schemeClr val="lt1"/>
                          </a:solidFill>
                          <a:latin typeface="Arial"/>
                          <a:cs typeface="CordiaUPC"/>
                        </a:defRPr>
                      </a:lvl1pPr>
                      <a:lvl2pPr marL="431060" algn="l" defTabSz="862119" rtl="0" eaLnBrk="1" latinLnBrk="0" hangingPunct="1">
                        <a:defRPr sz="1697" b="1" kern="1200">
                          <a:solidFill>
                            <a:schemeClr val="lt1"/>
                          </a:solidFill>
                          <a:latin typeface="Arial"/>
                          <a:cs typeface="CordiaUPC"/>
                        </a:defRPr>
                      </a:lvl2pPr>
                      <a:lvl3pPr marL="862119" algn="l" defTabSz="862119" rtl="0" eaLnBrk="1" latinLnBrk="0" hangingPunct="1">
                        <a:defRPr sz="1697" b="1" kern="1200">
                          <a:solidFill>
                            <a:schemeClr val="lt1"/>
                          </a:solidFill>
                          <a:latin typeface="Arial"/>
                          <a:cs typeface="CordiaUPC"/>
                        </a:defRPr>
                      </a:lvl3pPr>
                      <a:lvl4pPr marL="1293179" algn="l" defTabSz="862119" rtl="0" eaLnBrk="1" latinLnBrk="0" hangingPunct="1">
                        <a:defRPr sz="1697" b="1" kern="1200">
                          <a:solidFill>
                            <a:schemeClr val="lt1"/>
                          </a:solidFill>
                          <a:latin typeface="Arial"/>
                          <a:cs typeface="CordiaUPC"/>
                        </a:defRPr>
                      </a:lvl4pPr>
                      <a:lvl5pPr marL="1724238" algn="l" defTabSz="862119" rtl="0" eaLnBrk="1" latinLnBrk="0" hangingPunct="1">
                        <a:defRPr sz="1697" b="1" kern="1200">
                          <a:solidFill>
                            <a:schemeClr val="lt1"/>
                          </a:solidFill>
                          <a:latin typeface="Arial"/>
                          <a:cs typeface="CordiaUPC"/>
                        </a:defRPr>
                      </a:lvl5pPr>
                      <a:lvl6pPr marL="2155298" algn="l" defTabSz="862119" rtl="0" eaLnBrk="1" latinLnBrk="0" hangingPunct="1">
                        <a:defRPr sz="1697" b="1" kern="1200">
                          <a:solidFill>
                            <a:schemeClr val="lt1"/>
                          </a:solidFill>
                          <a:latin typeface="Arial"/>
                          <a:cs typeface="CordiaUPC"/>
                        </a:defRPr>
                      </a:lvl6pPr>
                      <a:lvl7pPr marL="2586358" algn="l" defTabSz="862119" rtl="0" eaLnBrk="1" latinLnBrk="0" hangingPunct="1">
                        <a:defRPr sz="1697" b="1" kern="1200">
                          <a:solidFill>
                            <a:schemeClr val="lt1"/>
                          </a:solidFill>
                          <a:latin typeface="Arial"/>
                          <a:cs typeface="CordiaUPC"/>
                        </a:defRPr>
                      </a:lvl7pPr>
                      <a:lvl8pPr marL="3017417" algn="l" defTabSz="862119" rtl="0" eaLnBrk="1" latinLnBrk="0" hangingPunct="1">
                        <a:defRPr sz="1697" b="1" kern="1200">
                          <a:solidFill>
                            <a:schemeClr val="lt1"/>
                          </a:solidFill>
                          <a:latin typeface="Arial"/>
                          <a:cs typeface="CordiaUPC"/>
                        </a:defRPr>
                      </a:lvl8pPr>
                      <a:lvl9pPr marL="3448477" algn="l" defTabSz="862119" rtl="0" eaLnBrk="1" latinLnBrk="0" hangingPunct="1">
                        <a:defRPr sz="1697" b="1" kern="1200">
                          <a:solidFill>
                            <a:schemeClr val="lt1"/>
                          </a:solidFill>
                          <a:latin typeface="Arial"/>
                          <a:cs typeface="CordiaUPC"/>
                        </a:defRPr>
                      </a:lvl9pPr>
                    </a:lstStyle>
                    <a:p>
                      <a:pPr marL="0" marR="0" lvl="0" indent="0" algn="ctr" defTabSz="86211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Week 3</a:t>
                      </a:r>
                    </a:p>
                  </a:txBody>
                  <a:tcPr marL="0" marR="0" marT="9139" marB="913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862119" rtl="0" eaLnBrk="1" latinLnBrk="0" hangingPunct="1">
                        <a:defRPr sz="1697" b="1" kern="1200">
                          <a:solidFill>
                            <a:schemeClr val="lt1"/>
                          </a:solidFill>
                          <a:latin typeface="Arial"/>
                          <a:cs typeface="CordiaUPC"/>
                        </a:defRPr>
                      </a:lvl1pPr>
                      <a:lvl2pPr marL="431060" algn="l" defTabSz="862119" rtl="0" eaLnBrk="1" latinLnBrk="0" hangingPunct="1">
                        <a:defRPr sz="1697" b="1" kern="1200">
                          <a:solidFill>
                            <a:schemeClr val="lt1"/>
                          </a:solidFill>
                          <a:latin typeface="Arial"/>
                          <a:cs typeface="CordiaUPC"/>
                        </a:defRPr>
                      </a:lvl2pPr>
                      <a:lvl3pPr marL="862119" algn="l" defTabSz="862119" rtl="0" eaLnBrk="1" latinLnBrk="0" hangingPunct="1">
                        <a:defRPr sz="1697" b="1" kern="1200">
                          <a:solidFill>
                            <a:schemeClr val="lt1"/>
                          </a:solidFill>
                          <a:latin typeface="Arial"/>
                          <a:cs typeface="CordiaUPC"/>
                        </a:defRPr>
                      </a:lvl3pPr>
                      <a:lvl4pPr marL="1293179" algn="l" defTabSz="862119" rtl="0" eaLnBrk="1" latinLnBrk="0" hangingPunct="1">
                        <a:defRPr sz="1697" b="1" kern="1200">
                          <a:solidFill>
                            <a:schemeClr val="lt1"/>
                          </a:solidFill>
                          <a:latin typeface="Arial"/>
                          <a:cs typeface="CordiaUPC"/>
                        </a:defRPr>
                      </a:lvl4pPr>
                      <a:lvl5pPr marL="1724238" algn="l" defTabSz="862119" rtl="0" eaLnBrk="1" latinLnBrk="0" hangingPunct="1">
                        <a:defRPr sz="1697" b="1" kern="1200">
                          <a:solidFill>
                            <a:schemeClr val="lt1"/>
                          </a:solidFill>
                          <a:latin typeface="Arial"/>
                          <a:cs typeface="CordiaUPC"/>
                        </a:defRPr>
                      </a:lvl5pPr>
                      <a:lvl6pPr marL="2155298" algn="l" defTabSz="862119" rtl="0" eaLnBrk="1" latinLnBrk="0" hangingPunct="1">
                        <a:defRPr sz="1697" b="1" kern="1200">
                          <a:solidFill>
                            <a:schemeClr val="lt1"/>
                          </a:solidFill>
                          <a:latin typeface="Arial"/>
                          <a:cs typeface="CordiaUPC"/>
                        </a:defRPr>
                      </a:lvl6pPr>
                      <a:lvl7pPr marL="2586358" algn="l" defTabSz="862119" rtl="0" eaLnBrk="1" latinLnBrk="0" hangingPunct="1">
                        <a:defRPr sz="1697" b="1" kern="1200">
                          <a:solidFill>
                            <a:schemeClr val="lt1"/>
                          </a:solidFill>
                          <a:latin typeface="Arial"/>
                          <a:cs typeface="CordiaUPC"/>
                        </a:defRPr>
                      </a:lvl7pPr>
                      <a:lvl8pPr marL="3017417" algn="l" defTabSz="862119" rtl="0" eaLnBrk="1" latinLnBrk="0" hangingPunct="1">
                        <a:defRPr sz="1697" b="1" kern="1200">
                          <a:solidFill>
                            <a:schemeClr val="lt1"/>
                          </a:solidFill>
                          <a:latin typeface="Arial"/>
                          <a:cs typeface="CordiaUPC"/>
                        </a:defRPr>
                      </a:lvl8pPr>
                      <a:lvl9pPr marL="3448477" algn="l" defTabSz="862119" rtl="0" eaLnBrk="1" latinLnBrk="0" hangingPunct="1">
                        <a:defRPr sz="1697" b="1" kern="1200">
                          <a:solidFill>
                            <a:schemeClr val="lt1"/>
                          </a:solidFill>
                          <a:latin typeface="Arial"/>
                          <a:cs typeface="CordiaUPC"/>
                        </a:defRPr>
                      </a:lvl9pPr>
                    </a:lstStyle>
                    <a:p>
                      <a:pPr marL="0" marR="0" lvl="0" indent="0" algn="ctr" defTabSz="86211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Week 4</a:t>
                      </a:r>
                    </a:p>
                  </a:txBody>
                  <a:tcPr marL="0" marR="0" marT="9139" marB="913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862119" rtl="0" eaLnBrk="1" latinLnBrk="0" hangingPunct="1">
                        <a:defRPr sz="1697" b="1" kern="1200">
                          <a:solidFill>
                            <a:schemeClr val="lt1"/>
                          </a:solidFill>
                          <a:latin typeface="Arial"/>
                          <a:cs typeface="CordiaUPC"/>
                        </a:defRPr>
                      </a:lvl1pPr>
                      <a:lvl2pPr marL="431060" algn="l" defTabSz="862119" rtl="0" eaLnBrk="1" latinLnBrk="0" hangingPunct="1">
                        <a:defRPr sz="1697" b="1" kern="1200">
                          <a:solidFill>
                            <a:schemeClr val="lt1"/>
                          </a:solidFill>
                          <a:latin typeface="Arial"/>
                          <a:cs typeface="CordiaUPC"/>
                        </a:defRPr>
                      </a:lvl2pPr>
                      <a:lvl3pPr marL="862119" algn="l" defTabSz="862119" rtl="0" eaLnBrk="1" latinLnBrk="0" hangingPunct="1">
                        <a:defRPr sz="1697" b="1" kern="1200">
                          <a:solidFill>
                            <a:schemeClr val="lt1"/>
                          </a:solidFill>
                          <a:latin typeface="Arial"/>
                          <a:cs typeface="CordiaUPC"/>
                        </a:defRPr>
                      </a:lvl3pPr>
                      <a:lvl4pPr marL="1293179" algn="l" defTabSz="862119" rtl="0" eaLnBrk="1" latinLnBrk="0" hangingPunct="1">
                        <a:defRPr sz="1697" b="1" kern="1200">
                          <a:solidFill>
                            <a:schemeClr val="lt1"/>
                          </a:solidFill>
                          <a:latin typeface="Arial"/>
                          <a:cs typeface="CordiaUPC"/>
                        </a:defRPr>
                      </a:lvl4pPr>
                      <a:lvl5pPr marL="1724238" algn="l" defTabSz="862119" rtl="0" eaLnBrk="1" latinLnBrk="0" hangingPunct="1">
                        <a:defRPr sz="1697" b="1" kern="1200">
                          <a:solidFill>
                            <a:schemeClr val="lt1"/>
                          </a:solidFill>
                          <a:latin typeface="Arial"/>
                          <a:cs typeface="CordiaUPC"/>
                        </a:defRPr>
                      </a:lvl5pPr>
                      <a:lvl6pPr marL="2155298" algn="l" defTabSz="862119" rtl="0" eaLnBrk="1" latinLnBrk="0" hangingPunct="1">
                        <a:defRPr sz="1697" b="1" kern="1200">
                          <a:solidFill>
                            <a:schemeClr val="lt1"/>
                          </a:solidFill>
                          <a:latin typeface="Arial"/>
                          <a:cs typeface="CordiaUPC"/>
                        </a:defRPr>
                      </a:lvl6pPr>
                      <a:lvl7pPr marL="2586358" algn="l" defTabSz="862119" rtl="0" eaLnBrk="1" latinLnBrk="0" hangingPunct="1">
                        <a:defRPr sz="1697" b="1" kern="1200">
                          <a:solidFill>
                            <a:schemeClr val="lt1"/>
                          </a:solidFill>
                          <a:latin typeface="Arial"/>
                          <a:cs typeface="CordiaUPC"/>
                        </a:defRPr>
                      </a:lvl7pPr>
                      <a:lvl8pPr marL="3017417" algn="l" defTabSz="862119" rtl="0" eaLnBrk="1" latinLnBrk="0" hangingPunct="1">
                        <a:defRPr sz="1697" b="1" kern="1200">
                          <a:solidFill>
                            <a:schemeClr val="lt1"/>
                          </a:solidFill>
                          <a:latin typeface="Arial"/>
                          <a:cs typeface="CordiaUPC"/>
                        </a:defRPr>
                      </a:lvl8pPr>
                      <a:lvl9pPr marL="3448477" algn="l" defTabSz="862119" rtl="0" eaLnBrk="1" latinLnBrk="0" hangingPunct="1">
                        <a:defRPr sz="1697" b="1" kern="1200">
                          <a:solidFill>
                            <a:schemeClr val="lt1"/>
                          </a:solidFill>
                          <a:latin typeface="Arial"/>
                          <a:cs typeface="CordiaUPC"/>
                        </a:defRPr>
                      </a:lvl9pPr>
                    </a:lstStyle>
                    <a:p>
                      <a:pPr marL="0" marR="0" lvl="0" indent="0" algn="ctr" defTabSz="86211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Week 5</a:t>
                      </a:r>
                    </a:p>
                  </a:txBody>
                  <a:tcPr marL="0" marR="0" marT="9139" marB="913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862119" rtl="0" eaLnBrk="1" latinLnBrk="0" hangingPunct="1">
                        <a:defRPr sz="1697" b="1" kern="1200">
                          <a:solidFill>
                            <a:schemeClr val="lt1"/>
                          </a:solidFill>
                          <a:latin typeface="Arial"/>
                          <a:cs typeface="CordiaUPC"/>
                        </a:defRPr>
                      </a:lvl1pPr>
                      <a:lvl2pPr marL="431060" algn="l" defTabSz="862119" rtl="0" eaLnBrk="1" latinLnBrk="0" hangingPunct="1">
                        <a:defRPr sz="1697" b="1" kern="1200">
                          <a:solidFill>
                            <a:schemeClr val="lt1"/>
                          </a:solidFill>
                          <a:latin typeface="Arial"/>
                          <a:cs typeface="CordiaUPC"/>
                        </a:defRPr>
                      </a:lvl2pPr>
                      <a:lvl3pPr marL="862119" algn="l" defTabSz="862119" rtl="0" eaLnBrk="1" latinLnBrk="0" hangingPunct="1">
                        <a:defRPr sz="1697" b="1" kern="1200">
                          <a:solidFill>
                            <a:schemeClr val="lt1"/>
                          </a:solidFill>
                          <a:latin typeface="Arial"/>
                          <a:cs typeface="CordiaUPC"/>
                        </a:defRPr>
                      </a:lvl3pPr>
                      <a:lvl4pPr marL="1293179" algn="l" defTabSz="862119" rtl="0" eaLnBrk="1" latinLnBrk="0" hangingPunct="1">
                        <a:defRPr sz="1697" b="1" kern="1200">
                          <a:solidFill>
                            <a:schemeClr val="lt1"/>
                          </a:solidFill>
                          <a:latin typeface="Arial"/>
                          <a:cs typeface="CordiaUPC"/>
                        </a:defRPr>
                      </a:lvl4pPr>
                      <a:lvl5pPr marL="1724238" algn="l" defTabSz="862119" rtl="0" eaLnBrk="1" latinLnBrk="0" hangingPunct="1">
                        <a:defRPr sz="1697" b="1" kern="1200">
                          <a:solidFill>
                            <a:schemeClr val="lt1"/>
                          </a:solidFill>
                          <a:latin typeface="Arial"/>
                          <a:cs typeface="CordiaUPC"/>
                        </a:defRPr>
                      </a:lvl5pPr>
                      <a:lvl6pPr marL="2155298" algn="l" defTabSz="862119" rtl="0" eaLnBrk="1" latinLnBrk="0" hangingPunct="1">
                        <a:defRPr sz="1697" b="1" kern="1200">
                          <a:solidFill>
                            <a:schemeClr val="lt1"/>
                          </a:solidFill>
                          <a:latin typeface="Arial"/>
                          <a:cs typeface="CordiaUPC"/>
                        </a:defRPr>
                      </a:lvl6pPr>
                      <a:lvl7pPr marL="2586358" algn="l" defTabSz="862119" rtl="0" eaLnBrk="1" latinLnBrk="0" hangingPunct="1">
                        <a:defRPr sz="1697" b="1" kern="1200">
                          <a:solidFill>
                            <a:schemeClr val="lt1"/>
                          </a:solidFill>
                          <a:latin typeface="Arial"/>
                          <a:cs typeface="CordiaUPC"/>
                        </a:defRPr>
                      </a:lvl7pPr>
                      <a:lvl8pPr marL="3017417" algn="l" defTabSz="862119" rtl="0" eaLnBrk="1" latinLnBrk="0" hangingPunct="1">
                        <a:defRPr sz="1697" b="1" kern="1200">
                          <a:solidFill>
                            <a:schemeClr val="lt1"/>
                          </a:solidFill>
                          <a:latin typeface="Arial"/>
                          <a:cs typeface="CordiaUPC"/>
                        </a:defRPr>
                      </a:lvl8pPr>
                      <a:lvl9pPr marL="3448477" algn="l" defTabSz="862119" rtl="0" eaLnBrk="1" latinLnBrk="0" hangingPunct="1">
                        <a:defRPr sz="1697" b="1" kern="1200">
                          <a:solidFill>
                            <a:schemeClr val="lt1"/>
                          </a:solidFill>
                          <a:latin typeface="Arial"/>
                          <a:cs typeface="CordiaUPC"/>
                        </a:defRPr>
                      </a:lvl9pPr>
                    </a:lstStyle>
                    <a:p>
                      <a:pPr marL="0" marR="0" lvl="0" indent="0" algn="ctr" defTabSz="86211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Week 6</a:t>
                      </a:r>
                    </a:p>
                  </a:txBody>
                  <a:tcPr marL="0" marR="0" marT="9139" marB="913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algn="l" defTabSz="862119" rtl="0" eaLnBrk="1" latinLnBrk="0" hangingPunct="1">
                        <a:defRPr sz="1697" b="1" kern="1200">
                          <a:solidFill>
                            <a:schemeClr val="lt1"/>
                          </a:solidFill>
                          <a:latin typeface="Arial"/>
                          <a:cs typeface="CordiaUPC"/>
                        </a:defRPr>
                      </a:lvl1pPr>
                      <a:lvl2pPr marL="431060" algn="l" defTabSz="862119" rtl="0" eaLnBrk="1" latinLnBrk="0" hangingPunct="1">
                        <a:defRPr sz="1697" b="1" kern="1200">
                          <a:solidFill>
                            <a:schemeClr val="lt1"/>
                          </a:solidFill>
                          <a:latin typeface="Arial"/>
                          <a:cs typeface="CordiaUPC"/>
                        </a:defRPr>
                      </a:lvl2pPr>
                      <a:lvl3pPr marL="862119" algn="l" defTabSz="862119" rtl="0" eaLnBrk="1" latinLnBrk="0" hangingPunct="1">
                        <a:defRPr sz="1697" b="1" kern="1200">
                          <a:solidFill>
                            <a:schemeClr val="lt1"/>
                          </a:solidFill>
                          <a:latin typeface="Arial"/>
                          <a:cs typeface="CordiaUPC"/>
                        </a:defRPr>
                      </a:lvl3pPr>
                      <a:lvl4pPr marL="1293179" algn="l" defTabSz="862119" rtl="0" eaLnBrk="1" latinLnBrk="0" hangingPunct="1">
                        <a:defRPr sz="1697" b="1" kern="1200">
                          <a:solidFill>
                            <a:schemeClr val="lt1"/>
                          </a:solidFill>
                          <a:latin typeface="Arial"/>
                          <a:cs typeface="CordiaUPC"/>
                        </a:defRPr>
                      </a:lvl4pPr>
                      <a:lvl5pPr marL="1724238" algn="l" defTabSz="862119" rtl="0" eaLnBrk="1" latinLnBrk="0" hangingPunct="1">
                        <a:defRPr sz="1697" b="1" kern="1200">
                          <a:solidFill>
                            <a:schemeClr val="lt1"/>
                          </a:solidFill>
                          <a:latin typeface="Arial"/>
                          <a:cs typeface="CordiaUPC"/>
                        </a:defRPr>
                      </a:lvl5pPr>
                      <a:lvl6pPr marL="2155298" algn="l" defTabSz="862119" rtl="0" eaLnBrk="1" latinLnBrk="0" hangingPunct="1">
                        <a:defRPr sz="1697" b="1" kern="1200">
                          <a:solidFill>
                            <a:schemeClr val="lt1"/>
                          </a:solidFill>
                          <a:latin typeface="Arial"/>
                          <a:cs typeface="CordiaUPC"/>
                        </a:defRPr>
                      </a:lvl6pPr>
                      <a:lvl7pPr marL="2586358" algn="l" defTabSz="862119" rtl="0" eaLnBrk="1" latinLnBrk="0" hangingPunct="1">
                        <a:defRPr sz="1697" b="1" kern="1200">
                          <a:solidFill>
                            <a:schemeClr val="lt1"/>
                          </a:solidFill>
                          <a:latin typeface="Arial"/>
                          <a:cs typeface="CordiaUPC"/>
                        </a:defRPr>
                      </a:lvl7pPr>
                      <a:lvl8pPr marL="3017417" algn="l" defTabSz="862119" rtl="0" eaLnBrk="1" latinLnBrk="0" hangingPunct="1">
                        <a:defRPr sz="1697" b="1" kern="1200">
                          <a:solidFill>
                            <a:schemeClr val="lt1"/>
                          </a:solidFill>
                          <a:latin typeface="Arial"/>
                          <a:cs typeface="CordiaUPC"/>
                        </a:defRPr>
                      </a:lvl8pPr>
                      <a:lvl9pPr marL="3448477" algn="l" defTabSz="862119" rtl="0" eaLnBrk="1" latinLnBrk="0" hangingPunct="1">
                        <a:defRPr sz="1697" b="1" kern="1200">
                          <a:solidFill>
                            <a:schemeClr val="lt1"/>
                          </a:solidFill>
                          <a:latin typeface="Arial"/>
                          <a:cs typeface="CordiaUPC"/>
                        </a:defRPr>
                      </a:lvl9pPr>
                    </a:lstStyle>
                    <a:p>
                      <a:pPr marL="0" marR="0" lvl="0" indent="0" algn="ctr" defTabSz="86211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Week 7</a:t>
                      </a:r>
                    </a:p>
                  </a:txBody>
                  <a:tcPr marL="0" marR="0" marT="9139" marB="913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86211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Week 8</a:t>
                      </a:r>
                    </a:p>
                  </a:txBody>
                  <a:tcPr marL="0" marR="0" marT="9139" marB="9139"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594051">
                <a:tc>
                  <a:txBody>
                    <a:bodyPr/>
                    <a:lstStyle/>
                    <a:p>
                      <a:pPr algn="ctr"/>
                      <a:r>
                        <a:rPr lang="en-US" sz="1100" b="1" kern="1200">
                          <a:solidFill>
                            <a:schemeClr val="bg1"/>
                          </a:solidFill>
                          <a:latin typeface="+mn-lt"/>
                          <a:ea typeface="+mn-ea"/>
                          <a:cs typeface="+mn-cs"/>
                        </a:rPr>
                        <a:t>1</a:t>
                      </a:r>
                    </a:p>
                  </a:txBody>
                  <a:tcPr marL="45698" marR="45698" marT="45698" marB="45698"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r>
                        <a:rPr lang="en-US" sz="1200" b="1" kern="1200">
                          <a:solidFill>
                            <a:schemeClr val="bg1"/>
                          </a:solidFill>
                          <a:latin typeface="+mn-lt"/>
                          <a:ea typeface="+mn-ea"/>
                          <a:cs typeface="+mn-cs"/>
                        </a:rPr>
                        <a:t>Project Mobilization</a:t>
                      </a:r>
                    </a:p>
                  </a:txBody>
                  <a:tcPr marL="663137" marR="45698" marT="45698" marB="45698"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lvl1pPr marL="0" algn="l" defTabSz="862119" rtl="0" eaLnBrk="1" latinLnBrk="0" hangingPunct="1">
                        <a:defRPr sz="1697" kern="1200">
                          <a:solidFill>
                            <a:schemeClr val="dk1"/>
                          </a:solidFill>
                          <a:latin typeface="Arial"/>
                          <a:cs typeface="CordiaUPC"/>
                        </a:defRPr>
                      </a:lvl1pPr>
                      <a:lvl2pPr marL="431060" algn="l" defTabSz="862119" rtl="0" eaLnBrk="1" latinLnBrk="0" hangingPunct="1">
                        <a:defRPr sz="1697" kern="1200">
                          <a:solidFill>
                            <a:schemeClr val="dk1"/>
                          </a:solidFill>
                          <a:latin typeface="Arial"/>
                          <a:cs typeface="CordiaUPC"/>
                        </a:defRPr>
                      </a:lvl2pPr>
                      <a:lvl3pPr marL="862119" algn="l" defTabSz="862119" rtl="0" eaLnBrk="1" latinLnBrk="0" hangingPunct="1">
                        <a:defRPr sz="1697" kern="1200">
                          <a:solidFill>
                            <a:schemeClr val="dk1"/>
                          </a:solidFill>
                          <a:latin typeface="Arial"/>
                          <a:cs typeface="CordiaUPC"/>
                        </a:defRPr>
                      </a:lvl3pPr>
                      <a:lvl4pPr marL="1293179" algn="l" defTabSz="862119" rtl="0" eaLnBrk="1" latinLnBrk="0" hangingPunct="1">
                        <a:defRPr sz="1697" kern="1200">
                          <a:solidFill>
                            <a:schemeClr val="dk1"/>
                          </a:solidFill>
                          <a:latin typeface="Arial"/>
                          <a:cs typeface="CordiaUPC"/>
                        </a:defRPr>
                      </a:lvl4pPr>
                      <a:lvl5pPr marL="1724238" algn="l" defTabSz="862119" rtl="0" eaLnBrk="1" latinLnBrk="0" hangingPunct="1">
                        <a:defRPr sz="1697" kern="1200">
                          <a:solidFill>
                            <a:schemeClr val="dk1"/>
                          </a:solidFill>
                          <a:latin typeface="Arial"/>
                          <a:cs typeface="CordiaUPC"/>
                        </a:defRPr>
                      </a:lvl5pPr>
                      <a:lvl6pPr marL="2155298" algn="l" defTabSz="862119" rtl="0" eaLnBrk="1" latinLnBrk="0" hangingPunct="1">
                        <a:defRPr sz="1697" kern="1200">
                          <a:solidFill>
                            <a:schemeClr val="dk1"/>
                          </a:solidFill>
                          <a:latin typeface="Arial"/>
                          <a:cs typeface="CordiaUPC"/>
                        </a:defRPr>
                      </a:lvl6pPr>
                      <a:lvl7pPr marL="2586358" algn="l" defTabSz="862119" rtl="0" eaLnBrk="1" latinLnBrk="0" hangingPunct="1">
                        <a:defRPr sz="1697" kern="1200">
                          <a:solidFill>
                            <a:schemeClr val="dk1"/>
                          </a:solidFill>
                          <a:latin typeface="Arial"/>
                          <a:cs typeface="CordiaUPC"/>
                        </a:defRPr>
                      </a:lvl7pPr>
                      <a:lvl8pPr marL="3017417" algn="l" defTabSz="862119" rtl="0" eaLnBrk="1" latinLnBrk="0" hangingPunct="1">
                        <a:defRPr sz="1697" kern="1200">
                          <a:solidFill>
                            <a:schemeClr val="dk1"/>
                          </a:solidFill>
                          <a:latin typeface="Arial"/>
                          <a:cs typeface="CordiaUPC"/>
                        </a:defRPr>
                      </a:lvl8pPr>
                      <a:lvl9pPr marL="3448477" algn="l" defTabSz="862119" rtl="0" eaLnBrk="1" latinLnBrk="0" hangingPunct="1">
                        <a:defRPr sz="1697" kern="1200">
                          <a:solidFill>
                            <a:schemeClr val="dk1"/>
                          </a:solidFill>
                          <a:latin typeface="Arial"/>
                          <a:cs typeface="CordiaUPC"/>
                        </a:defRPr>
                      </a:lvl9pPr>
                    </a:lstStyle>
                    <a:p>
                      <a:endParaRPr lang="en-US" sz="900">
                        <a:latin typeface="EYInterstate" panose="02000503020000020004" pitchFamily="2" charset="0"/>
                      </a:endParaRPr>
                    </a:p>
                  </a:txBody>
                  <a:tcPr marL="0" marR="0" marT="0" marB="0">
                    <a:lnL w="12700" cap="flat" cmpd="sng" algn="ctr">
                      <a:solidFill>
                        <a:schemeClr val="tx2"/>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endParaRPr lang="en-US"/>
                    </a:p>
                  </a:txBody>
                  <a:tcPr/>
                </a:tc>
                <a:tc>
                  <a:txBody>
                    <a:bodyPr/>
                    <a:lstStyle>
                      <a:lvl1pPr marL="0" algn="l" defTabSz="862119" rtl="0" eaLnBrk="1" latinLnBrk="0" hangingPunct="1">
                        <a:defRPr sz="1697" kern="1200">
                          <a:solidFill>
                            <a:schemeClr val="dk1"/>
                          </a:solidFill>
                          <a:latin typeface="Arial"/>
                          <a:cs typeface="CordiaUPC"/>
                        </a:defRPr>
                      </a:lvl1pPr>
                      <a:lvl2pPr marL="431060" algn="l" defTabSz="862119" rtl="0" eaLnBrk="1" latinLnBrk="0" hangingPunct="1">
                        <a:defRPr sz="1697" kern="1200">
                          <a:solidFill>
                            <a:schemeClr val="dk1"/>
                          </a:solidFill>
                          <a:latin typeface="Arial"/>
                          <a:cs typeface="CordiaUPC"/>
                        </a:defRPr>
                      </a:lvl2pPr>
                      <a:lvl3pPr marL="862119" algn="l" defTabSz="862119" rtl="0" eaLnBrk="1" latinLnBrk="0" hangingPunct="1">
                        <a:defRPr sz="1697" kern="1200">
                          <a:solidFill>
                            <a:schemeClr val="dk1"/>
                          </a:solidFill>
                          <a:latin typeface="Arial"/>
                          <a:cs typeface="CordiaUPC"/>
                        </a:defRPr>
                      </a:lvl3pPr>
                      <a:lvl4pPr marL="1293179" algn="l" defTabSz="862119" rtl="0" eaLnBrk="1" latinLnBrk="0" hangingPunct="1">
                        <a:defRPr sz="1697" kern="1200">
                          <a:solidFill>
                            <a:schemeClr val="dk1"/>
                          </a:solidFill>
                          <a:latin typeface="Arial"/>
                          <a:cs typeface="CordiaUPC"/>
                        </a:defRPr>
                      </a:lvl4pPr>
                      <a:lvl5pPr marL="1724238" algn="l" defTabSz="862119" rtl="0" eaLnBrk="1" latinLnBrk="0" hangingPunct="1">
                        <a:defRPr sz="1697" kern="1200">
                          <a:solidFill>
                            <a:schemeClr val="dk1"/>
                          </a:solidFill>
                          <a:latin typeface="Arial"/>
                          <a:cs typeface="CordiaUPC"/>
                        </a:defRPr>
                      </a:lvl5pPr>
                      <a:lvl6pPr marL="2155298" algn="l" defTabSz="862119" rtl="0" eaLnBrk="1" latinLnBrk="0" hangingPunct="1">
                        <a:defRPr sz="1697" kern="1200">
                          <a:solidFill>
                            <a:schemeClr val="dk1"/>
                          </a:solidFill>
                          <a:latin typeface="Arial"/>
                          <a:cs typeface="CordiaUPC"/>
                        </a:defRPr>
                      </a:lvl6pPr>
                      <a:lvl7pPr marL="2586358" algn="l" defTabSz="862119" rtl="0" eaLnBrk="1" latinLnBrk="0" hangingPunct="1">
                        <a:defRPr sz="1697" kern="1200">
                          <a:solidFill>
                            <a:schemeClr val="dk1"/>
                          </a:solidFill>
                          <a:latin typeface="Arial"/>
                          <a:cs typeface="CordiaUPC"/>
                        </a:defRPr>
                      </a:lvl7pPr>
                      <a:lvl8pPr marL="3017417" algn="l" defTabSz="862119" rtl="0" eaLnBrk="1" latinLnBrk="0" hangingPunct="1">
                        <a:defRPr sz="1697" kern="1200">
                          <a:solidFill>
                            <a:schemeClr val="dk1"/>
                          </a:solidFill>
                          <a:latin typeface="Arial"/>
                          <a:cs typeface="CordiaUPC"/>
                        </a:defRPr>
                      </a:lvl8pPr>
                      <a:lvl9pPr marL="3448477" algn="l" defTabSz="862119" rtl="0" eaLnBrk="1" latinLnBrk="0" hangingPunct="1">
                        <a:defRPr sz="1697" kern="1200">
                          <a:solidFill>
                            <a:schemeClr val="dk1"/>
                          </a:solidFill>
                          <a:latin typeface="Arial"/>
                          <a:cs typeface="CordiaUPC"/>
                        </a:defRPr>
                      </a:lvl9p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862119" rtl="0" eaLnBrk="1" latinLnBrk="0" hangingPunct="1">
                        <a:defRPr sz="1697" kern="1200">
                          <a:solidFill>
                            <a:schemeClr val="dk1"/>
                          </a:solidFill>
                          <a:latin typeface="Arial"/>
                          <a:cs typeface="CordiaUPC"/>
                        </a:defRPr>
                      </a:lvl1pPr>
                      <a:lvl2pPr marL="431060" algn="l" defTabSz="862119" rtl="0" eaLnBrk="1" latinLnBrk="0" hangingPunct="1">
                        <a:defRPr sz="1697" kern="1200">
                          <a:solidFill>
                            <a:schemeClr val="dk1"/>
                          </a:solidFill>
                          <a:latin typeface="Arial"/>
                          <a:cs typeface="CordiaUPC"/>
                        </a:defRPr>
                      </a:lvl2pPr>
                      <a:lvl3pPr marL="862119" algn="l" defTabSz="862119" rtl="0" eaLnBrk="1" latinLnBrk="0" hangingPunct="1">
                        <a:defRPr sz="1697" kern="1200">
                          <a:solidFill>
                            <a:schemeClr val="dk1"/>
                          </a:solidFill>
                          <a:latin typeface="Arial"/>
                          <a:cs typeface="CordiaUPC"/>
                        </a:defRPr>
                      </a:lvl3pPr>
                      <a:lvl4pPr marL="1293179" algn="l" defTabSz="862119" rtl="0" eaLnBrk="1" latinLnBrk="0" hangingPunct="1">
                        <a:defRPr sz="1697" kern="1200">
                          <a:solidFill>
                            <a:schemeClr val="dk1"/>
                          </a:solidFill>
                          <a:latin typeface="Arial"/>
                          <a:cs typeface="CordiaUPC"/>
                        </a:defRPr>
                      </a:lvl4pPr>
                      <a:lvl5pPr marL="1724238" algn="l" defTabSz="862119" rtl="0" eaLnBrk="1" latinLnBrk="0" hangingPunct="1">
                        <a:defRPr sz="1697" kern="1200">
                          <a:solidFill>
                            <a:schemeClr val="dk1"/>
                          </a:solidFill>
                          <a:latin typeface="Arial"/>
                          <a:cs typeface="CordiaUPC"/>
                        </a:defRPr>
                      </a:lvl5pPr>
                      <a:lvl6pPr marL="2155298" algn="l" defTabSz="862119" rtl="0" eaLnBrk="1" latinLnBrk="0" hangingPunct="1">
                        <a:defRPr sz="1697" kern="1200">
                          <a:solidFill>
                            <a:schemeClr val="dk1"/>
                          </a:solidFill>
                          <a:latin typeface="Arial"/>
                          <a:cs typeface="CordiaUPC"/>
                        </a:defRPr>
                      </a:lvl6pPr>
                      <a:lvl7pPr marL="2586358" algn="l" defTabSz="862119" rtl="0" eaLnBrk="1" latinLnBrk="0" hangingPunct="1">
                        <a:defRPr sz="1697" kern="1200">
                          <a:solidFill>
                            <a:schemeClr val="dk1"/>
                          </a:solidFill>
                          <a:latin typeface="Arial"/>
                          <a:cs typeface="CordiaUPC"/>
                        </a:defRPr>
                      </a:lvl7pPr>
                      <a:lvl8pPr marL="3017417" algn="l" defTabSz="862119" rtl="0" eaLnBrk="1" latinLnBrk="0" hangingPunct="1">
                        <a:defRPr sz="1697" kern="1200">
                          <a:solidFill>
                            <a:schemeClr val="dk1"/>
                          </a:solidFill>
                          <a:latin typeface="Arial"/>
                          <a:cs typeface="CordiaUPC"/>
                        </a:defRPr>
                      </a:lvl8pPr>
                      <a:lvl9pPr marL="3448477" algn="l" defTabSz="862119" rtl="0" eaLnBrk="1" latinLnBrk="0" hangingPunct="1">
                        <a:defRPr sz="1697" kern="1200">
                          <a:solidFill>
                            <a:schemeClr val="dk1"/>
                          </a:solidFill>
                          <a:latin typeface="Arial"/>
                          <a:cs typeface="CordiaUPC"/>
                        </a:defRPr>
                      </a:lvl9p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862119" rtl="0" eaLnBrk="1" latinLnBrk="0" hangingPunct="1">
                        <a:defRPr sz="1697" kern="1200">
                          <a:solidFill>
                            <a:schemeClr val="dk1"/>
                          </a:solidFill>
                          <a:latin typeface="Arial"/>
                          <a:cs typeface="CordiaUPC"/>
                        </a:defRPr>
                      </a:lvl1pPr>
                      <a:lvl2pPr marL="431060" algn="l" defTabSz="862119" rtl="0" eaLnBrk="1" latinLnBrk="0" hangingPunct="1">
                        <a:defRPr sz="1697" kern="1200">
                          <a:solidFill>
                            <a:schemeClr val="dk1"/>
                          </a:solidFill>
                          <a:latin typeface="Arial"/>
                          <a:cs typeface="CordiaUPC"/>
                        </a:defRPr>
                      </a:lvl2pPr>
                      <a:lvl3pPr marL="862119" algn="l" defTabSz="862119" rtl="0" eaLnBrk="1" latinLnBrk="0" hangingPunct="1">
                        <a:defRPr sz="1697" kern="1200">
                          <a:solidFill>
                            <a:schemeClr val="dk1"/>
                          </a:solidFill>
                          <a:latin typeface="Arial"/>
                          <a:cs typeface="CordiaUPC"/>
                        </a:defRPr>
                      </a:lvl3pPr>
                      <a:lvl4pPr marL="1293179" algn="l" defTabSz="862119" rtl="0" eaLnBrk="1" latinLnBrk="0" hangingPunct="1">
                        <a:defRPr sz="1697" kern="1200">
                          <a:solidFill>
                            <a:schemeClr val="dk1"/>
                          </a:solidFill>
                          <a:latin typeface="Arial"/>
                          <a:cs typeface="CordiaUPC"/>
                        </a:defRPr>
                      </a:lvl4pPr>
                      <a:lvl5pPr marL="1724238" algn="l" defTabSz="862119" rtl="0" eaLnBrk="1" latinLnBrk="0" hangingPunct="1">
                        <a:defRPr sz="1697" kern="1200">
                          <a:solidFill>
                            <a:schemeClr val="dk1"/>
                          </a:solidFill>
                          <a:latin typeface="Arial"/>
                          <a:cs typeface="CordiaUPC"/>
                        </a:defRPr>
                      </a:lvl5pPr>
                      <a:lvl6pPr marL="2155298" algn="l" defTabSz="862119" rtl="0" eaLnBrk="1" latinLnBrk="0" hangingPunct="1">
                        <a:defRPr sz="1697" kern="1200">
                          <a:solidFill>
                            <a:schemeClr val="dk1"/>
                          </a:solidFill>
                          <a:latin typeface="Arial"/>
                          <a:cs typeface="CordiaUPC"/>
                        </a:defRPr>
                      </a:lvl6pPr>
                      <a:lvl7pPr marL="2586358" algn="l" defTabSz="862119" rtl="0" eaLnBrk="1" latinLnBrk="0" hangingPunct="1">
                        <a:defRPr sz="1697" kern="1200">
                          <a:solidFill>
                            <a:schemeClr val="dk1"/>
                          </a:solidFill>
                          <a:latin typeface="Arial"/>
                          <a:cs typeface="CordiaUPC"/>
                        </a:defRPr>
                      </a:lvl7pPr>
                      <a:lvl8pPr marL="3017417" algn="l" defTabSz="862119" rtl="0" eaLnBrk="1" latinLnBrk="0" hangingPunct="1">
                        <a:defRPr sz="1697" kern="1200">
                          <a:solidFill>
                            <a:schemeClr val="dk1"/>
                          </a:solidFill>
                          <a:latin typeface="Arial"/>
                          <a:cs typeface="CordiaUPC"/>
                        </a:defRPr>
                      </a:lvl8pPr>
                      <a:lvl9pPr marL="3448477" algn="l" defTabSz="862119" rtl="0" eaLnBrk="1" latinLnBrk="0" hangingPunct="1">
                        <a:defRPr sz="1697" kern="1200">
                          <a:solidFill>
                            <a:schemeClr val="dk1"/>
                          </a:solidFill>
                          <a:latin typeface="Arial"/>
                          <a:cs typeface="CordiaUPC"/>
                        </a:defRPr>
                      </a:lvl9pPr>
                    </a:lstStyle>
                    <a:p>
                      <a:endParaRPr lang="en-US" sz="900" b="1">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862119" rtl="0" eaLnBrk="1" latinLnBrk="0" hangingPunct="1">
                        <a:defRPr sz="1697" kern="1200">
                          <a:solidFill>
                            <a:schemeClr val="dk1"/>
                          </a:solidFill>
                          <a:latin typeface="Arial"/>
                          <a:cs typeface="CordiaUPC"/>
                        </a:defRPr>
                      </a:lvl1pPr>
                      <a:lvl2pPr marL="431060" algn="l" defTabSz="862119" rtl="0" eaLnBrk="1" latinLnBrk="0" hangingPunct="1">
                        <a:defRPr sz="1697" kern="1200">
                          <a:solidFill>
                            <a:schemeClr val="dk1"/>
                          </a:solidFill>
                          <a:latin typeface="Arial"/>
                          <a:cs typeface="CordiaUPC"/>
                        </a:defRPr>
                      </a:lvl2pPr>
                      <a:lvl3pPr marL="862119" algn="l" defTabSz="862119" rtl="0" eaLnBrk="1" latinLnBrk="0" hangingPunct="1">
                        <a:defRPr sz="1697" kern="1200">
                          <a:solidFill>
                            <a:schemeClr val="dk1"/>
                          </a:solidFill>
                          <a:latin typeface="Arial"/>
                          <a:cs typeface="CordiaUPC"/>
                        </a:defRPr>
                      </a:lvl3pPr>
                      <a:lvl4pPr marL="1293179" algn="l" defTabSz="862119" rtl="0" eaLnBrk="1" latinLnBrk="0" hangingPunct="1">
                        <a:defRPr sz="1697" kern="1200">
                          <a:solidFill>
                            <a:schemeClr val="dk1"/>
                          </a:solidFill>
                          <a:latin typeface="Arial"/>
                          <a:cs typeface="CordiaUPC"/>
                        </a:defRPr>
                      </a:lvl4pPr>
                      <a:lvl5pPr marL="1724238" algn="l" defTabSz="862119" rtl="0" eaLnBrk="1" latinLnBrk="0" hangingPunct="1">
                        <a:defRPr sz="1697" kern="1200">
                          <a:solidFill>
                            <a:schemeClr val="dk1"/>
                          </a:solidFill>
                          <a:latin typeface="Arial"/>
                          <a:cs typeface="CordiaUPC"/>
                        </a:defRPr>
                      </a:lvl5pPr>
                      <a:lvl6pPr marL="2155298" algn="l" defTabSz="862119" rtl="0" eaLnBrk="1" latinLnBrk="0" hangingPunct="1">
                        <a:defRPr sz="1697" kern="1200">
                          <a:solidFill>
                            <a:schemeClr val="dk1"/>
                          </a:solidFill>
                          <a:latin typeface="Arial"/>
                          <a:cs typeface="CordiaUPC"/>
                        </a:defRPr>
                      </a:lvl6pPr>
                      <a:lvl7pPr marL="2586358" algn="l" defTabSz="862119" rtl="0" eaLnBrk="1" latinLnBrk="0" hangingPunct="1">
                        <a:defRPr sz="1697" kern="1200">
                          <a:solidFill>
                            <a:schemeClr val="dk1"/>
                          </a:solidFill>
                          <a:latin typeface="Arial"/>
                          <a:cs typeface="CordiaUPC"/>
                        </a:defRPr>
                      </a:lvl7pPr>
                      <a:lvl8pPr marL="3017417" algn="l" defTabSz="862119" rtl="0" eaLnBrk="1" latinLnBrk="0" hangingPunct="1">
                        <a:defRPr sz="1697" kern="1200">
                          <a:solidFill>
                            <a:schemeClr val="dk1"/>
                          </a:solidFill>
                          <a:latin typeface="Arial"/>
                          <a:cs typeface="CordiaUPC"/>
                        </a:defRPr>
                      </a:lvl8pPr>
                      <a:lvl9pPr marL="3448477" algn="l" defTabSz="862119" rtl="0" eaLnBrk="1" latinLnBrk="0" hangingPunct="1">
                        <a:defRPr sz="1697" kern="1200">
                          <a:solidFill>
                            <a:schemeClr val="dk1"/>
                          </a:solidFill>
                          <a:latin typeface="Arial"/>
                          <a:cs typeface="CordiaUPC"/>
                        </a:defRPr>
                      </a:lvl9p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862119" rtl="0" eaLnBrk="1" latinLnBrk="0" hangingPunct="1">
                        <a:defRPr sz="1697" kern="1200">
                          <a:solidFill>
                            <a:schemeClr val="dk1"/>
                          </a:solidFill>
                          <a:latin typeface="Arial"/>
                          <a:cs typeface="CordiaUPC"/>
                        </a:defRPr>
                      </a:lvl1pPr>
                      <a:lvl2pPr marL="431060" algn="l" defTabSz="862119" rtl="0" eaLnBrk="1" latinLnBrk="0" hangingPunct="1">
                        <a:defRPr sz="1697" kern="1200">
                          <a:solidFill>
                            <a:schemeClr val="dk1"/>
                          </a:solidFill>
                          <a:latin typeface="Arial"/>
                          <a:cs typeface="CordiaUPC"/>
                        </a:defRPr>
                      </a:lvl2pPr>
                      <a:lvl3pPr marL="862119" algn="l" defTabSz="862119" rtl="0" eaLnBrk="1" latinLnBrk="0" hangingPunct="1">
                        <a:defRPr sz="1697" kern="1200">
                          <a:solidFill>
                            <a:schemeClr val="dk1"/>
                          </a:solidFill>
                          <a:latin typeface="Arial"/>
                          <a:cs typeface="CordiaUPC"/>
                        </a:defRPr>
                      </a:lvl3pPr>
                      <a:lvl4pPr marL="1293179" algn="l" defTabSz="862119" rtl="0" eaLnBrk="1" latinLnBrk="0" hangingPunct="1">
                        <a:defRPr sz="1697" kern="1200">
                          <a:solidFill>
                            <a:schemeClr val="dk1"/>
                          </a:solidFill>
                          <a:latin typeface="Arial"/>
                          <a:cs typeface="CordiaUPC"/>
                        </a:defRPr>
                      </a:lvl4pPr>
                      <a:lvl5pPr marL="1724238" algn="l" defTabSz="862119" rtl="0" eaLnBrk="1" latinLnBrk="0" hangingPunct="1">
                        <a:defRPr sz="1697" kern="1200">
                          <a:solidFill>
                            <a:schemeClr val="dk1"/>
                          </a:solidFill>
                          <a:latin typeface="Arial"/>
                          <a:cs typeface="CordiaUPC"/>
                        </a:defRPr>
                      </a:lvl5pPr>
                      <a:lvl6pPr marL="2155298" algn="l" defTabSz="862119" rtl="0" eaLnBrk="1" latinLnBrk="0" hangingPunct="1">
                        <a:defRPr sz="1697" kern="1200">
                          <a:solidFill>
                            <a:schemeClr val="dk1"/>
                          </a:solidFill>
                          <a:latin typeface="Arial"/>
                          <a:cs typeface="CordiaUPC"/>
                        </a:defRPr>
                      </a:lvl6pPr>
                      <a:lvl7pPr marL="2586358" algn="l" defTabSz="862119" rtl="0" eaLnBrk="1" latinLnBrk="0" hangingPunct="1">
                        <a:defRPr sz="1697" kern="1200">
                          <a:solidFill>
                            <a:schemeClr val="dk1"/>
                          </a:solidFill>
                          <a:latin typeface="Arial"/>
                          <a:cs typeface="CordiaUPC"/>
                        </a:defRPr>
                      </a:lvl7pPr>
                      <a:lvl8pPr marL="3017417" algn="l" defTabSz="862119" rtl="0" eaLnBrk="1" latinLnBrk="0" hangingPunct="1">
                        <a:defRPr sz="1697" kern="1200">
                          <a:solidFill>
                            <a:schemeClr val="dk1"/>
                          </a:solidFill>
                          <a:latin typeface="Arial"/>
                          <a:cs typeface="CordiaUPC"/>
                        </a:defRPr>
                      </a:lvl8pPr>
                      <a:lvl9pPr marL="3448477" algn="l" defTabSz="862119" rtl="0" eaLnBrk="1" latinLnBrk="0" hangingPunct="1">
                        <a:defRPr sz="1697" kern="1200">
                          <a:solidFill>
                            <a:schemeClr val="dk1"/>
                          </a:solidFill>
                          <a:latin typeface="Arial"/>
                          <a:cs typeface="CordiaUPC"/>
                        </a:defRPr>
                      </a:lvl9p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862119" rtl="0" eaLnBrk="1" latinLnBrk="0" hangingPunct="1">
                        <a:defRPr sz="1697" kern="1200">
                          <a:solidFill>
                            <a:schemeClr val="dk1"/>
                          </a:solidFill>
                          <a:latin typeface="Arial"/>
                          <a:cs typeface="CordiaUPC"/>
                        </a:defRPr>
                      </a:lvl1pPr>
                      <a:lvl2pPr marL="431060" algn="l" defTabSz="862119" rtl="0" eaLnBrk="1" latinLnBrk="0" hangingPunct="1">
                        <a:defRPr sz="1697" kern="1200">
                          <a:solidFill>
                            <a:schemeClr val="dk1"/>
                          </a:solidFill>
                          <a:latin typeface="Arial"/>
                          <a:cs typeface="CordiaUPC"/>
                        </a:defRPr>
                      </a:lvl2pPr>
                      <a:lvl3pPr marL="862119" algn="l" defTabSz="862119" rtl="0" eaLnBrk="1" latinLnBrk="0" hangingPunct="1">
                        <a:defRPr sz="1697" kern="1200">
                          <a:solidFill>
                            <a:schemeClr val="dk1"/>
                          </a:solidFill>
                          <a:latin typeface="Arial"/>
                          <a:cs typeface="CordiaUPC"/>
                        </a:defRPr>
                      </a:lvl3pPr>
                      <a:lvl4pPr marL="1293179" algn="l" defTabSz="862119" rtl="0" eaLnBrk="1" latinLnBrk="0" hangingPunct="1">
                        <a:defRPr sz="1697" kern="1200">
                          <a:solidFill>
                            <a:schemeClr val="dk1"/>
                          </a:solidFill>
                          <a:latin typeface="Arial"/>
                          <a:cs typeface="CordiaUPC"/>
                        </a:defRPr>
                      </a:lvl4pPr>
                      <a:lvl5pPr marL="1724238" algn="l" defTabSz="862119" rtl="0" eaLnBrk="1" latinLnBrk="0" hangingPunct="1">
                        <a:defRPr sz="1697" kern="1200">
                          <a:solidFill>
                            <a:schemeClr val="dk1"/>
                          </a:solidFill>
                          <a:latin typeface="Arial"/>
                          <a:cs typeface="CordiaUPC"/>
                        </a:defRPr>
                      </a:lvl5pPr>
                      <a:lvl6pPr marL="2155298" algn="l" defTabSz="862119" rtl="0" eaLnBrk="1" latinLnBrk="0" hangingPunct="1">
                        <a:defRPr sz="1697" kern="1200">
                          <a:solidFill>
                            <a:schemeClr val="dk1"/>
                          </a:solidFill>
                          <a:latin typeface="Arial"/>
                          <a:cs typeface="CordiaUPC"/>
                        </a:defRPr>
                      </a:lvl6pPr>
                      <a:lvl7pPr marL="2586358" algn="l" defTabSz="862119" rtl="0" eaLnBrk="1" latinLnBrk="0" hangingPunct="1">
                        <a:defRPr sz="1697" kern="1200">
                          <a:solidFill>
                            <a:schemeClr val="dk1"/>
                          </a:solidFill>
                          <a:latin typeface="Arial"/>
                          <a:cs typeface="CordiaUPC"/>
                        </a:defRPr>
                      </a:lvl7pPr>
                      <a:lvl8pPr marL="3017417" algn="l" defTabSz="862119" rtl="0" eaLnBrk="1" latinLnBrk="0" hangingPunct="1">
                        <a:defRPr sz="1697" kern="1200">
                          <a:solidFill>
                            <a:schemeClr val="dk1"/>
                          </a:solidFill>
                          <a:latin typeface="Arial"/>
                          <a:cs typeface="CordiaUPC"/>
                        </a:defRPr>
                      </a:lvl8pPr>
                      <a:lvl9pPr marL="3448477" algn="l" defTabSz="862119" rtl="0" eaLnBrk="1" latinLnBrk="0" hangingPunct="1">
                        <a:defRPr sz="1697" kern="1200">
                          <a:solidFill>
                            <a:schemeClr val="dk1"/>
                          </a:solidFill>
                          <a:latin typeface="Arial"/>
                          <a:cs typeface="CordiaUPC"/>
                        </a:defRPr>
                      </a:lvl9p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862119" rtl="0" eaLnBrk="1" latinLnBrk="0" hangingPunct="1">
                        <a:defRPr sz="1697" kern="1200">
                          <a:solidFill>
                            <a:schemeClr val="dk1"/>
                          </a:solidFill>
                          <a:latin typeface="Arial"/>
                          <a:cs typeface="CordiaUPC"/>
                        </a:defRPr>
                      </a:lvl1pPr>
                      <a:lvl2pPr marL="431060" algn="l" defTabSz="862119" rtl="0" eaLnBrk="1" latinLnBrk="0" hangingPunct="1">
                        <a:defRPr sz="1697" kern="1200">
                          <a:solidFill>
                            <a:schemeClr val="dk1"/>
                          </a:solidFill>
                          <a:latin typeface="Arial"/>
                          <a:cs typeface="CordiaUPC"/>
                        </a:defRPr>
                      </a:lvl2pPr>
                      <a:lvl3pPr marL="862119" algn="l" defTabSz="862119" rtl="0" eaLnBrk="1" latinLnBrk="0" hangingPunct="1">
                        <a:defRPr sz="1697" kern="1200">
                          <a:solidFill>
                            <a:schemeClr val="dk1"/>
                          </a:solidFill>
                          <a:latin typeface="Arial"/>
                          <a:cs typeface="CordiaUPC"/>
                        </a:defRPr>
                      </a:lvl3pPr>
                      <a:lvl4pPr marL="1293179" algn="l" defTabSz="862119" rtl="0" eaLnBrk="1" latinLnBrk="0" hangingPunct="1">
                        <a:defRPr sz="1697" kern="1200">
                          <a:solidFill>
                            <a:schemeClr val="dk1"/>
                          </a:solidFill>
                          <a:latin typeface="Arial"/>
                          <a:cs typeface="CordiaUPC"/>
                        </a:defRPr>
                      </a:lvl4pPr>
                      <a:lvl5pPr marL="1724238" algn="l" defTabSz="862119" rtl="0" eaLnBrk="1" latinLnBrk="0" hangingPunct="1">
                        <a:defRPr sz="1697" kern="1200">
                          <a:solidFill>
                            <a:schemeClr val="dk1"/>
                          </a:solidFill>
                          <a:latin typeface="Arial"/>
                          <a:cs typeface="CordiaUPC"/>
                        </a:defRPr>
                      </a:lvl5pPr>
                      <a:lvl6pPr marL="2155298" algn="l" defTabSz="862119" rtl="0" eaLnBrk="1" latinLnBrk="0" hangingPunct="1">
                        <a:defRPr sz="1697" kern="1200">
                          <a:solidFill>
                            <a:schemeClr val="dk1"/>
                          </a:solidFill>
                          <a:latin typeface="Arial"/>
                          <a:cs typeface="CordiaUPC"/>
                        </a:defRPr>
                      </a:lvl6pPr>
                      <a:lvl7pPr marL="2586358" algn="l" defTabSz="862119" rtl="0" eaLnBrk="1" latinLnBrk="0" hangingPunct="1">
                        <a:defRPr sz="1697" kern="1200">
                          <a:solidFill>
                            <a:schemeClr val="dk1"/>
                          </a:solidFill>
                          <a:latin typeface="Arial"/>
                          <a:cs typeface="CordiaUPC"/>
                        </a:defRPr>
                      </a:lvl7pPr>
                      <a:lvl8pPr marL="3017417" algn="l" defTabSz="862119" rtl="0" eaLnBrk="1" latinLnBrk="0" hangingPunct="1">
                        <a:defRPr sz="1697" kern="1200">
                          <a:solidFill>
                            <a:schemeClr val="dk1"/>
                          </a:solidFill>
                          <a:latin typeface="Arial"/>
                          <a:cs typeface="CordiaUPC"/>
                        </a:defRPr>
                      </a:lvl8pPr>
                      <a:lvl9pPr marL="3448477" algn="l" defTabSz="862119" rtl="0" eaLnBrk="1" latinLnBrk="0" hangingPunct="1">
                        <a:defRPr sz="1697" kern="1200">
                          <a:solidFill>
                            <a:schemeClr val="dk1"/>
                          </a:solidFill>
                          <a:latin typeface="Arial"/>
                          <a:cs typeface="CordiaUPC"/>
                        </a:defRPr>
                      </a:lvl9p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63843728"/>
                  </a:ext>
                </a:extLst>
              </a:tr>
              <a:tr h="594051">
                <a:tc>
                  <a:txBody>
                    <a:bodyPr/>
                    <a:lstStyle/>
                    <a:p>
                      <a:pPr algn="ctr"/>
                      <a:r>
                        <a:rPr lang="en-US" sz="1100" b="1" kern="1200">
                          <a:solidFill>
                            <a:schemeClr val="bg1"/>
                          </a:solidFill>
                          <a:latin typeface="+mn-lt"/>
                          <a:ea typeface="+mn-ea"/>
                          <a:cs typeface="+mn-cs"/>
                        </a:rPr>
                        <a:t>2</a:t>
                      </a:r>
                    </a:p>
                  </a:txBody>
                  <a:tcPr marL="45698" marR="45698" marT="45698" marB="45698"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defTabSz="1148930" rtl="0" eaLnBrk="1" latinLnBrk="0" hangingPunct="1">
                        <a:lnSpc>
                          <a:spcPct val="90000"/>
                        </a:lnSpc>
                      </a:pPr>
                      <a:r>
                        <a:rPr lang="en-GB" sz="1200" b="1" kern="1200">
                          <a:solidFill>
                            <a:schemeClr val="bg1"/>
                          </a:solidFill>
                          <a:latin typeface="+mn-lt"/>
                          <a:ea typeface="+mn-ea"/>
                          <a:cs typeface="+mn-cs"/>
                        </a:rPr>
                        <a:t>Data platform capability</a:t>
                      </a:r>
                    </a:p>
                  </a:txBody>
                  <a:tcPr marL="663137" marR="45698" marT="45698" marB="45698"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900">
                        <a:latin typeface="EYInterstate" panose="02000503020000020004" pitchFamily="2" charset="0"/>
                      </a:endParaRPr>
                    </a:p>
                  </a:txBody>
                  <a:tcPr marL="0" marR="0" marT="0" marB="0">
                    <a:lnL w="12700" cap="flat" cmpd="sng" algn="ctr">
                      <a:solidFill>
                        <a:schemeClr val="tx2"/>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599"/>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900" b="1">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935652509"/>
                  </a:ext>
                </a:extLst>
              </a:tr>
              <a:tr h="594051">
                <a:tc>
                  <a:txBody>
                    <a:bodyPr/>
                    <a:lstStyle/>
                    <a:p>
                      <a:pPr algn="ctr"/>
                      <a:r>
                        <a:rPr lang="en-US" sz="1100" b="1" kern="1200">
                          <a:solidFill>
                            <a:schemeClr val="bg1"/>
                          </a:solidFill>
                          <a:latin typeface="+mn-lt"/>
                          <a:ea typeface="+mn-ea"/>
                          <a:cs typeface="+mn-cs"/>
                        </a:rPr>
                        <a:t>3</a:t>
                      </a:r>
                    </a:p>
                  </a:txBody>
                  <a:tcPr marL="45698" marR="45698" marT="45698" marB="45698"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defTabSz="1148930" rtl="0" eaLnBrk="1" latinLnBrk="0" hangingPunct="1">
                        <a:lnSpc>
                          <a:spcPct val="90000"/>
                        </a:lnSpc>
                      </a:pPr>
                      <a:r>
                        <a:rPr lang="en-US" sz="1200" b="1" kern="1200">
                          <a:solidFill>
                            <a:schemeClr val="bg1"/>
                          </a:solidFill>
                          <a:latin typeface="+mn-lt"/>
                          <a:ea typeface="+mn-ea"/>
                          <a:cs typeface="+mn-cs"/>
                        </a:rPr>
                        <a:t>Data related- use cases identification and prioritization</a:t>
                      </a:r>
                      <a:endParaRPr lang="en-GB" sz="1200" b="1" kern="1200">
                        <a:solidFill>
                          <a:schemeClr val="bg1"/>
                        </a:solidFill>
                        <a:latin typeface="+mn-lt"/>
                        <a:ea typeface="+mn-ea"/>
                        <a:cs typeface="+mn-cs"/>
                      </a:endParaRPr>
                    </a:p>
                  </a:txBody>
                  <a:tcPr marL="663137" marR="45698" marT="45698" marB="45698"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900">
                        <a:latin typeface="EYInterstate" panose="02000503020000020004" pitchFamily="2" charset="0"/>
                      </a:endParaRPr>
                    </a:p>
                  </a:txBody>
                  <a:tcPr marL="0" marR="0" marT="0" marB="0">
                    <a:lnL w="12700" cap="flat" cmpd="sng" algn="ctr">
                      <a:solidFill>
                        <a:schemeClr val="tx2"/>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599"/>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900" b="1">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9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01358218"/>
                  </a:ext>
                </a:extLst>
              </a:tr>
              <a:tr h="594051">
                <a:tc>
                  <a:txBody>
                    <a:bodyPr/>
                    <a:lstStyle/>
                    <a:p>
                      <a:pPr algn="ctr"/>
                      <a:r>
                        <a:rPr lang="en-US" sz="1100" b="1">
                          <a:solidFill>
                            <a:schemeClr val="bg1"/>
                          </a:solidFill>
                          <a:latin typeface="EYInterstate" panose="02000503020000020004" pitchFamily="2" charset="0"/>
                        </a:rPr>
                        <a:t>4</a:t>
                      </a:r>
                    </a:p>
                  </a:txBody>
                  <a:tcPr marL="45698" marR="45698" marT="45698" marB="45698"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defTabSz="1148930" rtl="0" eaLnBrk="1" latinLnBrk="0" hangingPunct="1">
                        <a:lnSpc>
                          <a:spcPct val="90000"/>
                        </a:lnSpc>
                      </a:pPr>
                      <a:r>
                        <a:rPr lang="en-US" sz="1200" b="1" kern="1200">
                          <a:solidFill>
                            <a:schemeClr val="bg1"/>
                          </a:solidFill>
                          <a:latin typeface="+mn-lt"/>
                          <a:ea typeface="+mn-ea"/>
                          <a:cs typeface="+mn-cs"/>
                        </a:rPr>
                        <a:t>High-level Data Platform Architecture Design </a:t>
                      </a:r>
                      <a:endParaRPr lang="en-GB" sz="1200" b="1" kern="1200">
                        <a:solidFill>
                          <a:schemeClr val="bg1"/>
                        </a:solidFill>
                        <a:latin typeface="+mn-lt"/>
                        <a:ea typeface="+mn-ea"/>
                        <a:cs typeface="+mn-cs"/>
                      </a:endParaRPr>
                    </a:p>
                  </a:txBody>
                  <a:tcPr marL="663137" marR="45698" marT="45698" marB="45698"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endParaRPr lang="en-US" sz="1600" b="1">
                        <a:latin typeface="EYInterstate" panose="02000503020000020004" pitchFamily="2" charset="0"/>
                      </a:endParaRPr>
                    </a:p>
                  </a:txBody>
                  <a:tcPr marL="0" marR="0" marT="0" marB="0">
                    <a:lnL w="12700" cap="flat" cmpd="sng" algn="ctr">
                      <a:solidFill>
                        <a:schemeClr val="tx2"/>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US"/>
                    </a:p>
                  </a:txBody>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kern="1200">
                        <a:solidFill>
                          <a:schemeClr val="tx1"/>
                        </a:solidFill>
                        <a:latin typeface="EYInterstate" panose="02000503020000020004" pitchFamily="2" charset="0"/>
                        <a:ea typeface="+mn-ea"/>
                        <a:cs typeface="+mn-cs"/>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dirty="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291070240"/>
                  </a:ext>
                </a:extLst>
              </a:tr>
              <a:tr h="594051">
                <a:tc>
                  <a:txBody>
                    <a:bodyPr/>
                    <a:lstStyle/>
                    <a:p>
                      <a:pPr algn="ctr"/>
                      <a:r>
                        <a:rPr lang="en-US" sz="1100" b="1">
                          <a:solidFill>
                            <a:schemeClr val="bg1"/>
                          </a:solidFill>
                        </a:rPr>
                        <a:t>5</a:t>
                      </a:r>
                    </a:p>
                  </a:txBody>
                  <a:tcPr marL="45698" marR="45698" marT="45698" marB="45698"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l" defTabSz="1148930" rtl="0" eaLnBrk="1" latinLnBrk="0" hangingPunct="1">
                        <a:lnSpc>
                          <a:spcPct val="90000"/>
                        </a:lnSpc>
                      </a:pPr>
                      <a:r>
                        <a:rPr lang="en-GB" sz="1200" b="1" kern="1200">
                          <a:solidFill>
                            <a:schemeClr val="bg1"/>
                          </a:solidFill>
                          <a:latin typeface="+mn-lt"/>
                          <a:ea typeface="+mn-ea"/>
                          <a:cs typeface="+mn-cs"/>
                        </a:rPr>
                        <a:t>Target operating model</a:t>
                      </a:r>
                    </a:p>
                  </a:txBody>
                  <a:tcPr marL="663137" marR="45698" marT="45698" marB="45698"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algn="l" defTabSz="1148930" rtl="0" eaLnBrk="1" latinLnBrk="0" hangingPunct="1">
                        <a:lnSpc>
                          <a:spcPct val="90000"/>
                        </a:lnSpc>
                      </a:pPr>
                      <a:endParaRPr lang="en-US" sz="1100" b="0" kern="1200">
                        <a:solidFill>
                          <a:schemeClr val="bg1"/>
                        </a:solidFill>
                        <a:latin typeface="+mn-lt"/>
                        <a:ea typeface="+mn-ea"/>
                        <a:cs typeface="+mn-cs"/>
                      </a:endParaRPr>
                    </a:p>
                  </a:txBody>
                  <a:tcPr marL="0" marR="0" marT="0" marB="0">
                    <a:lnL w="12700" cap="flat" cmpd="sng" algn="ctr">
                      <a:solidFill>
                        <a:schemeClr val="tx2"/>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US"/>
                    </a:p>
                  </a:txBody>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077781226"/>
                  </a:ext>
                </a:extLst>
              </a:tr>
              <a:tr h="594051">
                <a:tc>
                  <a:txBody>
                    <a:bodyPr/>
                    <a:lstStyle/>
                    <a:p>
                      <a:pPr algn="ctr"/>
                      <a:r>
                        <a:rPr lang="en-US" sz="1100" b="1">
                          <a:solidFill>
                            <a:schemeClr val="bg1"/>
                          </a:solidFill>
                        </a:rPr>
                        <a:t>6</a:t>
                      </a:r>
                    </a:p>
                  </a:txBody>
                  <a:tcPr marL="45698" marR="45698" marT="45698" marB="45698"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148930" rtl="0" eaLnBrk="1" fontAlgn="auto" latinLnBrk="0" hangingPunct="1">
                        <a:lnSpc>
                          <a:spcPct val="90000"/>
                        </a:lnSpc>
                        <a:spcBef>
                          <a:spcPts val="0"/>
                        </a:spcBef>
                        <a:spcAft>
                          <a:spcPts val="0"/>
                        </a:spcAft>
                        <a:buClrTx/>
                        <a:buSzTx/>
                        <a:buFontTx/>
                        <a:buNone/>
                        <a:tabLst/>
                        <a:defRPr/>
                      </a:pPr>
                      <a:r>
                        <a:rPr lang="en-GB" sz="1200" b="1" kern="1200">
                          <a:solidFill>
                            <a:schemeClr val="bg1"/>
                          </a:solidFill>
                          <a:latin typeface="+mn-lt"/>
                          <a:ea typeface="+mn-ea"/>
                          <a:cs typeface="+mn-cs"/>
                        </a:rPr>
                        <a:t>Strategic IT Roadmap for Data platform </a:t>
                      </a:r>
                    </a:p>
                  </a:txBody>
                  <a:tcPr marL="663137" marR="45698" marT="45698" marB="45698"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algn="l" defTabSz="1148930" rtl="0" eaLnBrk="1" latinLnBrk="0" hangingPunct="1">
                        <a:lnSpc>
                          <a:spcPct val="90000"/>
                        </a:lnSpc>
                      </a:pPr>
                      <a:endParaRPr lang="en-US" sz="1100" b="0" kern="1200">
                        <a:solidFill>
                          <a:schemeClr val="bg1"/>
                        </a:solidFill>
                        <a:latin typeface="+mn-lt"/>
                        <a:ea typeface="+mn-ea"/>
                        <a:cs typeface="+mn-cs"/>
                      </a:endParaRPr>
                    </a:p>
                  </a:txBody>
                  <a:tcPr marL="0" marR="0" marT="0" marB="0">
                    <a:lnL w="12700" cap="flat" cmpd="sng" algn="ctr">
                      <a:solidFill>
                        <a:schemeClr val="tx2"/>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US"/>
                    </a:p>
                  </a:txBody>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925438861"/>
                  </a:ext>
                </a:extLst>
              </a:tr>
              <a:tr h="594051">
                <a:tc>
                  <a:txBody>
                    <a:bodyPr/>
                    <a:lstStyle/>
                    <a:p>
                      <a:pPr algn="ctr"/>
                      <a:r>
                        <a:rPr lang="en-US" sz="1100" b="1">
                          <a:solidFill>
                            <a:schemeClr val="bg1"/>
                          </a:solidFill>
                        </a:rPr>
                        <a:t>7</a:t>
                      </a:r>
                    </a:p>
                  </a:txBody>
                  <a:tcPr marL="45698" marR="45698" marT="45698" marB="45698"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148930" rtl="0" eaLnBrk="1" fontAlgn="auto" latinLnBrk="0" hangingPunct="1">
                        <a:lnSpc>
                          <a:spcPct val="90000"/>
                        </a:lnSpc>
                        <a:spcBef>
                          <a:spcPts val="0"/>
                        </a:spcBef>
                        <a:spcAft>
                          <a:spcPts val="0"/>
                        </a:spcAft>
                        <a:buClrTx/>
                        <a:buSzTx/>
                        <a:buFontTx/>
                        <a:buNone/>
                        <a:tabLst/>
                        <a:defRPr/>
                      </a:pPr>
                      <a:r>
                        <a:rPr lang="en-GB" sz="1200" b="1" kern="1200">
                          <a:solidFill>
                            <a:schemeClr val="bg1"/>
                          </a:solidFill>
                          <a:latin typeface="+mn-lt"/>
                          <a:ea typeface="+mn-ea"/>
                          <a:cs typeface="+mn-cs"/>
                        </a:rPr>
                        <a:t>Value added</a:t>
                      </a:r>
                    </a:p>
                  </a:txBody>
                  <a:tcPr marL="663137" marR="45698" marT="45698" marB="45698"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endParaRPr lang="en-US" sz="1600">
                        <a:latin typeface="EYInterstate" panose="02000503020000020004" pitchFamily="2" charset="0"/>
                      </a:endParaRPr>
                    </a:p>
                  </a:txBody>
                  <a:tcPr marL="0" marR="0" marT="0" marB="0">
                    <a:lnL w="12700" cap="flat" cmpd="sng" algn="ctr">
                      <a:solidFill>
                        <a:schemeClr val="tx2"/>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US"/>
                    </a:p>
                  </a:txBody>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sz="1600" dirty="0">
                        <a:latin typeface="EYInterstate" panose="02000503020000020004" pitchFamily="2" charset="0"/>
                      </a:endParaRPr>
                    </a:p>
                  </a:txBody>
                  <a:tcPr marL="0" marR="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438540116"/>
                  </a:ext>
                </a:extLst>
              </a:tr>
            </a:tbl>
          </a:graphicData>
        </a:graphic>
      </p:graphicFrame>
      <p:pic>
        <p:nvPicPr>
          <p:cNvPr id="43" name="Graphic 42">
            <a:extLst>
              <a:ext uri="{FF2B5EF4-FFF2-40B4-BE49-F238E27FC236}">
                <a16:creationId xmlns:a16="http://schemas.microsoft.com/office/drawing/2014/main" id="{76D0CF7C-0EA8-4D6C-8628-F9AD8B11EC6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09126" y="1860185"/>
            <a:ext cx="411266" cy="411266"/>
          </a:xfrm>
          <a:prstGeom prst="rect">
            <a:avLst/>
          </a:prstGeom>
        </p:spPr>
      </p:pic>
      <p:pic>
        <p:nvPicPr>
          <p:cNvPr id="54" name="Picture 4" descr="Strategic Planning Icons - Download Free Vector Icons | Noun Project">
            <a:extLst>
              <a:ext uri="{FF2B5EF4-FFF2-40B4-BE49-F238E27FC236}">
                <a16:creationId xmlns:a16="http://schemas.microsoft.com/office/drawing/2014/main" id="{36BD0257-03F7-4EFF-8C56-0380DF4CB5BF}"/>
              </a:ext>
            </a:extLst>
          </p:cNvPr>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09126" y="5409868"/>
            <a:ext cx="411266" cy="411266"/>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a:extLst>
              <a:ext uri="{FF2B5EF4-FFF2-40B4-BE49-F238E27FC236}">
                <a16:creationId xmlns:a16="http://schemas.microsoft.com/office/drawing/2014/main" id="{BE1B51E6-1058-45B5-9B36-6598C80122D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92126" y="4818254"/>
            <a:ext cx="411266" cy="411266"/>
          </a:xfrm>
          <a:prstGeom prst="rect">
            <a:avLst/>
          </a:prstGeom>
        </p:spPr>
      </p:pic>
      <p:pic>
        <p:nvPicPr>
          <p:cNvPr id="20" name="Graphic 19">
            <a:extLst>
              <a:ext uri="{FF2B5EF4-FFF2-40B4-BE49-F238E27FC236}">
                <a16:creationId xmlns:a16="http://schemas.microsoft.com/office/drawing/2014/main" id="{6B577404-8719-48BE-8521-C77F7FD7454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992126" y="3635027"/>
            <a:ext cx="411266" cy="411266"/>
          </a:xfrm>
          <a:prstGeom prst="rect">
            <a:avLst/>
          </a:prstGeom>
        </p:spPr>
      </p:pic>
      <p:pic>
        <p:nvPicPr>
          <p:cNvPr id="22" name="Graphic 21">
            <a:extLst>
              <a:ext uri="{FF2B5EF4-FFF2-40B4-BE49-F238E27FC236}">
                <a16:creationId xmlns:a16="http://schemas.microsoft.com/office/drawing/2014/main" id="{08AE535A-10CC-4861-9790-0425DB80BB7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992126" y="3053347"/>
            <a:ext cx="411266" cy="411266"/>
          </a:xfrm>
          <a:prstGeom prst="rect">
            <a:avLst/>
          </a:prstGeom>
        </p:spPr>
      </p:pic>
      <p:pic>
        <p:nvPicPr>
          <p:cNvPr id="24" name="Graphic 23">
            <a:extLst>
              <a:ext uri="{FF2B5EF4-FFF2-40B4-BE49-F238E27FC236}">
                <a16:creationId xmlns:a16="http://schemas.microsoft.com/office/drawing/2014/main" id="{3846F689-7FFD-46C0-B43B-C0756FC2D62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992126" y="2451799"/>
            <a:ext cx="411266" cy="411266"/>
          </a:xfrm>
          <a:prstGeom prst="rect">
            <a:avLst/>
          </a:prstGeom>
        </p:spPr>
      </p:pic>
      <p:pic>
        <p:nvPicPr>
          <p:cNvPr id="26" name="Graphic 25">
            <a:extLst>
              <a:ext uri="{FF2B5EF4-FFF2-40B4-BE49-F238E27FC236}">
                <a16:creationId xmlns:a16="http://schemas.microsoft.com/office/drawing/2014/main" id="{4D74E051-E647-4D25-8986-C9A2D8D2C38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992126" y="4236574"/>
            <a:ext cx="411266" cy="411266"/>
          </a:xfrm>
          <a:prstGeom prst="rect">
            <a:avLst/>
          </a:prstGeom>
        </p:spPr>
      </p:pic>
      <p:pic>
        <p:nvPicPr>
          <p:cNvPr id="45" name="Picture 44">
            <a:extLst>
              <a:ext uri="{FF2B5EF4-FFF2-40B4-BE49-F238E27FC236}">
                <a16:creationId xmlns:a16="http://schemas.microsoft.com/office/drawing/2014/main" id="{E128D195-1395-441A-B4E4-467F41509907}"/>
              </a:ext>
            </a:extLst>
          </p:cNvPr>
          <p:cNvPicPr>
            <a:picLocks noChangeAspect="1"/>
          </p:cNvPicPr>
          <p:nvPr/>
        </p:nvPicPr>
        <p:blipFill rotWithShape="1">
          <a:blip r:embed="rId21">
            <a:clrChange>
              <a:clrFrom>
                <a:srgbClr val="F8FAFB"/>
              </a:clrFrom>
              <a:clrTo>
                <a:srgbClr val="F8FAFB">
                  <a:alpha val="0"/>
                </a:srgbClr>
              </a:clrTo>
            </a:clrChange>
          </a:blip>
          <a:srcRect l="2760" t="-2344" r="16039" b="12830"/>
          <a:stretch/>
        </p:blipFill>
        <p:spPr>
          <a:xfrm>
            <a:off x="5908394" y="3104779"/>
            <a:ext cx="370859" cy="263646"/>
          </a:xfrm>
          <a:prstGeom prst="rect">
            <a:avLst/>
          </a:prstGeom>
        </p:spPr>
      </p:pic>
      <p:pic>
        <p:nvPicPr>
          <p:cNvPr id="49" name="Picture 48">
            <a:extLst>
              <a:ext uri="{FF2B5EF4-FFF2-40B4-BE49-F238E27FC236}">
                <a16:creationId xmlns:a16="http://schemas.microsoft.com/office/drawing/2014/main" id="{F3900BA0-D11B-49A3-B40C-CBBB59673384}"/>
              </a:ext>
            </a:extLst>
          </p:cNvPr>
          <p:cNvPicPr>
            <a:picLocks noChangeAspect="1"/>
          </p:cNvPicPr>
          <p:nvPr/>
        </p:nvPicPr>
        <p:blipFill rotWithShape="1">
          <a:blip r:embed="rId21">
            <a:clrChange>
              <a:clrFrom>
                <a:srgbClr val="F8FAFB"/>
              </a:clrFrom>
              <a:clrTo>
                <a:srgbClr val="F8FAFB">
                  <a:alpha val="0"/>
                </a:srgbClr>
              </a:clrTo>
            </a:clrChange>
          </a:blip>
          <a:srcRect l="2760" t="-2344" r="16039" b="12830"/>
          <a:stretch/>
        </p:blipFill>
        <p:spPr>
          <a:xfrm>
            <a:off x="7774717" y="3702685"/>
            <a:ext cx="370859" cy="263646"/>
          </a:xfrm>
          <a:prstGeom prst="rect">
            <a:avLst/>
          </a:prstGeom>
        </p:spPr>
      </p:pic>
      <p:pic>
        <p:nvPicPr>
          <p:cNvPr id="58" name="Picture 57">
            <a:extLst>
              <a:ext uri="{FF2B5EF4-FFF2-40B4-BE49-F238E27FC236}">
                <a16:creationId xmlns:a16="http://schemas.microsoft.com/office/drawing/2014/main" id="{6037A9F7-BD53-4FAD-B93F-83A7CB3447BF}"/>
              </a:ext>
            </a:extLst>
          </p:cNvPr>
          <p:cNvPicPr>
            <a:picLocks noChangeAspect="1"/>
          </p:cNvPicPr>
          <p:nvPr/>
        </p:nvPicPr>
        <p:blipFill rotWithShape="1">
          <a:blip r:embed="rId21">
            <a:clrChange>
              <a:clrFrom>
                <a:srgbClr val="F8FAFB"/>
              </a:clrFrom>
              <a:clrTo>
                <a:srgbClr val="F8FAFB">
                  <a:alpha val="0"/>
                </a:srgbClr>
              </a:clrTo>
            </a:clrChange>
          </a:blip>
          <a:srcRect l="2760" t="-2344" r="16039" b="12830"/>
          <a:stretch/>
        </p:blipFill>
        <p:spPr>
          <a:xfrm>
            <a:off x="5583077" y="2537433"/>
            <a:ext cx="370859" cy="263646"/>
          </a:xfrm>
          <a:prstGeom prst="rect">
            <a:avLst/>
          </a:prstGeom>
        </p:spPr>
      </p:pic>
      <p:sp>
        <p:nvSpPr>
          <p:cNvPr id="6" name="TextBox 5">
            <a:extLst>
              <a:ext uri="{FF2B5EF4-FFF2-40B4-BE49-F238E27FC236}">
                <a16:creationId xmlns:a16="http://schemas.microsoft.com/office/drawing/2014/main" id="{444DD459-0D33-4828-BF41-FB01E9B8B4CA}"/>
              </a:ext>
            </a:extLst>
          </p:cNvPr>
          <p:cNvSpPr txBox="1"/>
          <p:nvPr/>
        </p:nvSpPr>
        <p:spPr>
          <a:xfrm rot="16200000">
            <a:off x="-1184175" y="3443968"/>
            <a:ext cx="4576426" cy="407855"/>
          </a:xfrm>
          <a:prstGeom prst="rect">
            <a:avLst/>
          </a:prstGeom>
          <a:solidFill>
            <a:schemeClr val="accent6"/>
          </a:solidFill>
          <a:ln>
            <a:solidFill>
              <a:schemeClr val="tx2"/>
            </a:solidFill>
          </a:ln>
        </p:spPr>
        <p:txBody>
          <a:bodyPr wrap="square" lIns="0" tIns="36557" rIns="0" bIns="0" rtlCol="0" anchor="ctr" anchorCtr="0">
            <a:noAutofit/>
          </a:bodyPr>
          <a:lstStyle/>
          <a:p>
            <a:pPr algn="ctr" defTabSz="913943">
              <a:lnSpc>
                <a:spcPct val="85000"/>
              </a:lnSpc>
              <a:spcAft>
                <a:spcPts val="600"/>
              </a:spcAft>
              <a:buClr>
                <a:srgbClr val="FFE600"/>
              </a:buClr>
              <a:buSzPct val="70000"/>
              <a:defRPr/>
            </a:pPr>
            <a:r>
              <a:rPr lang="en-US" sz="1399">
                <a:solidFill>
                  <a:srgbClr val="646464"/>
                </a:solidFill>
                <a:latin typeface="EYInterstate" panose="02000503020000020004" pitchFamily="2" charset="0"/>
                <a:ea typeface="+mn-ea"/>
              </a:rPr>
              <a:t>(8 weeks)</a:t>
            </a:r>
          </a:p>
        </p:txBody>
      </p:sp>
      <p:sp>
        <p:nvSpPr>
          <p:cNvPr id="7" name="Rectangle 6">
            <a:extLst>
              <a:ext uri="{FF2B5EF4-FFF2-40B4-BE49-F238E27FC236}">
                <a16:creationId xmlns:a16="http://schemas.microsoft.com/office/drawing/2014/main" id="{E1BD3838-1FDA-49DD-8ECE-EA8017BE8A6A}"/>
              </a:ext>
            </a:extLst>
          </p:cNvPr>
          <p:cNvSpPr/>
          <p:nvPr/>
        </p:nvSpPr>
        <p:spPr>
          <a:xfrm>
            <a:off x="6907161" y="2606394"/>
            <a:ext cx="4026077" cy="553710"/>
          </a:xfrm>
          <a:prstGeom prst="rect">
            <a:avLst/>
          </a:prstGeom>
        </p:spPr>
        <p:txBody>
          <a:bodyPr wrap="square">
            <a:spAutoFit/>
          </a:bodyPr>
          <a:lstStyle/>
          <a:p>
            <a:pPr defTabSz="828854" eaLnBrk="1" hangingPunct="1">
              <a:spcAft>
                <a:spcPts val="544"/>
              </a:spcAft>
              <a:buClr>
                <a:srgbClr val="FFE600"/>
              </a:buClr>
              <a:buSzPct val="70000"/>
              <a:defRPr/>
            </a:pPr>
            <a:r>
              <a:rPr lang="en-US" sz="999" b="1">
                <a:solidFill>
                  <a:srgbClr val="00A3AE"/>
                </a:solidFill>
                <a:latin typeface="EYInterstate Light" pitchFamily="2" charset="0"/>
                <a:ea typeface="+mn-ea"/>
              </a:rPr>
              <a:t>The first Sprints for both </a:t>
            </a:r>
            <a:r>
              <a:rPr lang="en-US" sz="999">
                <a:solidFill>
                  <a:srgbClr val="000000"/>
                </a:solidFill>
                <a:latin typeface="EYInterstate Light" pitchFamily="2" charset="0"/>
                <a:ea typeface="+mn-ea"/>
              </a:rPr>
              <a:t>focus on assessing the current-state technical capabilities of the data platform, and identifying the gaps and use cases within the first 3 weeks.</a:t>
            </a:r>
            <a:endParaRPr lang="en-GB" sz="999">
              <a:solidFill>
                <a:srgbClr val="000000"/>
              </a:solidFill>
              <a:latin typeface="EYInterstate Light" pitchFamily="2" charset="0"/>
              <a:ea typeface="+mn-ea"/>
            </a:endParaRPr>
          </a:p>
        </p:txBody>
      </p:sp>
      <p:sp>
        <p:nvSpPr>
          <p:cNvPr id="138" name="Rectangle 137">
            <a:extLst>
              <a:ext uri="{FF2B5EF4-FFF2-40B4-BE49-F238E27FC236}">
                <a16:creationId xmlns:a16="http://schemas.microsoft.com/office/drawing/2014/main" id="{91F0C9D8-1199-4011-ACFA-3ED2BF2E064D}"/>
              </a:ext>
            </a:extLst>
          </p:cNvPr>
          <p:cNvSpPr/>
          <p:nvPr/>
        </p:nvSpPr>
        <p:spPr>
          <a:xfrm>
            <a:off x="4274337" y="3858582"/>
            <a:ext cx="2556050" cy="707373"/>
          </a:xfrm>
          <a:prstGeom prst="rect">
            <a:avLst/>
          </a:prstGeom>
        </p:spPr>
        <p:txBody>
          <a:bodyPr wrap="square">
            <a:spAutoFit/>
          </a:bodyPr>
          <a:lstStyle/>
          <a:p>
            <a:pPr defTabSz="828854">
              <a:spcAft>
                <a:spcPts val="544"/>
              </a:spcAft>
              <a:buClr>
                <a:srgbClr val="FFE600"/>
              </a:buClr>
              <a:buSzPct val="70000"/>
              <a:defRPr/>
            </a:pPr>
            <a:r>
              <a:rPr lang="en-US" sz="999" b="1" dirty="0">
                <a:solidFill>
                  <a:srgbClr val="00A3AE"/>
                </a:solidFill>
                <a:latin typeface="EYInterstate Light" pitchFamily="2" charset="0"/>
                <a:ea typeface="+mn-ea"/>
              </a:rPr>
              <a:t>These Sprints </a:t>
            </a:r>
            <a:r>
              <a:rPr lang="en-US" sz="999" dirty="0">
                <a:solidFill>
                  <a:srgbClr val="000000"/>
                </a:solidFill>
                <a:latin typeface="EYInterstate Light" pitchFamily="2" charset="0"/>
                <a:ea typeface="+mn-ea"/>
              </a:rPr>
              <a:t>are centered around the design and build of the TOM. Each of these sprints will focus on a separate pillar of framework</a:t>
            </a:r>
            <a:endParaRPr lang="en-US" sz="999" b="1" dirty="0">
              <a:solidFill>
                <a:srgbClr val="000000"/>
              </a:solidFill>
              <a:latin typeface="EYInterstate Light" pitchFamily="2" charset="0"/>
              <a:ea typeface="+mn-ea"/>
            </a:endParaRPr>
          </a:p>
        </p:txBody>
      </p:sp>
      <p:sp>
        <p:nvSpPr>
          <p:cNvPr id="42" name="5-Point Star 48">
            <a:extLst>
              <a:ext uri="{FF2B5EF4-FFF2-40B4-BE49-F238E27FC236}">
                <a16:creationId xmlns:a16="http://schemas.microsoft.com/office/drawing/2014/main" id="{0EFA5D7D-9597-4570-BB24-748B07503974}"/>
              </a:ext>
            </a:extLst>
          </p:cNvPr>
          <p:cNvSpPr/>
          <p:nvPr/>
        </p:nvSpPr>
        <p:spPr>
          <a:xfrm>
            <a:off x="6634578" y="2408867"/>
            <a:ext cx="195808" cy="195808"/>
          </a:xfrm>
          <a:prstGeom prst="star5">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8946" eaLnBrk="1" hangingPunct="1">
              <a:spcAft>
                <a:spcPct val="50000"/>
              </a:spcAft>
              <a:buClr>
                <a:srgbClr val="FFE600"/>
              </a:buClr>
              <a:buSzPct val="80000"/>
              <a:defRPr/>
            </a:pPr>
            <a:endParaRPr lang="en-US" sz="816">
              <a:solidFill>
                <a:srgbClr val="00A3AE"/>
              </a:solidFill>
              <a:latin typeface="Arial Narrow" panose="020B0606020202030204" pitchFamily="34" charset="0"/>
            </a:endParaRPr>
          </a:p>
        </p:txBody>
      </p:sp>
      <p:sp>
        <p:nvSpPr>
          <p:cNvPr id="44" name="5-Point Star 48">
            <a:extLst>
              <a:ext uri="{FF2B5EF4-FFF2-40B4-BE49-F238E27FC236}">
                <a16:creationId xmlns:a16="http://schemas.microsoft.com/office/drawing/2014/main" id="{5B7D08A5-EE10-4282-90AF-733F3B03F6F3}"/>
              </a:ext>
            </a:extLst>
          </p:cNvPr>
          <p:cNvSpPr/>
          <p:nvPr/>
        </p:nvSpPr>
        <p:spPr>
          <a:xfrm>
            <a:off x="9147801" y="3744520"/>
            <a:ext cx="195808" cy="195808"/>
          </a:xfrm>
          <a:prstGeom prst="star5">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8946" eaLnBrk="1" hangingPunct="1">
              <a:spcAft>
                <a:spcPct val="50000"/>
              </a:spcAft>
              <a:buClr>
                <a:srgbClr val="FFE600"/>
              </a:buClr>
              <a:buSzPct val="80000"/>
              <a:defRPr/>
            </a:pPr>
            <a:endParaRPr lang="en-US" sz="816">
              <a:solidFill>
                <a:srgbClr val="00A3AE"/>
              </a:solidFill>
              <a:latin typeface="Arial Narrow" panose="020B0606020202030204" pitchFamily="34" charset="0"/>
            </a:endParaRPr>
          </a:p>
        </p:txBody>
      </p:sp>
      <p:sp>
        <p:nvSpPr>
          <p:cNvPr id="50" name="5-Point Star 48">
            <a:extLst>
              <a:ext uri="{FF2B5EF4-FFF2-40B4-BE49-F238E27FC236}">
                <a16:creationId xmlns:a16="http://schemas.microsoft.com/office/drawing/2014/main" id="{F0D1C425-763C-4CDF-9516-306EDDCE4F72}"/>
              </a:ext>
            </a:extLst>
          </p:cNvPr>
          <p:cNvSpPr/>
          <p:nvPr/>
        </p:nvSpPr>
        <p:spPr>
          <a:xfrm>
            <a:off x="10789136" y="4943431"/>
            <a:ext cx="195808" cy="195808"/>
          </a:xfrm>
          <a:prstGeom prst="star5">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8946" eaLnBrk="1" hangingPunct="1">
              <a:spcAft>
                <a:spcPct val="50000"/>
              </a:spcAft>
              <a:buClr>
                <a:srgbClr val="FFE600"/>
              </a:buClr>
              <a:buSzPct val="80000"/>
              <a:defRPr/>
            </a:pPr>
            <a:endParaRPr lang="en-US" sz="816">
              <a:solidFill>
                <a:srgbClr val="00A3AE"/>
              </a:solidFill>
              <a:latin typeface="Arial Narrow" panose="020B0606020202030204" pitchFamily="34" charset="0"/>
            </a:endParaRPr>
          </a:p>
        </p:txBody>
      </p:sp>
      <p:sp>
        <p:nvSpPr>
          <p:cNvPr id="51" name="TextBox 50">
            <a:extLst>
              <a:ext uri="{FF2B5EF4-FFF2-40B4-BE49-F238E27FC236}">
                <a16:creationId xmlns:a16="http://schemas.microsoft.com/office/drawing/2014/main" id="{39034CE0-836C-4EF6-980A-6902A6DB8D59}"/>
              </a:ext>
            </a:extLst>
          </p:cNvPr>
          <p:cNvSpPr txBox="1"/>
          <p:nvPr/>
        </p:nvSpPr>
        <p:spPr>
          <a:xfrm>
            <a:off x="9350158" y="3621140"/>
            <a:ext cx="1223009" cy="246761"/>
          </a:xfrm>
          <a:prstGeom prst="rect">
            <a:avLst/>
          </a:prstGeom>
          <a:noFill/>
        </p:spPr>
        <p:txBody>
          <a:bodyPr wrap="square" lIns="0" tIns="33157" rIns="0" bIns="0" rtlCol="0">
            <a:spAutoFit/>
          </a:bodyPr>
          <a:lstStyle/>
          <a:p>
            <a:pPr defTabSz="828946" eaLnBrk="1" hangingPunct="1">
              <a:lnSpc>
                <a:spcPct val="85000"/>
              </a:lnSpc>
              <a:spcAft>
                <a:spcPts val="0"/>
              </a:spcAft>
              <a:buClr>
                <a:srgbClr val="FFE600"/>
              </a:buClr>
              <a:buSzPct val="70000"/>
              <a:defRPr/>
            </a:pPr>
            <a:r>
              <a:rPr lang="en-GB" sz="816" i="1">
                <a:solidFill>
                  <a:srgbClr val="00A3AE"/>
                </a:solidFill>
                <a:latin typeface="EYInterstate" panose="02000503020000020004" pitchFamily="2" charset="0"/>
                <a:ea typeface="+mn-ea"/>
              </a:rPr>
              <a:t>Data Architecture design &amp; Implementation Plan</a:t>
            </a:r>
          </a:p>
        </p:txBody>
      </p:sp>
      <p:sp>
        <p:nvSpPr>
          <p:cNvPr id="52" name="TextBox 51">
            <a:extLst>
              <a:ext uri="{FF2B5EF4-FFF2-40B4-BE49-F238E27FC236}">
                <a16:creationId xmlns:a16="http://schemas.microsoft.com/office/drawing/2014/main" id="{4024D836-50A9-48B3-8FD7-A0FD315FC1DD}"/>
              </a:ext>
            </a:extLst>
          </p:cNvPr>
          <p:cNvSpPr txBox="1"/>
          <p:nvPr/>
        </p:nvSpPr>
        <p:spPr>
          <a:xfrm>
            <a:off x="6807175" y="2166539"/>
            <a:ext cx="1074614" cy="246761"/>
          </a:xfrm>
          <a:prstGeom prst="rect">
            <a:avLst/>
          </a:prstGeom>
          <a:noFill/>
        </p:spPr>
        <p:txBody>
          <a:bodyPr wrap="square" lIns="0" tIns="33157" rIns="0" bIns="0" rtlCol="0">
            <a:spAutoFit/>
          </a:bodyPr>
          <a:lstStyle/>
          <a:p>
            <a:pPr defTabSz="828946" eaLnBrk="1" hangingPunct="1">
              <a:lnSpc>
                <a:spcPct val="85000"/>
              </a:lnSpc>
              <a:spcAft>
                <a:spcPts val="0"/>
              </a:spcAft>
              <a:buClr>
                <a:srgbClr val="FFE600"/>
              </a:buClr>
              <a:buSzPct val="70000"/>
              <a:defRPr/>
            </a:pPr>
            <a:r>
              <a:rPr lang="en-GB" sz="816" i="1">
                <a:solidFill>
                  <a:srgbClr val="00A3AE"/>
                </a:solidFill>
                <a:latin typeface="EYInterstate" panose="02000503020000020004" pitchFamily="2" charset="0"/>
                <a:ea typeface="+mn-ea"/>
              </a:rPr>
              <a:t>Platform Capability Gap Analysis</a:t>
            </a:r>
          </a:p>
        </p:txBody>
      </p:sp>
      <p:sp>
        <p:nvSpPr>
          <p:cNvPr id="53" name="TextBox 52">
            <a:extLst>
              <a:ext uri="{FF2B5EF4-FFF2-40B4-BE49-F238E27FC236}">
                <a16:creationId xmlns:a16="http://schemas.microsoft.com/office/drawing/2014/main" id="{B42E7315-9A83-409A-8228-3107AA48E570}"/>
              </a:ext>
            </a:extLst>
          </p:cNvPr>
          <p:cNvSpPr txBox="1"/>
          <p:nvPr/>
        </p:nvSpPr>
        <p:spPr>
          <a:xfrm>
            <a:off x="4774496" y="3461359"/>
            <a:ext cx="1074614" cy="246873"/>
          </a:xfrm>
          <a:prstGeom prst="rect">
            <a:avLst/>
          </a:prstGeom>
          <a:noFill/>
        </p:spPr>
        <p:txBody>
          <a:bodyPr wrap="square" lIns="0" tIns="33157" rIns="0" bIns="0" rtlCol="0">
            <a:spAutoFit/>
          </a:bodyPr>
          <a:lstStyle/>
          <a:p>
            <a:pPr defTabSz="828946" eaLnBrk="1" hangingPunct="1">
              <a:lnSpc>
                <a:spcPct val="85000"/>
              </a:lnSpc>
              <a:spcAft>
                <a:spcPts val="0"/>
              </a:spcAft>
              <a:buClr>
                <a:srgbClr val="FFE600"/>
              </a:buClr>
              <a:buSzPct val="70000"/>
              <a:defRPr/>
            </a:pPr>
            <a:r>
              <a:rPr lang="en-GB" sz="816" i="1" dirty="0">
                <a:solidFill>
                  <a:srgbClr val="00A3AE"/>
                </a:solidFill>
                <a:latin typeface="EYInterstate" panose="02000503020000020004" pitchFamily="2" charset="0"/>
                <a:ea typeface="+mn-ea"/>
              </a:rPr>
              <a:t>List of use cases identified</a:t>
            </a:r>
          </a:p>
        </p:txBody>
      </p:sp>
      <p:sp>
        <p:nvSpPr>
          <p:cNvPr id="55" name="5-Point Star 48">
            <a:extLst>
              <a:ext uri="{FF2B5EF4-FFF2-40B4-BE49-F238E27FC236}">
                <a16:creationId xmlns:a16="http://schemas.microsoft.com/office/drawing/2014/main" id="{E17A4904-8A3D-4EDC-BDEE-AFF89D483C2F}"/>
              </a:ext>
            </a:extLst>
          </p:cNvPr>
          <p:cNvSpPr/>
          <p:nvPr/>
        </p:nvSpPr>
        <p:spPr>
          <a:xfrm>
            <a:off x="5900817" y="3442331"/>
            <a:ext cx="195808" cy="195808"/>
          </a:xfrm>
          <a:prstGeom prst="star5">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8946" eaLnBrk="1" hangingPunct="1">
              <a:spcAft>
                <a:spcPct val="50000"/>
              </a:spcAft>
              <a:buClr>
                <a:srgbClr val="FFE600"/>
              </a:buClr>
              <a:buSzPct val="80000"/>
              <a:defRPr/>
            </a:pPr>
            <a:endParaRPr lang="en-US" sz="816">
              <a:solidFill>
                <a:srgbClr val="00A3AE"/>
              </a:solidFill>
              <a:latin typeface="Arial Narrow" panose="020B0606020202030204" pitchFamily="34" charset="0"/>
            </a:endParaRPr>
          </a:p>
        </p:txBody>
      </p:sp>
      <p:sp>
        <p:nvSpPr>
          <p:cNvPr id="56" name="TextBox 55">
            <a:extLst>
              <a:ext uri="{FF2B5EF4-FFF2-40B4-BE49-F238E27FC236}">
                <a16:creationId xmlns:a16="http://schemas.microsoft.com/office/drawing/2014/main" id="{3F215DEF-F2FC-43F8-9020-B15245B33F06}"/>
              </a:ext>
            </a:extLst>
          </p:cNvPr>
          <p:cNvSpPr txBox="1"/>
          <p:nvPr/>
        </p:nvSpPr>
        <p:spPr>
          <a:xfrm>
            <a:off x="7609520" y="3283441"/>
            <a:ext cx="1074614" cy="246873"/>
          </a:xfrm>
          <a:prstGeom prst="rect">
            <a:avLst/>
          </a:prstGeom>
          <a:noFill/>
        </p:spPr>
        <p:txBody>
          <a:bodyPr wrap="square" lIns="0" tIns="33157" rIns="0" bIns="0" rtlCol="0">
            <a:spAutoFit/>
          </a:bodyPr>
          <a:lstStyle/>
          <a:p>
            <a:pPr defTabSz="828946" eaLnBrk="1" hangingPunct="1">
              <a:lnSpc>
                <a:spcPct val="85000"/>
              </a:lnSpc>
              <a:spcAft>
                <a:spcPts val="0"/>
              </a:spcAft>
              <a:buClr>
                <a:srgbClr val="FFE600"/>
              </a:buClr>
              <a:buSzPct val="70000"/>
              <a:defRPr/>
            </a:pPr>
            <a:r>
              <a:rPr lang="en-GB" sz="816" i="1" dirty="0">
                <a:solidFill>
                  <a:srgbClr val="00A3AE"/>
                </a:solidFill>
                <a:latin typeface="EYInterstate" panose="02000503020000020004" pitchFamily="2" charset="0"/>
                <a:ea typeface="+mn-ea"/>
              </a:rPr>
              <a:t>List of use cases prioritised</a:t>
            </a:r>
          </a:p>
        </p:txBody>
      </p:sp>
      <p:sp>
        <p:nvSpPr>
          <p:cNvPr id="61" name="5-Point Star 48">
            <a:extLst>
              <a:ext uri="{FF2B5EF4-FFF2-40B4-BE49-F238E27FC236}">
                <a16:creationId xmlns:a16="http://schemas.microsoft.com/office/drawing/2014/main" id="{81DD8903-39BF-481F-AF57-0B557EFBF28D}"/>
              </a:ext>
            </a:extLst>
          </p:cNvPr>
          <p:cNvSpPr/>
          <p:nvPr/>
        </p:nvSpPr>
        <p:spPr>
          <a:xfrm>
            <a:off x="7466486" y="3442295"/>
            <a:ext cx="195808" cy="195808"/>
          </a:xfrm>
          <a:prstGeom prst="star5">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8946" eaLnBrk="1" hangingPunct="1">
              <a:spcAft>
                <a:spcPct val="50000"/>
              </a:spcAft>
              <a:buClr>
                <a:srgbClr val="FFE600"/>
              </a:buClr>
              <a:buSzPct val="80000"/>
              <a:defRPr/>
            </a:pPr>
            <a:endParaRPr lang="en-US" sz="816">
              <a:solidFill>
                <a:srgbClr val="00A3AE"/>
              </a:solidFill>
              <a:latin typeface="Arial Narrow" panose="020B0606020202030204" pitchFamily="34" charset="0"/>
            </a:endParaRPr>
          </a:p>
        </p:txBody>
      </p:sp>
      <p:sp>
        <p:nvSpPr>
          <p:cNvPr id="62" name="5-Point Star 48">
            <a:extLst>
              <a:ext uri="{FF2B5EF4-FFF2-40B4-BE49-F238E27FC236}">
                <a16:creationId xmlns:a16="http://schemas.microsoft.com/office/drawing/2014/main" id="{92E29AA1-042C-43A1-BA45-0F3879F016BD}"/>
              </a:ext>
            </a:extLst>
          </p:cNvPr>
          <p:cNvSpPr/>
          <p:nvPr/>
        </p:nvSpPr>
        <p:spPr>
          <a:xfrm>
            <a:off x="9987122" y="4193908"/>
            <a:ext cx="195808" cy="195808"/>
          </a:xfrm>
          <a:prstGeom prst="star5">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8946" eaLnBrk="1" hangingPunct="1">
              <a:spcAft>
                <a:spcPct val="50000"/>
              </a:spcAft>
              <a:buClr>
                <a:srgbClr val="FFE600"/>
              </a:buClr>
              <a:buSzPct val="80000"/>
              <a:defRPr/>
            </a:pPr>
            <a:endParaRPr lang="en-US" sz="816">
              <a:solidFill>
                <a:srgbClr val="00A3AE"/>
              </a:solidFill>
              <a:latin typeface="Arial Narrow" panose="020B0606020202030204" pitchFamily="34" charset="0"/>
            </a:endParaRPr>
          </a:p>
        </p:txBody>
      </p:sp>
      <p:sp>
        <p:nvSpPr>
          <p:cNvPr id="63" name="TextBox 62">
            <a:extLst>
              <a:ext uri="{FF2B5EF4-FFF2-40B4-BE49-F238E27FC236}">
                <a16:creationId xmlns:a16="http://schemas.microsoft.com/office/drawing/2014/main" id="{346F7782-EC00-4BBA-B3E2-9DF32F514D8A}"/>
              </a:ext>
            </a:extLst>
          </p:cNvPr>
          <p:cNvSpPr txBox="1"/>
          <p:nvPr/>
        </p:nvSpPr>
        <p:spPr>
          <a:xfrm>
            <a:off x="10189477" y="4070528"/>
            <a:ext cx="1223009" cy="246873"/>
          </a:xfrm>
          <a:prstGeom prst="rect">
            <a:avLst/>
          </a:prstGeom>
          <a:noFill/>
        </p:spPr>
        <p:txBody>
          <a:bodyPr wrap="square" lIns="0" tIns="33157" rIns="0" bIns="0" rtlCol="0">
            <a:spAutoFit/>
          </a:bodyPr>
          <a:lstStyle/>
          <a:p>
            <a:pPr defTabSz="828946" eaLnBrk="1" hangingPunct="1">
              <a:lnSpc>
                <a:spcPct val="85000"/>
              </a:lnSpc>
              <a:spcAft>
                <a:spcPts val="0"/>
              </a:spcAft>
              <a:buClr>
                <a:srgbClr val="FFE600"/>
              </a:buClr>
              <a:buSzPct val="70000"/>
              <a:defRPr/>
            </a:pPr>
            <a:r>
              <a:rPr lang="en-GB" sz="816" i="1" dirty="0">
                <a:solidFill>
                  <a:srgbClr val="00A3AE"/>
                </a:solidFill>
                <a:latin typeface="EYInterstate" panose="02000503020000020004" pitchFamily="2" charset="0"/>
                <a:ea typeface="+mn-ea"/>
              </a:rPr>
              <a:t>Completion of the design for TOM</a:t>
            </a:r>
          </a:p>
        </p:txBody>
      </p:sp>
      <p:sp>
        <p:nvSpPr>
          <p:cNvPr id="67" name="TextBox 66">
            <a:extLst>
              <a:ext uri="{FF2B5EF4-FFF2-40B4-BE49-F238E27FC236}">
                <a16:creationId xmlns:a16="http://schemas.microsoft.com/office/drawing/2014/main" id="{7501C9D0-231C-49E5-98B7-F89C9AEDB573}"/>
              </a:ext>
            </a:extLst>
          </p:cNvPr>
          <p:cNvSpPr txBox="1"/>
          <p:nvPr/>
        </p:nvSpPr>
        <p:spPr>
          <a:xfrm>
            <a:off x="9627354" y="4746445"/>
            <a:ext cx="2397498" cy="140177"/>
          </a:xfrm>
          <a:prstGeom prst="rect">
            <a:avLst/>
          </a:prstGeom>
          <a:noFill/>
        </p:spPr>
        <p:txBody>
          <a:bodyPr wrap="square" lIns="0" tIns="33157" rIns="0" bIns="0" rtlCol="0">
            <a:spAutoFit/>
          </a:bodyPr>
          <a:lstStyle/>
          <a:p>
            <a:pPr defTabSz="828946" eaLnBrk="1" hangingPunct="1">
              <a:lnSpc>
                <a:spcPct val="85000"/>
              </a:lnSpc>
              <a:spcAft>
                <a:spcPts val="0"/>
              </a:spcAft>
              <a:buClr>
                <a:srgbClr val="FFE600"/>
              </a:buClr>
              <a:buSzPct val="70000"/>
              <a:defRPr/>
            </a:pPr>
            <a:r>
              <a:rPr lang="en-GB" sz="816" i="1" dirty="0">
                <a:solidFill>
                  <a:srgbClr val="00A3AE"/>
                </a:solidFill>
                <a:latin typeface="EYInterstate" panose="02000503020000020004" pitchFamily="2" charset="0"/>
              </a:rPr>
              <a:t>Completion of i</a:t>
            </a:r>
            <a:r>
              <a:rPr lang="en-GB" sz="816" i="1" dirty="0">
                <a:solidFill>
                  <a:srgbClr val="00A3AE"/>
                </a:solidFill>
                <a:latin typeface="EYInterstate" panose="02000503020000020004" pitchFamily="2" charset="0"/>
                <a:ea typeface="+mn-ea"/>
              </a:rPr>
              <a:t>mplementation Plan &amp; Roadmap</a:t>
            </a:r>
          </a:p>
        </p:txBody>
      </p:sp>
      <p:pic>
        <p:nvPicPr>
          <p:cNvPr id="76" name="Picture 75">
            <a:extLst>
              <a:ext uri="{FF2B5EF4-FFF2-40B4-BE49-F238E27FC236}">
                <a16:creationId xmlns:a16="http://schemas.microsoft.com/office/drawing/2014/main" id="{920AE6FB-B60B-4430-BEDF-DE6F9E096079}"/>
              </a:ext>
            </a:extLst>
          </p:cNvPr>
          <p:cNvPicPr>
            <a:picLocks noChangeAspect="1"/>
          </p:cNvPicPr>
          <p:nvPr/>
        </p:nvPicPr>
        <p:blipFill rotWithShape="1">
          <a:blip r:embed="rId21">
            <a:clrChange>
              <a:clrFrom>
                <a:srgbClr val="F8FAFB"/>
              </a:clrFrom>
              <a:clrTo>
                <a:srgbClr val="F8FAFB">
                  <a:alpha val="0"/>
                </a:srgbClr>
              </a:clrTo>
            </a:clrChange>
          </a:blip>
          <a:srcRect l="2760" t="-2344" r="16039" b="12830"/>
          <a:stretch/>
        </p:blipFill>
        <p:spPr>
          <a:xfrm>
            <a:off x="7881790" y="5537837"/>
            <a:ext cx="370859" cy="263646"/>
          </a:xfrm>
          <a:prstGeom prst="rect">
            <a:avLst/>
          </a:prstGeom>
        </p:spPr>
      </p:pic>
      <p:sp>
        <p:nvSpPr>
          <p:cNvPr id="85" name="Rectangle 84">
            <a:extLst>
              <a:ext uri="{FF2B5EF4-FFF2-40B4-BE49-F238E27FC236}">
                <a16:creationId xmlns:a16="http://schemas.microsoft.com/office/drawing/2014/main" id="{84C80C31-0845-43FA-932A-D045441C6556}"/>
              </a:ext>
            </a:extLst>
          </p:cNvPr>
          <p:cNvSpPr/>
          <p:nvPr/>
        </p:nvSpPr>
        <p:spPr>
          <a:xfrm>
            <a:off x="5012185" y="5128962"/>
            <a:ext cx="3805046" cy="399853"/>
          </a:xfrm>
          <a:prstGeom prst="rect">
            <a:avLst/>
          </a:prstGeom>
        </p:spPr>
        <p:txBody>
          <a:bodyPr wrap="square">
            <a:spAutoFit/>
          </a:bodyPr>
          <a:lstStyle/>
          <a:p>
            <a:pPr defTabSz="828854" eaLnBrk="1" hangingPunct="1">
              <a:spcAft>
                <a:spcPts val="544"/>
              </a:spcAft>
              <a:buClr>
                <a:srgbClr val="FFE600"/>
              </a:buClr>
              <a:buSzPct val="70000"/>
              <a:defRPr/>
            </a:pPr>
            <a:r>
              <a:rPr lang="en-US" sz="999" b="1">
                <a:solidFill>
                  <a:srgbClr val="00A3AE"/>
                </a:solidFill>
                <a:latin typeface="EYInterstate Light" pitchFamily="2" charset="0"/>
                <a:ea typeface="+mn-ea"/>
              </a:rPr>
              <a:t>The final sprints </a:t>
            </a:r>
            <a:r>
              <a:rPr lang="en-US" sz="999">
                <a:solidFill>
                  <a:srgbClr val="000000"/>
                </a:solidFill>
                <a:latin typeface="EYInterstate Light" pitchFamily="2" charset="0"/>
                <a:ea typeface="+mn-ea"/>
              </a:rPr>
              <a:t>concerns the value added phase, and notably centers around the Implementation of AIAs selected use cases</a:t>
            </a:r>
          </a:p>
        </p:txBody>
      </p:sp>
      <p:sp>
        <p:nvSpPr>
          <p:cNvPr id="89" name="5-Point Star 48">
            <a:extLst>
              <a:ext uri="{FF2B5EF4-FFF2-40B4-BE49-F238E27FC236}">
                <a16:creationId xmlns:a16="http://schemas.microsoft.com/office/drawing/2014/main" id="{4904F0D8-53EA-4A68-88C0-891DCAA5F4FE}"/>
              </a:ext>
            </a:extLst>
          </p:cNvPr>
          <p:cNvSpPr/>
          <p:nvPr/>
        </p:nvSpPr>
        <p:spPr>
          <a:xfrm>
            <a:off x="10789136" y="5571756"/>
            <a:ext cx="195808" cy="195808"/>
          </a:xfrm>
          <a:prstGeom prst="star5">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8946" eaLnBrk="1" hangingPunct="1">
              <a:spcAft>
                <a:spcPct val="50000"/>
              </a:spcAft>
              <a:buClr>
                <a:srgbClr val="FFE600"/>
              </a:buClr>
              <a:buSzPct val="80000"/>
              <a:defRPr/>
            </a:pPr>
            <a:endParaRPr lang="en-US" sz="816">
              <a:solidFill>
                <a:srgbClr val="00A3AE"/>
              </a:solidFill>
              <a:latin typeface="Arial Narrow" panose="020B0606020202030204" pitchFamily="34" charset="0"/>
            </a:endParaRPr>
          </a:p>
        </p:txBody>
      </p:sp>
      <p:sp>
        <p:nvSpPr>
          <p:cNvPr id="90" name="TextBox 89">
            <a:extLst>
              <a:ext uri="{FF2B5EF4-FFF2-40B4-BE49-F238E27FC236}">
                <a16:creationId xmlns:a16="http://schemas.microsoft.com/office/drawing/2014/main" id="{9A662857-2FD8-4493-AF6F-664BC8F27DE3}"/>
              </a:ext>
            </a:extLst>
          </p:cNvPr>
          <p:cNvSpPr txBox="1"/>
          <p:nvPr/>
        </p:nvSpPr>
        <p:spPr>
          <a:xfrm>
            <a:off x="9767243" y="5369121"/>
            <a:ext cx="1385356" cy="246873"/>
          </a:xfrm>
          <a:prstGeom prst="rect">
            <a:avLst/>
          </a:prstGeom>
          <a:noFill/>
        </p:spPr>
        <p:txBody>
          <a:bodyPr wrap="square" lIns="0" tIns="33157" rIns="0" bIns="0" rtlCol="0">
            <a:spAutoFit/>
          </a:bodyPr>
          <a:lstStyle/>
          <a:p>
            <a:pPr defTabSz="828946" eaLnBrk="1" hangingPunct="1">
              <a:lnSpc>
                <a:spcPct val="85000"/>
              </a:lnSpc>
              <a:spcAft>
                <a:spcPts val="0"/>
              </a:spcAft>
              <a:buClr>
                <a:srgbClr val="FFE600"/>
              </a:buClr>
              <a:buSzPct val="70000"/>
              <a:defRPr/>
            </a:pPr>
            <a:r>
              <a:rPr lang="en-GB" sz="816" i="1" dirty="0">
                <a:solidFill>
                  <a:srgbClr val="00A3AE"/>
                </a:solidFill>
                <a:latin typeface="EYInterstate" panose="02000503020000020004" pitchFamily="2" charset="0"/>
                <a:ea typeface="+mn-ea"/>
              </a:rPr>
              <a:t>Implementation of used case selected by AIAT</a:t>
            </a:r>
          </a:p>
        </p:txBody>
      </p:sp>
      <p:sp>
        <p:nvSpPr>
          <p:cNvPr id="65" name="TextBox 64">
            <a:extLst>
              <a:ext uri="{FF2B5EF4-FFF2-40B4-BE49-F238E27FC236}">
                <a16:creationId xmlns:a16="http://schemas.microsoft.com/office/drawing/2014/main" id="{83318ABB-AFC9-40EB-B077-60ACFC0608D3}"/>
              </a:ext>
            </a:extLst>
          </p:cNvPr>
          <p:cNvSpPr txBox="1"/>
          <p:nvPr/>
        </p:nvSpPr>
        <p:spPr>
          <a:xfrm>
            <a:off x="928133" y="6088355"/>
            <a:ext cx="10750735" cy="744636"/>
          </a:xfrm>
          <a:prstGeom prst="rect">
            <a:avLst/>
          </a:prstGeom>
        </p:spPr>
        <p:txBody>
          <a:bodyPr vert="horz" lIns="0" tIns="0" rIns="0" bIns="0" rtlCol="0" anchor="t" anchorCtr="0">
            <a:noAutofit/>
          </a:bodyPr>
          <a:lstStyle>
            <a:defPPr>
              <a:defRPr lang="en-US"/>
            </a:defPPr>
            <a:lvl1pPr indent="0">
              <a:spcBef>
                <a:spcPct val="20000"/>
              </a:spcBef>
              <a:buClr>
                <a:schemeClr val="accent2"/>
              </a:buClr>
              <a:buSzPct val="70000"/>
              <a:buFont typeface="Arial" pitchFamily="34" charset="0"/>
              <a:buNone/>
              <a:defRPr sz="1200">
                <a:solidFill>
                  <a:schemeClr val="accent6">
                    <a:lumMod val="50000"/>
                  </a:schemeClr>
                </a:solidFill>
                <a:latin typeface="EYInterstate Light" panose="02000506000000020004" pitchFamily="2" charset="0"/>
              </a:defRPr>
            </a:lvl1pPr>
            <a:lvl2pPr marL="713232" indent="-356616">
              <a:spcBef>
                <a:spcPct val="20000"/>
              </a:spcBef>
              <a:buClr>
                <a:schemeClr val="accent2"/>
              </a:buClr>
              <a:buSzPct val="70000"/>
              <a:buFont typeface="Arial" pitchFamily="34" charset="0"/>
              <a:buChar char="►"/>
              <a:defRPr sz="2000">
                <a:solidFill>
                  <a:schemeClr val="bg1"/>
                </a:solidFill>
                <a:latin typeface="EYInterstate Light" panose="02000506000000020004" pitchFamily="2" charset="0"/>
              </a:defRPr>
            </a:lvl2pPr>
            <a:lvl3pPr marL="1069848" indent="-356616">
              <a:spcBef>
                <a:spcPct val="20000"/>
              </a:spcBef>
              <a:buClr>
                <a:schemeClr val="accent2"/>
              </a:buClr>
              <a:buSzPct val="70000"/>
              <a:buFont typeface="Arial" pitchFamily="34" charset="0"/>
              <a:buChar char="►"/>
              <a:defRPr>
                <a:solidFill>
                  <a:schemeClr val="bg1"/>
                </a:solidFill>
                <a:latin typeface="EYInterstate Light" panose="02000506000000020004" pitchFamily="2" charset="0"/>
              </a:defRPr>
            </a:lvl3pPr>
            <a:lvl4pPr marL="1426464" indent="-356616">
              <a:spcBef>
                <a:spcPct val="20000"/>
              </a:spcBef>
              <a:buClr>
                <a:schemeClr val="accent2"/>
              </a:buClr>
              <a:buSzPct val="70000"/>
              <a:buFont typeface="Arial" pitchFamily="34" charset="0"/>
              <a:buChar char="►"/>
              <a:defRPr sz="1600">
                <a:solidFill>
                  <a:schemeClr val="bg1"/>
                </a:solidFill>
                <a:latin typeface="EYInterstate Light" panose="02000506000000020004" pitchFamily="2" charset="0"/>
              </a:defRPr>
            </a:lvl4pPr>
            <a:lvl5pPr marL="1783080" indent="-356616">
              <a:spcBef>
                <a:spcPct val="20000"/>
              </a:spcBef>
              <a:buClr>
                <a:schemeClr val="accent2"/>
              </a:buClr>
              <a:buSzPct val="70000"/>
              <a:buFont typeface="Arial" pitchFamily="34" charset="0"/>
              <a:buChar char="►"/>
              <a:defRPr sz="16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3943">
              <a:buClr>
                <a:srgbClr val="FFD200"/>
              </a:buClr>
              <a:defRPr/>
            </a:pPr>
            <a:r>
              <a:rPr lang="en-US" sz="999" dirty="0">
                <a:solidFill>
                  <a:srgbClr val="C0C0C0">
                    <a:lumMod val="50000"/>
                  </a:srgbClr>
                </a:solidFill>
                <a:ea typeface="+mn-ea"/>
              </a:rPr>
              <a:t>A detailed implementation plan for data platform will be developed using Microsoft Project Plan as part of the key milestones for our project. We will work closely with AIAT to manage the issues/risks of the project across the 8 weeks of our project timeline. Any changes impacting the timeline will be subjected to the discussion between AIAT management and EY.</a:t>
            </a:r>
            <a:r>
              <a:rPr lang="en-GB" sz="999" dirty="0">
                <a:solidFill>
                  <a:srgbClr val="646464"/>
                </a:solidFill>
                <a:ea typeface="+mn-ea"/>
              </a:rPr>
              <a:t> The Sprints presented here are an illustration of the sprints that will be undertaken during this project. The exact number of sprints will be finalized with further information </a:t>
            </a:r>
          </a:p>
          <a:p>
            <a:pPr defTabSz="913943">
              <a:buClr>
                <a:srgbClr val="FFD200"/>
              </a:buClr>
              <a:defRPr/>
            </a:pPr>
            <a:endParaRPr lang="en-US" sz="1199" dirty="0">
              <a:solidFill>
                <a:srgbClr val="C0C0C0">
                  <a:lumMod val="50000"/>
                </a:srgbClr>
              </a:solidFill>
              <a:ea typeface="+mn-ea"/>
            </a:endParaRPr>
          </a:p>
          <a:p>
            <a:pPr defTabSz="913943">
              <a:buClr>
                <a:srgbClr val="FFD200"/>
              </a:buClr>
              <a:defRPr/>
            </a:pPr>
            <a:endParaRPr lang="en-US" sz="1199" dirty="0">
              <a:solidFill>
                <a:srgbClr val="C0C0C0">
                  <a:lumMod val="50000"/>
                </a:srgbClr>
              </a:solidFill>
              <a:ea typeface="+mn-ea"/>
            </a:endParaRPr>
          </a:p>
        </p:txBody>
      </p:sp>
      <p:pic>
        <p:nvPicPr>
          <p:cNvPr id="64" name="Picture 63">
            <a:extLst>
              <a:ext uri="{FF2B5EF4-FFF2-40B4-BE49-F238E27FC236}">
                <a16:creationId xmlns:a16="http://schemas.microsoft.com/office/drawing/2014/main" id="{E283FB9C-0860-4343-9847-F5A51854195E}"/>
              </a:ext>
            </a:extLst>
          </p:cNvPr>
          <p:cNvPicPr>
            <a:picLocks noChangeAspect="1"/>
          </p:cNvPicPr>
          <p:nvPr/>
        </p:nvPicPr>
        <p:blipFill rotWithShape="1">
          <a:blip r:embed="rId21">
            <a:clrChange>
              <a:clrFrom>
                <a:srgbClr val="F8FAFB"/>
              </a:clrFrom>
              <a:clrTo>
                <a:srgbClr val="F8FAFB">
                  <a:alpha val="0"/>
                </a:srgbClr>
              </a:clrTo>
            </a:clrChange>
          </a:blip>
          <a:srcRect l="2760" t="-2344" r="16039" b="12830"/>
          <a:stretch/>
        </p:blipFill>
        <p:spPr>
          <a:xfrm>
            <a:off x="8586748" y="4289010"/>
            <a:ext cx="373151" cy="263646"/>
          </a:xfrm>
          <a:prstGeom prst="rect">
            <a:avLst/>
          </a:prstGeom>
        </p:spPr>
      </p:pic>
      <p:pic>
        <p:nvPicPr>
          <p:cNvPr id="66" name="Picture 65">
            <a:extLst>
              <a:ext uri="{FF2B5EF4-FFF2-40B4-BE49-F238E27FC236}">
                <a16:creationId xmlns:a16="http://schemas.microsoft.com/office/drawing/2014/main" id="{1C2BEB71-08F6-461D-8798-46A0417C808F}"/>
              </a:ext>
            </a:extLst>
          </p:cNvPr>
          <p:cNvPicPr>
            <a:picLocks noChangeAspect="1"/>
          </p:cNvPicPr>
          <p:nvPr/>
        </p:nvPicPr>
        <p:blipFill rotWithShape="1">
          <a:blip r:embed="rId21">
            <a:clrChange>
              <a:clrFrom>
                <a:srgbClr val="F8FAFB"/>
              </a:clrFrom>
              <a:clrTo>
                <a:srgbClr val="F8FAFB">
                  <a:alpha val="0"/>
                </a:srgbClr>
              </a:clrTo>
            </a:clrChange>
          </a:blip>
          <a:srcRect l="2760" t="-2344" r="16039" b="12830"/>
          <a:stretch/>
        </p:blipFill>
        <p:spPr>
          <a:xfrm>
            <a:off x="9884672" y="4978948"/>
            <a:ext cx="370859" cy="263646"/>
          </a:xfrm>
          <a:prstGeom prst="rect">
            <a:avLst/>
          </a:prstGeom>
        </p:spPr>
      </p:pic>
      <p:sp>
        <p:nvSpPr>
          <p:cNvPr id="2" name="Right Brace 1">
            <a:extLst>
              <a:ext uri="{FF2B5EF4-FFF2-40B4-BE49-F238E27FC236}">
                <a16:creationId xmlns:a16="http://schemas.microsoft.com/office/drawing/2014/main" id="{6E9F9903-7F4B-4EF6-954F-ECC560032D77}"/>
              </a:ext>
            </a:extLst>
          </p:cNvPr>
          <p:cNvSpPr/>
          <p:nvPr/>
        </p:nvSpPr>
        <p:spPr>
          <a:xfrm>
            <a:off x="6453618" y="2501663"/>
            <a:ext cx="411266" cy="927276"/>
          </a:xfrm>
          <a:prstGeom prst="rightBrace">
            <a:avLst>
              <a:gd name="adj1" fmla="val 8333"/>
              <a:gd name="adj2" fmla="val 46919"/>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eaLnBrk="1" fontAlgn="auto" hangingPunct="1">
              <a:spcBef>
                <a:spcPts val="0"/>
              </a:spcBef>
              <a:spcAft>
                <a:spcPts val="0"/>
              </a:spcAft>
              <a:defRPr/>
            </a:pPr>
            <a:endParaRPr lang="en-US">
              <a:solidFill>
                <a:srgbClr val="000000"/>
              </a:solidFill>
              <a:latin typeface="EYInterstate"/>
            </a:endParaRPr>
          </a:p>
        </p:txBody>
      </p:sp>
      <p:sp>
        <p:nvSpPr>
          <p:cNvPr id="40" name="Right Brace 39">
            <a:extLst>
              <a:ext uri="{FF2B5EF4-FFF2-40B4-BE49-F238E27FC236}">
                <a16:creationId xmlns:a16="http://schemas.microsoft.com/office/drawing/2014/main" id="{44930F18-0E32-4F81-BEB4-2817BC6AE6CE}"/>
              </a:ext>
            </a:extLst>
          </p:cNvPr>
          <p:cNvSpPr/>
          <p:nvPr/>
        </p:nvSpPr>
        <p:spPr>
          <a:xfrm flipH="1">
            <a:off x="6795731" y="3722623"/>
            <a:ext cx="370860" cy="927276"/>
          </a:xfrm>
          <a:prstGeom prst="rightBrace">
            <a:avLst>
              <a:gd name="adj1" fmla="val 8333"/>
              <a:gd name="adj2" fmla="val 49040"/>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eaLnBrk="1" fontAlgn="auto" hangingPunct="1">
              <a:spcBef>
                <a:spcPts val="0"/>
              </a:spcBef>
              <a:spcAft>
                <a:spcPts val="0"/>
              </a:spcAft>
              <a:defRPr/>
            </a:pPr>
            <a:endParaRPr lang="en-US">
              <a:solidFill>
                <a:srgbClr val="000000"/>
              </a:solidFill>
              <a:latin typeface="EYInterstate"/>
            </a:endParaRPr>
          </a:p>
        </p:txBody>
      </p:sp>
      <p:sp>
        <p:nvSpPr>
          <p:cNvPr id="41" name="Right Brace 40">
            <a:extLst>
              <a:ext uri="{FF2B5EF4-FFF2-40B4-BE49-F238E27FC236}">
                <a16:creationId xmlns:a16="http://schemas.microsoft.com/office/drawing/2014/main" id="{4A16EB63-7F1C-45B9-92CB-42A451842B88}"/>
              </a:ext>
            </a:extLst>
          </p:cNvPr>
          <p:cNvSpPr/>
          <p:nvPr/>
        </p:nvSpPr>
        <p:spPr>
          <a:xfrm flipH="1">
            <a:off x="8869726" y="4846490"/>
            <a:ext cx="396061" cy="927276"/>
          </a:xfrm>
          <a:prstGeom prst="rightBrace">
            <a:avLst>
              <a:gd name="adj1" fmla="val 8333"/>
              <a:gd name="adj2" fmla="val 46919"/>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eaLnBrk="1" fontAlgn="auto" hangingPunct="1">
              <a:spcBef>
                <a:spcPts val="0"/>
              </a:spcBef>
              <a:spcAft>
                <a:spcPts val="0"/>
              </a:spcAft>
              <a:defRPr/>
            </a:pPr>
            <a:endParaRPr lang="en-US">
              <a:solidFill>
                <a:srgbClr val="000000"/>
              </a:solidFill>
              <a:latin typeface="EYInterstate"/>
            </a:endParaRPr>
          </a:p>
        </p:txBody>
      </p:sp>
    </p:spTree>
    <p:extLst>
      <p:ext uri="{BB962C8B-B14F-4D97-AF65-F5344CB8AC3E}">
        <p14:creationId xmlns:p14="http://schemas.microsoft.com/office/powerpoint/2010/main" val="36933088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26C4713-91DD-440D-AFE1-2DD0CB84E95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708" b="11958"/>
          <a:stretch/>
        </p:blipFill>
        <p:spPr>
          <a:xfrm flipH="1">
            <a:off x="0" y="3176"/>
            <a:ext cx="13442950" cy="7558088"/>
          </a:xfrm>
          <a:prstGeom prst="rect">
            <a:avLst/>
          </a:prstGeom>
        </p:spPr>
      </p:pic>
      <p:sp>
        <p:nvSpPr>
          <p:cNvPr id="8" name="Freeform 12">
            <a:extLst>
              <a:ext uri="{FF2B5EF4-FFF2-40B4-BE49-F238E27FC236}">
                <a16:creationId xmlns:a16="http://schemas.microsoft.com/office/drawing/2014/main" id="{5D46DDCB-3BE1-4B71-BA08-5E44DE5C46BD}"/>
              </a:ext>
            </a:extLst>
          </p:cNvPr>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marL="0" marR="0" lvl="0" indent="0" algn="ctr" defTabSz="634556" rtl="0" eaLnBrk="1" fontAlgn="base" latinLnBrk="0" hangingPunct="1">
              <a:lnSpc>
                <a:spcPct val="100000"/>
              </a:lnSpc>
              <a:spcBef>
                <a:spcPct val="0"/>
              </a:spcBef>
              <a:spcAft>
                <a:spcPct val="50000"/>
              </a:spcAft>
              <a:buClr>
                <a:srgbClr val="FFE600"/>
              </a:buClr>
              <a:buSzPct val="80000"/>
              <a:buFontTx/>
              <a:buNone/>
              <a:tabLst/>
              <a:defRPr/>
            </a:pPr>
            <a:endParaRPr kumimoji="0" lang="en-US" sz="637"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 name="Text Placeholder 9">
            <a:extLst>
              <a:ext uri="{FF2B5EF4-FFF2-40B4-BE49-F238E27FC236}">
                <a16:creationId xmlns:a16="http://schemas.microsoft.com/office/drawing/2014/main" id="{188B850A-DD0C-40EC-BF0B-9E263EC88DC9}"/>
              </a:ext>
            </a:extLst>
          </p:cNvPr>
          <p:cNvSpPr txBox="1">
            <a:spLocks/>
          </p:cNvSpPr>
          <p:nvPr/>
        </p:nvSpPr>
        <p:spPr bwMode="gray">
          <a:xfrm>
            <a:off x="2856" y="1865549"/>
            <a:ext cx="4992526"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2000" b="1" i="0" u="none" strike="noStrike" kern="1200" cap="none" spc="0" normalizeH="0" baseline="0" noProof="0">
                <a:ln>
                  <a:noFill/>
                </a:ln>
                <a:solidFill>
                  <a:schemeClr val="bg1"/>
                </a:solidFill>
                <a:effectLst/>
                <a:uLnTx/>
                <a:uFillTx/>
                <a:latin typeface="EYInterstate" panose="02000503020000020004" pitchFamily="2" charset="0"/>
                <a:ea typeface="+mn-ea"/>
                <a:cs typeface="Arial" charset="0"/>
              </a:rPr>
              <a:t>   6| Our </a:t>
            </a:r>
            <a:r>
              <a:rPr kumimoji="0" lang="en-US" sz="2000" b="1" i="0" u="none" strike="noStrike" kern="1200" cap="none" spc="0" normalizeH="0" baseline="0" noProof="0">
                <a:ln>
                  <a:noFill/>
                </a:ln>
                <a:solidFill>
                  <a:schemeClr val="bg1"/>
                </a:solidFill>
                <a:effectLst/>
                <a:uLnTx/>
                <a:uFillTx/>
                <a:latin typeface="EYInterstate" panose="02000503020000020004" pitchFamily="2" charset="0"/>
                <a:ea typeface="+mn-ea"/>
                <a:cs typeface="Calibri" panose="020F0502020204030204" pitchFamily="34" charset="0"/>
              </a:rPr>
              <a:t>Team Structure</a:t>
            </a:r>
          </a:p>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endParaRPr kumimoji="0" lang="en-US" sz="1814" b="1" i="0" u="none" strike="noStrike" kern="1200" cap="none" spc="0" normalizeH="0" baseline="0" noProof="0">
              <a:ln>
                <a:noFill/>
              </a:ln>
              <a:solidFill>
                <a:srgbClr val="000000"/>
              </a:solidFill>
              <a:effectLst/>
              <a:uLnTx/>
              <a:uFillTx/>
              <a:latin typeface="EYInterstate" panose="02000503020000020004" pitchFamily="2" charset="0"/>
              <a:ea typeface="+mn-ea"/>
              <a:cs typeface="Calibri" panose="020F0502020204030204" pitchFamily="34" charset="0"/>
            </a:endParaRPr>
          </a:p>
        </p:txBody>
      </p:sp>
      <p:sp>
        <p:nvSpPr>
          <p:cNvPr id="10" name="Rectangle 9">
            <a:extLst>
              <a:ext uri="{FF2B5EF4-FFF2-40B4-BE49-F238E27FC236}">
                <a16:creationId xmlns:a16="http://schemas.microsoft.com/office/drawing/2014/main" id="{36766414-5C78-4E7E-B2EC-3AC0DC969E62}"/>
              </a:ext>
            </a:extLst>
          </p:cNvPr>
          <p:cNvSpPr/>
          <p:nvPr/>
        </p:nvSpPr>
        <p:spPr>
          <a:xfrm>
            <a:off x="8583616" y="-213122"/>
            <a:ext cx="3312045" cy="7359419"/>
          </a:xfrm>
          <a:prstGeom prst="rect">
            <a:avLst/>
          </a:prstGeom>
          <a:noFill/>
        </p:spPr>
        <p:txBody>
          <a:bodyPr wrap="square" lIns="72742" tIns="36370" rIns="72742" bIns="36370">
            <a:spAutoFit/>
          </a:bodyPr>
          <a:lstStyle/>
          <a:p>
            <a:pPr marL="0" marR="0" lvl="0" indent="0" algn="ctr" defTabSz="945990" rtl="0" eaLnBrk="1" fontAlgn="auto" latinLnBrk="0" hangingPunct="1">
              <a:lnSpc>
                <a:spcPct val="100000"/>
              </a:lnSpc>
              <a:spcBef>
                <a:spcPts val="0"/>
              </a:spcBef>
              <a:spcAft>
                <a:spcPts val="0"/>
              </a:spcAft>
              <a:buClrTx/>
              <a:buSzTx/>
              <a:buFontTx/>
              <a:buNone/>
              <a:tabLst/>
              <a:defRPr/>
            </a:pPr>
            <a:r>
              <a:rPr kumimoji="0" lang="en-US" sz="47346" b="1" i="0" u="none" strike="noStrike" kern="1200" cap="none" spc="0" normalizeH="0" baseline="0" noProof="0">
                <a:ln w="22225">
                  <a:solidFill>
                    <a:srgbClr val="FFE600"/>
                  </a:solidFill>
                  <a:prstDash val="solid"/>
                </a:ln>
                <a:solidFill>
                  <a:srgbClr val="FFE600"/>
                </a:solidFill>
                <a:effectLst/>
                <a:uLnTx/>
                <a:uFillTx/>
                <a:latin typeface="EYInterstate" panose="02000503020000020004" pitchFamily="2" charset="0"/>
                <a:ea typeface="+mn-ea"/>
                <a:cs typeface="Calibri" panose="020F0502020204030204" pitchFamily="34" charset="0"/>
              </a:rPr>
              <a:t>6</a:t>
            </a:r>
          </a:p>
        </p:txBody>
      </p:sp>
    </p:spTree>
    <p:extLst>
      <p:ext uri="{BB962C8B-B14F-4D97-AF65-F5344CB8AC3E}">
        <p14:creationId xmlns:p14="http://schemas.microsoft.com/office/powerpoint/2010/main" val="31068983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BDBB60-D53D-4CC7-B7F0-87E7D47931F9}"/>
              </a:ext>
            </a:extLst>
          </p:cNvPr>
          <p:cNvSpPr/>
          <p:nvPr/>
        </p:nvSpPr>
        <p:spPr>
          <a:xfrm>
            <a:off x="724076" y="480118"/>
            <a:ext cx="11555010" cy="76238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177" b="1" i="0" u="none" strike="noStrike" kern="1200" cap="none" spc="0" normalizeH="0" baseline="0" noProof="0">
                <a:ln>
                  <a:noFill/>
                </a:ln>
                <a:solidFill>
                  <a:srgbClr val="646464"/>
                </a:solidFill>
                <a:effectLst/>
                <a:uLnTx/>
                <a:uFillTx/>
                <a:latin typeface="EYInterstate" panose="02000503020000020004" pitchFamily="2" charset="0"/>
                <a:ea typeface="+mj-ea"/>
                <a:cs typeface="Arial" pitchFamily="34" charset="0"/>
              </a:rPr>
              <a:t>We have a high performing team with full range of expertise to execution in Thai insurance business, data &amp; analytics and digital transformation</a:t>
            </a:r>
            <a:r>
              <a:rPr kumimoji="0" lang="en-US" altLang="zh-CN" sz="1800" b="0" i="1" u="none" strike="noStrike" kern="1200" cap="none" spc="0" normalizeH="0" baseline="0" noProof="0">
                <a:ln>
                  <a:noFill/>
                </a:ln>
                <a:solidFill>
                  <a:srgbClr val="000000"/>
                </a:solidFill>
                <a:effectLst/>
                <a:uLnTx/>
                <a:uFillTx/>
                <a:latin typeface="EYInterstate" charset="0"/>
                <a:cs typeface="Arial" charset="0"/>
              </a:rPr>
              <a:t> </a:t>
            </a:r>
            <a:endParaRPr kumimoji="0" lang="en-US" sz="1800" b="0" i="0" u="none" strike="noStrike" kern="1200" cap="none" spc="0" normalizeH="0" baseline="0" noProof="0">
              <a:ln>
                <a:noFill/>
              </a:ln>
              <a:solidFill>
                <a:srgbClr val="000000"/>
              </a:solidFill>
              <a:effectLst/>
              <a:uLnTx/>
              <a:uFillTx/>
              <a:latin typeface="Arial" charset="0"/>
              <a:cs typeface="Arial" charset="0"/>
            </a:endParaRPr>
          </a:p>
        </p:txBody>
      </p:sp>
      <p:cxnSp>
        <p:nvCxnSpPr>
          <p:cNvPr id="51" name="Straight Connector 50">
            <a:extLst>
              <a:ext uri="{FF2B5EF4-FFF2-40B4-BE49-F238E27FC236}">
                <a16:creationId xmlns:a16="http://schemas.microsoft.com/office/drawing/2014/main" id="{A893C5F1-D85D-48FD-9671-A3B50A5A7736}"/>
              </a:ext>
            </a:extLst>
          </p:cNvPr>
          <p:cNvCxnSpPr>
            <a:cxnSpLocks/>
          </p:cNvCxnSpPr>
          <p:nvPr/>
        </p:nvCxnSpPr>
        <p:spPr>
          <a:xfrm>
            <a:off x="6822512" y="2588009"/>
            <a:ext cx="0" cy="1655064"/>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FB65AB6-C120-4B8E-BCCD-A58DEF2E36AC}"/>
              </a:ext>
            </a:extLst>
          </p:cNvPr>
          <p:cNvCxnSpPr>
            <a:cxnSpLocks/>
          </p:cNvCxnSpPr>
          <p:nvPr/>
        </p:nvCxnSpPr>
        <p:spPr>
          <a:xfrm flipV="1">
            <a:off x="6099175" y="1981640"/>
            <a:ext cx="569665"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53" name="Table 52">
            <a:extLst>
              <a:ext uri="{FF2B5EF4-FFF2-40B4-BE49-F238E27FC236}">
                <a16:creationId xmlns:a16="http://schemas.microsoft.com/office/drawing/2014/main" id="{6A36EC21-5B09-445F-9A1F-8CD4C23179DD}"/>
              </a:ext>
            </a:extLst>
          </p:cNvPr>
          <p:cNvGraphicFramePr>
            <a:graphicFrameLocks noGrp="1"/>
          </p:cNvGraphicFramePr>
          <p:nvPr>
            <p:extLst>
              <p:ext uri="{D42A27DB-BD31-4B8C-83A1-F6EECF244321}">
                <p14:modId xmlns:p14="http://schemas.microsoft.com/office/powerpoint/2010/main" val="2347946234"/>
              </p:ext>
            </p:extLst>
          </p:nvPr>
        </p:nvGraphicFramePr>
        <p:xfrm>
          <a:off x="5460315" y="2800553"/>
          <a:ext cx="2724394" cy="1016050"/>
        </p:xfrm>
        <a:graphic>
          <a:graphicData uri="http://schemas.openxmlformats.org/drawingml/2006/table">
            <a:tbl>
              <a:tblPr firstRow="1" bandRow="1"/>
              <a:tblGrid>
                <a:gridCol w="2724394">
                  <a:extLst>
                    <a:ext uri="{9D8B030D-6E8A-4147-A177-3AD203B41FA5}">
                      <a16:colId xmlns:a16="http://schemas.microsoft.com/office/drawing/2014/main" val="20000"/>
                    </a:ext>
                  </a:extLst>
                </a:gridCol>
              </a:tblGrid>
              <a:tr h="303072">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Overall Delivery Lead &amp; PMO</a:t>
                      </a:r>
                      <a:endParaRPr lang="th-TH" sz="1050" b="1" kern="1200">
                        <a:solidFill>
                          <a:srgbClr val="000000"/>
                        </a:solidFill>
                        <a:latin typeface="+mn-lt"/>
                        <a:ea typeface="+mn-ea"/>
                        <a:cs typeface="+mn-cs"/>
                      </a:endParaRPr>
                    </a:p>
                  </a:txBody>
                  <a:tcPr marL="18288" marR="1828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65175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it-IT" sz="1100" b="1" kern="1200">
                          <a:solidFill>
                            <a:schemeClr val="tx1"/>
                          </a:solidFill>
                          <a:latin typeface="EYInterstate Light" panose="02000506000000020004" pitchFamily="2" charset="0"/>
                          <a:ea typeface="+mn-ea"/>
                          <a:cs typeface="+mn-cs"/>
                        </a:rPr>
                        <a:t>Pakpoom Thanesuan</a:t>
                      </a:r>
                    </a:p>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br>
                        <a:rPr lang="it-IT" sz="500" b="1" kern="1200">
                          <a:solidFill>
                            <a:schemeClr val="tx1"/>
                          </a:solidFill>
                          <a:latin typeface="EYInterstate Light" panose="02000506000000020004" pitchFamily="2" charset="0"/>
                          <a:ea typeface="+mn-ea"/>
                          <a:cs typeface="+mn-cs"/>
                        </a:rPr>
                      </a:br>
                      <a:r>
                        <a:rPr lang="it-IT" sz="1050" b="0" kern="1200">
                          <a:solidFill>
                            <a:schemeClr val="tx1"/>
                          </a:solidFill>
                          <a:latin typeface="EYInterstate Light" panose="02000506000000020004" pitchFamily="2" charset="0"/>
                          <a:ea typeface="+mn-ea"/>
                          <a:cs typeface="+mn-cs"/>
                        </a:rPr>
                        <a:t>Associate Director</a:t>
                      </a:r>
                    </a:p>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it-IT" sz="1050" b="0" kern="1200">
                          <a:solidFill>
                            <a:schemeClr val="tx1"/>
                          </a:solidFill>
                          <a:latin typeface="EYInterstate Light" panose="02000506000000020004" pitchFamily="2" charset="0"/>
                          <a:ea typeface="+mn-ea"/>
                          <a:cs typeface="+mn-cs"/>
                        </a:rPr>
                        <a:t>EY Thailand</a:t>
                      </a:r>
                    </a:p>
                  </a:txBody>
                  <a:tcPr marL="18288" marR="18288"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1"/>
                  </a:ext>
                </a:extLst>
              </a:tr>
            </a:tbl>
          </a:graphicData>
        </a:graphic>
      </p:graphicFrame>
      <p:graphicFrame>
        <p:nvGraphicFramePr>
          <p:cNvPr id="57" name="Table 56">
            <a:extLst>
              <a:ext uri="{FF2B5EF4-FFF2-40B4-BE49-F238E27FC236}">
                <a16:creationId xmlns:a16="http://schemas.microsoft.com/office/drawing/2014/main" id="{05E59656-5D65-42FD-9248-D65F6FB096EE}"/>
              </a:ext>
            </a:extLst>
          </p:cNvPr>
          <p:cNvGraphicFramePr>
            <a:graphicFrameLocks noGrp="1"/>
          </p:cNvGraphicFramePr>
          <p:nvPr>
            <p:extLst>
              <p:ext uri="{D42A27DB-BD31-4B8C-83A1-F6EECF244321}">
                <p14:modId xmlns:p14="http://schemas.microsoft.com/office/powerpoint/2010/main" val="580068389"/>
              </p:ext>
            </p:extLst>
          </p:nvPr>
        </p:nvGraphicFramePr>
        <p:xfrm>
          <a:off x="4321050" y="1456336"/>
          <a:ext cx="1833263" cy="975876"/>
        </p:xfrm>
        <a:graphic>
          <a:graphicData uri="http://schemas.openxmlformats.org/drawingml/2006/table">
            <a:tbl>
              <a:tblPr firstRow="1" bandRow="1"/>
              <a:tblGrid>
                <a:gridCol w="1833263">
                  <a:extLst>
                    <a:ext uri="{9D8B030D-6E8A-4147-A177-3AD203B41FA5}">
                      <a16:colId xmlns:a16="http://schemas.microsoft.com/office/drawing/2014/main" val="20000"/>
                    </a:ext>
                  </a:extLst>
                </a:gridCol>
              </a:tblGrid>
              <a:tr h="308237">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Co-Engagement Partner</a:t>
                      </a:r>
                    </a:p>
                  </a:txBody>
                  <a:tcPr marL="18288" marR="1828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64494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en-US" sz="1050" b="1" kern="1200">
                          <a:solidFill>
                            <a:schemeClr val="tx1"/>
                          </a:solidFill>
                          <a:latin typeface="EYInterstate Light" panose="02000506000000020004" pitchFamily="2" charset="0"/>
                          <a:ea typeface=""/>
                          <a:cs typeface=""/>
                        </a:rPr>
                        <a:t>Roungkarn Sriprasertsuk</a:t>
                      </a:r>
                    </a:p>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br>
                        <a:rPr lang="en-US" sz="200" b="0" kern="1200">
                          <a:solidFill>
                            <a:schemeClr val="tx1"/>
                          </a:solidFill>
                          <a:latin typeface="EYInterstate Light" panose="02000506000000020004" pitchFamily="2" charset="0"/>
                          <a:ea typeface=""/>
                          <a:cs typeface=""/>
                        </a:rPr>
                      </a:br>
                      <a:r>
                        <a:rPr lang="en-US" sz="1050" b="0" kern="1200">
                          <a:solidFill>
                            <a:schemeClr val="tx1"/>
                          </a:solidFill>
                          <a:latin typeface="EYInterstate Light" panose="02000506000000020004" pitchFamily="2" charset="0"/>
                          <a:ea typeface=""/>
                          <a:cs typeface=""/>
                        </a:rPr>
                        <a:t>Business Consulting Lead</a:t>
                      </a:r>
                    </a:p>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en-US" sz="1050" b="0" kern="1200">
                          <a:solidFill>
                            <a:schemeClr val="tx1"/>
                          </a:solidFill>
                          <a:latin typeface="EYInterstate Light" panose="02000506000000020004" pitchFamily="2" charset="0"/>
                          <a:ea typeface=""/>
                          <a:cs typeface=""/>
                        </a:rPr>
                        <a:t>EY Thailand</a:t>
                      </a:r>
                    </a:p>
                  </a:txBody>
                  <a:tcPr marL="18288" marR="18288"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1"/>
                  </a:ext>
                </a:extLst>
              </a:tr>
            </a:tbl>
          </a:graphicData>
        </a:graphic>
      </p:graphicFrame>
      <p:grpSp>
        <p:nvGrpSpPr>
          <p:cNvPr id="62" name="Group 61">
            <a:extLst>
              <a:ext uri="{FF2B5EF4-FFF2-40B4-BE49-F238E27FC236}">
                <a16:creationId xmlns:a16="http://schemas.microsoft.com/office/drawing/2014/main" id="{8A65D28D-01A5-4AF4-B1FE-8C66871503F4}"/>
              </a:ext>
            </a:extLst>
          </p:cNvPr>
          <p:cNvGrpSpPr/>
          <p:nvPr/>
        </p:nvGrpSpPr>
        <p:grpSpPr>
          <a:xfrm>
            <a:off x="841341" y="1507415"/>
            <a:ext cx="1505258" cy="2472465"/>
            <a:chOff x="1691124" y="1898917"/>
            <a:chExt cx="1505258" cy="2472465"/>
          </a:xfrm>
        </p:grpSpPr>
        <p:cxnSp>
          <p:nvCxnSpPr>
            <p:cNvPr id="63" name="Straight Connector 62">
              <a:extLst>
                <a:ext uri="{FF2B5EF4-FFF2-40B4-BE49-F238E27FC236}">
                  <a16:creationId xmlns:a16="http://schemas.microsoft.com/office/drawing/2014/main" id="{A33CC2BC-2E03-4662-83E1-360B51F4B816}"/>
                </a:ext>
              </a:extLst>
            </p:cNvPr>
            <p:cNvCxnSpPr/>
            <p:nvPr/>
          </p:nvCxnSpPr>
          <p:spPr>
            <a:xfrm>
              <a:off x="2443753" y="2287428"/>
              <a:ext cx="0" cy="1620000"/>
            </a:xfrm>
            <a:prstGeom prst="line">
              <a:avLst/>
            </a:prstGeom>
            <a:noFill/>
            <a:ln w="9525" cap="flat" cmpd="sng" algn="ctr">
              <a:solidFill>
                <a:srgbClr val="C00000"/>
              </a:solidFill>
              <a:prstDash val="solid"/>
              <a:tailEnd type="none"/>
            </a:ln>
            <a:effectLst/>
          </p:spPr>
        </p:cxnSp>
        <p:sp>
          <p:nvSpPr>
            <p:cNvPr id="64" name="Rectangle 63">
              <a:extLst>
                <a:ext uri="{FF2B5EF4-FFF2-40B4-BE49-F238E27FC236}">
                  <a16:creationId xmlns:a16="http://schemas.microsoft.com/office/drawing/2014/main" id="{DB8E81F2-E7ED-4054-BB9C-EA90F349E9F2}"/>
                </a:ext>
              </a:extLst>
            </p:cNvPr>
            <p:cNvSpPr>
              <a:spLocks noChangeArrowheads="1"/>
            </p:cNvSpPr>
            <p:nvPr/>
          </p:nvSpPr>
          <p:spPr bwMode="auto">
            <a:xfrm>
              <a:off x="1691124" y="1898917"/>
              <a:ext cx="1505258" cy="839595"/>
            </a:xfrm>
            <a:prstGeom prst="rect">
              <a:avLst/>
            </a:prstGeom>
            <a:solidFill>
              <a:srgbClr val="C00000"/>
            </a:solidFill>
            <a:ln w="12700" algn="ctr">
              <a:solidFill>
                <a:schemeClr val="accent5"/>
              </a:solidFill>
              <a:miter lim="800000"/>
              <a:headEnd type="none" w="sm" len="sm"/>
              <a:tailEnd type="none" w="sm" len="sm"/>
            </a:ln>
          </p:spPr>
          <p:txBody>
            <a:bodyPr lIns="38713" tIns="38713" rIns="38713" bIns="38713" anchor="ctr"/>
            <a:lstStyle/>
            <a:p>
              <a:pPr marL="0" marR="0" lvl="0" indent="0" algn="ctr" defTabSz="938030" rtl="0" eaLnBrk="0" fontAlgn="auto" latinLnBrk="0" hangingPunct="0">
                <a:lnSpc>
                  <a:spcPts val="1400"/>
                </a:lnSpc>
                <a:spcBef>
                  <a:spcPts val="0"/>
                </a:spcBef>
                <a:spcAft>
                  <a:spcPct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EYInterstate"/>
                  <a:cs typeface="Arial" panose="020B0604020202020204" pitchFamily="34" charset="0"/>
                  <a:sym typeface="Arial Unicode MS" pitchFamily="34" charset="-128"/>
                </a:rPr>
                <a:t>AIA Stakeholder</a:t>
              </a:r>
            </a:p>
          </p:txBody>
        </p:sp>
        <p:sp>
          <p:nvSpPr>
            <p:cNvPr id="65" name="Rectangle 64">
              <a:extLst>
                <a:ext uri="{FF2B5EF4-FFF2-40B4-BE49-F238E27FC236}">
                  <a16:creationId xmlns:a16="http://schemas.microsoft.com/office/drawing/2014/main" id="{88CFCC62-6FBB-45C3-8899-91C9334D0718}"/>
                </a:ext>
              </a:extLst>
            </p:cNvPr>
            <p:cNvSpPr>
              <a:spLocks noChangeArrowheads="1"/>
            </p:cNvSpPr>
            <p:nvPr/>
          </p:nvSpPr>
          <p:spPr bwMode="auto">
            <a:xfrm>
              <a:off x="1691124" y="3532582"/>
              <a:ext cx="1505258" cy="838800"/>
            </a:xfrm>
            <a:prstGeom prst="rect">
              <a:avLst/>
            </a:prstGeom>
            <a:solidFill>
              <a:srgbClr val="C00000"/>
            </a:solidFill>
            <a:ln w="12700" algn="ctr">
              <a:solidFill>
                <a:schemeClr val="accent5"/>
              </a:solidFill>
              <a:miter lim="800000"/>
              <a:headEnd type="none" w="sm" len="sm"/>
              <a:tailEnd type="none" w="sm" len="sm"/>
            </a:ln>
          </p:spPr>
          <p:txBody>
            <a:bodyPr lIns="38713" tIns="38713" rIns="38713" bIns="38713" anchor="ctr"/>
            <a:lstStyle/>
            <a:p>
              <a:pPr marL="0" marR="0" lvl="0" indent="0" algn="ctr" defTabSz="938030" rtl="0" eaLnBrk="0" fontAlgn="auto" latinLnBrk="0" hangingPunct="0">
                <a:lnSpc>
                  <a:spcPts val="1400"/>
                </a:lnSpc>
                <a:spcBef>
                  <a:spcPts val="0"/>
                </a:spcBef>
                <a:spcAft>
                  <a:spcPct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EYInterstate"/>
                  <a:cs typeface="Arial" panose="020B0604020202020204" pitchFamily="34" charset="0"/>
                  <a:sym typeface="Arial Unicode MS" pitchFamily="34" charset="-128"/>
                </a:rPr>
                <a:t>AIA Primary Contact</a:t>
              </a:r>
            </a:p>
          </p:txBody>
        </p:sp>
      </p:grpSp>
      <p:cxnSp>
        <p:nvCxnSpPr>
          <p:cNvPr id="66" name="Straight Arrow Connector 65">
            <a:extLst>
              <a:ext uri="{FF2B5EF4-FFF2-40B4-BE49-F238E27FC236}">
                <a16:creationId xmlns:a16="http://schemas.microsoft.com/office/drawing/2014/main" id="{468023C5-F13A-45FE-98CA-C219DA1EF8FE}"/>
              </a:ext>
            </a:extLst>
          </p:cNvPr>
          <p:cNvCxnSpPr>
            <a:cxnSpLocks/>
          </p:cNvCxnSpPr>
          <p:nvPr/>
        </p:nvCxnSpPr>
        <p:spPr bwMode="auto">
          <a:xfrm>
            <a:off x="2482493" y="1933227"/>
            <a:ext cx="877652" cy="0"/>
          </a:xfrm>
          <a:prstGeom prst="straightConnector1">
            <a:avLst/>
          </a:prstGeom>
          <a:noFill/>
          <a:ln w="1270" cap="flat" cmpd="sng" algn="ctr">
            <a:solidFill>
              <a:schemeClr val="accent1"/>
            </a:solidFill>
            <a:prstDash val="solid"/>
            <a:round/>
            <a:headEnd type="triangle"/>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7" name="Rectangle 66">
            <a:extLst>
              <a:ext uri="{FF2B5EF4-FFF2-40B4-BE49-F238E27FC236}">
                <a16:creationId xmlns:a16="http://schemas.microsoft.com/office/drawing/2014/main" id="{836F15FE-77E6-4FE3-9EFA-E7B86A66CC48}"/>
              </a:ext>
            </a:extLst>
          </p:cNvPr>
          <p:cNvSpPr>
            <a:spLocks noChangeArrowheads="1"/>
          </p:cNvSpPr>
          <p:nvPr/>
        </p:nvSpPr>
        <p:spPr bwMode="auto">
          <a:xfrm>
            <a:off x="2406048" y="3598718"/>
            <a:ext cx="992201" cy="276999"/>
          </a:xfrm>
          <a:prstGeom prst="rect">
            <a:avLst/>
          </a:prstGeom>
          <a:noFill/>
          <a:ln w="9525">
            <a:noFill/>
            <a:round/>
            <a:headEnd/>
            <a:tailEnd/>
          </a:ln>
        </p:spPr>
        <p:txBody>
          <a:bodyPr wrap="square" lIns="38713"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30313" rtl="0" eaLnBrk="0" fontAlgn="base" latinLnBrk="0" hangingPunct="0">
              <a:lnSpc>
                <a:spcPct val="100000"/>
              </a:lnSpc>
              <a:spcBef>
                <a:spcPct val="0"/>
              </a:spcBef>
              <a:spcAft>
                <a:spcPct val="0"/>
              </a:spcAft>
              <a:buClr>
                <a:srgbClr val="990000"/>
              </a:buClr>
              <a:buSzPct val="100000"/>
              <a:buFontTx/>
              <a:buNone/>
              <a:tabLst>
                <a:tab pos="0" algn="l"/>
                <a:tab pos="861938" algn="l"/>
                <a:tab pos="1723877" algn="l"/>
                <a:tab pos="2585815" algn="l"/>
                <a:tab pos="3447752" algn="l"/>
                <a:tab pos="4309691" algn="l"/>
                <a:tab pos="5171629" algn="l"/>
                <a:tab pos="6033567" algn="l"/>
                <a:tab pos="6895505" algn="l"/>
                <a:tab pos="7757444" algn="l"/>
                <a:tab pos="8619380" algn="l"/>
                <a:tab pos="9481319" algn="l"/>
              </a:tabLst>
              <a:defRPr/>
            </a:pPr>
            <a:r>
              <a:rPr kumimoji="0" lang="en-US" sz="900" b="0" i="0" u="none" strike="noStrike" kern="1200" cap="none" spc="0" normalizeH="0" baseline="0" noProof="0">
                <a:ln>
                  <a:noFill/>
                </a:ln>
                <a:solidFill>
                  <a:prstClr val="black"/>
                </a:solidFill>
                <a:effectLst/>
                <a:uLnTx/>
                <a:uFillTx/>
                <a:latin typeface="EYInterstate"/>
                <a:ea typeface="+mn-ea"/>
                <a:cs typeface="Arial" panose="020B0604020202020204" pitchFamily="34" charset="0"/>
              </a:rPr>
              <a:t>Ongoing project communications</a:t>
            </a:r>
          </a:p>
        </p:txBody>
      </p:sp>
      <p:cxnSp>
        <p:nvCxnSpPr>
          <p:cNvPr id="72" name="Straight Arrow Connector 71">
            <a:extLst>
              <a:ext uri="{FF2B5EF4-FFF2-40B4-BE49-F238E27FC236}">
                <a16:creationId xmlns:a16="http://schemas.microsoft.com/office/drawing/2014/main" id="{C250DB17-7869-4B02-A6E9-4E8FC1000999}"/>
              </a:ext>
            </a:extLst>
          </p:cNvPr>
          <p:cNvCxnSpPr/>
          <p:nvPr/>
        </p:nvCxnSpPr>
        <p:spPr bwMode="auto">
          <a:xfrm>
            <a:off x="2504157" y="3459768"/>
            <a:ext cx="855988" cy="0"/>
          </a:xfrm>
          <a:prstGeom prst="straightConnector1">
            <a:avLst/>
          </a:prstGeom>
          <a:noFill/>
          <a:ln w="1270" cap="flat" cmpd="sng" algn="ctr">
            <a:solidFill>
              <a:schemeClr val="accent1"/>
            </a:solidFill>
            <a:prstDash val="solid"/>
            <a:round/>
            <a:headEnd type="triangle"/>
            <a:tailEnd type="triangle"/>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Rectangle 72">
            <a:extLst>
              <a:ext uri="{FF2B5EF4-FFF2-40B4-BE49-F238E27FC236}">
                <a16:creationId xmlns:a16="http://schemas.microsoft.com/office/drawing/2014/main" id="{341C1B2B-BE34-4820-A4F5-60CD6838D391}"/>
              </a:ext>
            </a:extLst>
          </p:cNvPr>
          <p:cNvSpPr>
            <a:spLocks noChangeArrowheads="1"/>
          </p:cNvSpPr>
          <p:nvPr/>
        </p:nvSpPr>
        <p:spPr bwMode="auto">
          <a:xfrm>
            <a:off x="2374786" y="2083588"/>
            <a:ext cx="1111719" cy="307777"/>
          </a:xfrm>
          <a:prstGeom prst="rect">
            <a:avLst/>
          </a:prstGeom>
          <a:noFill/>
          <a:ln w="9525">
            <a:noFill/>
            <a:round/>
            <a:headEnd/>
            <a:tailEnd/>
          </a:ln>
        </p:spPr>
        <p:txBody>
          <a:bodyPr wrap="square" lIns="38713"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30313" rtl="0" eaLnBrk="0" fontAlgn="base" latinLnBrk="0" hangingPunct="0">
              <a:lnSpc>
                <a:spcPct val="100000"/>
              </a:lnSpc>
              <a:spcBef>
                <a:spcPct val="0"/>
              </a:spcBef>
              <a:spcAft>
                <a:spcPct val="0"/>
              </a:spcAft>
              <a:buClr>
                <a:srgbClr val="990000"/>
              </a:buClr>
              <a:buSzPct val="100000"/>
              <a:buFontTx/>
              <a:buNone/>
              <a:tabLst>
                <a:tab pos="0" algn="l"/>
                <a:tab pos="861938" algn="l"/>
                <a:tab pos="1723877" algn="l"/>
                <a:tab pos="2585815" algn="l"/>
                <a:tab pos="3447752" algn="l"/>
                <a:tab pos="4309691" algn="l"/>
                <a:tab pos="5171629" algn="l"/>
                <a:tab pos="6033567" algn="l"/>
                <a:tab pos="6895505" algn="l"/>
                <a:tab pos="7757444" algn="l"/>
                <a:tab pos="8619380" algn="l"/>
                <a:tab pos="9481319" algn="l"/>
              </a:tabLst>
              <a:defRPr/>
            </a:pPr>
            <a:r>
              <a:rPr kumimoji="0" lang="en-US" sz="1000" b="0" i="0" u="none" strike="noStrike" kern="1200" cap="none" spc="0" normalizeH="0" baseline="0" noProof="0">
                <a:ln>
                  <a:noFill/>
                </a:ln>
                <a:solidFill>
                  <a:prstClr val="black"/>
                </a:solidFill>
                <a:effectLst/>
                <a:uLnTx/>
                <a:uFillTx/>
                <a:latin typeface="EYInterstate"/>
                <a:ea typeface="+mn-ea"/>
                <a:cs typeface="Arial" panose="020B0604020202020204" pitchFamily="34" charset="0"/>
              </a:rPr>
              <a:t>Regular touchpoints</a:t>
            </a:r>
          </a:p>
        </p:txBody>
      </p:sp>
      <p:sp>
        <p:nvSpPr>
          <p:cNvPr id="74" name="Rectangle 73">
            <a:extLst>
              <a:ext uri="{FF2B5EF4-FFF2-40B4-BE49-F238E27FC236}">
                <a16:creationId xmlns:a16="http://schemas.microsoft.com/office/drawing/2014/main" id="{1A9D7AAB-E3D0-47E6-BB91-7650127B81ED}"/>
              </a:ext>
            </a:extLst>
          </p:cNvPr>
          <p:cNvSpPr/>
          <p:nvPr/>
        </p:nvSpPr>
        <p:spPr>
          <a:xfrm>
            <a:off x="9683396" y="1745376"/>
            <a:ext cx="2384557" cy="2184770"/>
          </a:xfrm>
          <a:prstGeom prst="rect">
            <a:avLst/>
          </a:prstGeom>
          <a:solidFill>
            <a:srgbClr val="E0E0E0"/>
          </a:solidFill>
          <a:ln w="9525" cap="flat" cmpd="sng" algn="ctr">
            <a:solidFill>
              <a:srgbClr val="F0F0F0"/>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333333"/>
              </a:solidFill>
              <a:effectLst/>
              <a:uLnTx/>
              <a:uFillTx/>
              <a:latin typeface="Arial"/>
              <a:ea typeface="+mn-ea"/>
              <a:cs typeface="Arial" charset="0"/>
            </a:endParaRPr>
          </a:p>
        </p:txBody>
      </p:sp>
      <p:sp>
        <p:nvSpPr>
          <p:cNvPr id="75" name="Rectangle 74">
            <a:extLst>
              <a:ext uri="{FF2B5EF4-FFF2-40B4-BE49-F238E27FC236}">
                <a16:creationId xmlns:a16="http://schemas.microsoft.com/office/drawing/2014/main" id="{590C639F-DE30-4736-9279-BCFF9177915A}"/>
              </a:ext>
            </a:extLst>
          </p:cNvPr>
          <p:cNvSpPr/>
          <p:nvPr/>
        </p:nvSpPr>
        <p:spPr>
          <a:xfrm>
            <a:off x="9683397" y="1420839"/>
            <a:ext cx="2384555" cy="324536"/>
          </a:xfrm>
          <a:prstGeom prst="rect">
            <a:avLst/>
          </a:prstGeom>
          <a:solidFill>
            <a:schemeClr val="accent2"/>
          </a:solidFill>
          <a:ln w="9525" cap="flat" cmpd="sng" algn="ctr">
            <a:solidFill>
              <a:srgbClr val="FFE600"/>
            </a:solidFill>
            <a:prstDash val="solid"/>
          </a:ln>
          <a:effectLst/>
        </p:spPr>
        <p:txBody>
          <a:bodyPr lIns="45720" rIns="457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1" i="0" u="none" strike="noStrike" kern="1200" cap="none" spc="0" normalizeH="0" baseline="0" noProof="0">
                <a:ln>
                  <a:noFill/>
                </a:ln>
                <a:solidFill>
                  <a:srgbClr val="000000"/>
                </a:solidFill>
                <a:effectLst/>
                <a:uLnTx/>
                <a:uFillTx/>
                <a:latin typeface="EYInterstate"/>
                <a:ea typeface="+mn-ea"/>
                <a:cs typeface="Arial" charset="0"/>
              </a:rPr>
              <a:t>Subject Matter Advisors (SMAs)</a:t>
            </a:r>
          </a:p>
        </p:txBody>
      </p:sp>
      <p:sp>
        <p:nvSpPr>
          <p:cNvPr id="76" name="Rectangle 75">
            <a:extLst>
              <a:ext uri="{FF2B5EF4-FFF2-40B4-BE49-F238E27FC236}">
                <a16:creationId xmlns:a16="http://schemas.microsoft.com/office/drawing/2014/main" id="{A8928FA1-9AF5-4105-888F-0396869012EB}"/>
              </a:ext>
            </a:extLst>
          </p:cNvPr>
          <p:cNvSpPr/>
          <p:nvPr/>
        </p:nvSpPr>
        <p:spPr>
          <a:xfrm>
            <a:off x="10408584" y="1854352"/>
            <a:ext cx="1509250" cy="498726"/>
          </a:xfrm>
          <a:prstGeom prst="rect">
            <a:avLst/>
          </a:prstGeom>
        </p:spPr>
        <p:txBody>
          <a:bodyPr wrap="square">
            <a:spAutoFit/>
          </a:bodyPr>
          <a:lstStyle/>
          <a:p>
            <a:pPr marL="0" marR="0" lvl="0" indent="0" algn="l" defTabSz="1266650" rtl="0" eaLnBrk="1" fontAlgn="base" latinLnBrk="0" hangingPunct="1">
              <a:lnSpc>
                <a:spcPct val="85000"/>
              </a:lnSpc>
              <a:spcBef>
                <a:spcPts val="0"/>
              </a:spcBef>
              <a:spcAft>
                <a:spcPts val="200"/>
              </a:spcAft>
              <a:buClr>
                <a:srgbClr val="FFE600"/>
              </a:buClr>
              <a:buSzPct val="70000"/>
              <a:buFont typeface="Arial" charset="0"/>
              <a:buNone/>
              <a:tabLst>
                <a:tab pos="257283" algn="l"/>
              </a:tabLst>
              <a:defRPr/>
            </a:pPr>
            <a:r>
              <a:rPr kumimoji="0" lang="en-US" sz="905" b="1" i="0" u="none" strike="noStrike" kern="1200" cap="none" spc="0" normalizeH="0" baseline="0" noProof="0">
                <a:ln>
                  <a:noFill/>
                </a:ln>
                <a:solidFill>
                  <a:srgbClr val="000000"/>
                </a:solidFill>
                <a:effectLst/>
                <a:uLnTx/>
                <a:uFillTx/>
                <a:latin typeface="EYInterstate"/>
                <a:cs typeface="Arial" charset="0"/>
              </a:rPr>
              <a:t>David Chen</a:t>
            </a:r>
          </a:p>
          <a:p>
            <a:pPr marL="0" marR="0" lvl="0" indent="0" algn="l" defTabSz="1266650" rtl="0" eaLnBrk="1" fontAlgn="base" latinLnBrk="0" hangingPunct="1">
              <a:lnSpc>
                <a:spcPct val="85000"/>
              </a:lnSpc>
              <a:spcBef>
                <a:spcPts val="0"/>
              </a:spcBef>
              <a:spcAft>
                <a:spcPts val="200"/>
              </a:spcAft>
              <a:buClr>
                <a:srgbClr val="FFE600"/>
              </a:buClr>
              <a:buSzPct val="70000"/>
              <a:buFont typeface="Arial" charset="0"/>
              <a:buNone/>
              <a:tabLst>
                <a:tab pos="257283" algn="l"/>
              </a:tabLst>
              <a:defRPr/>
            </a:pPr>
            <a:r>
              <a:rPr kumimoji="0" lang="en-US" sz="905" b="0" i="0" u="none" strike="noStrike" kern="1200" cap="none" spc="0" normalizeH="0" baseline="0" noProof="0">
                <a:ln>
                  <a:noFill/>
                </a:ln>
                <a:solidFill>
                  <a:srgbClr val="000000"/>
                </a:solidFill>
                <a:effectLst/>
                <a:uLnTx/>
                <a:uFillTx/>
                <a:latin typeface="EYInterstate"/>
                <a:cs typeface="Arial" charset="0"/>
              </a:rPr>
              <a:t>Partner</a:t>
            </a:r>
          </a:p>
          <a:p>
            <a:pPr marL="0" marR="0" lvl="0" indent="0" algn="l" defTabSz="1266650" rtl="0" eaLnBrk="1" fontAlgn="base" latinLnBrk="0" hangingPunct="1">
              <a:lnSpc>
                <a:spcPct val="85000"/>
              </a:lnSpc>
              <a:spcBef>
                <a:spcPts val="0"/>
              </a:spcBef>
              <a:spcAft>
                <a:spcPts val="200"/>
              </a:spcAft>
              <a:buClr>
                <a:srgbClr val="FFE600"/>
              </a:buClr>
              <a:buSzPct val="70000"/>
              <a:buFont typeface="Arial" charset="0"/>
              <a:buNone/>
              <a:tabLst>
                <a:tab pos="257283" algn="l"/>
              </a:tabLst>
              <a:defRPr/>
            </a:pPr>
            <a:r>
              <a:rPr kumimoji="0" lang="en-US" sz="905" b="0" i="0" u="none" strike="noStrike" kern="1200" cap="none" spc="0" normalizeH="0" baseline="0" noProof="0">
                <a:ln>
                  <a:noFill/>
                </a:ln>
                <a:solidFill>
                  <a:srgbClr val="000000"/>
                </a:solidFill>
                <a:effectLst/>
                <a:uLnTx/>
                <a:uFillTx/>
                <a:latin typeface="EYInterstate"/>
                <a:cs typeface="Arial" charset="0"/>
              </a:rPr>
              <a:t>Digital SMA</a:t>
            </a:r>
          </a:p>
        </p:txBody>
      </p:sp>
      <p:graphicFrame>
        <p:nvGraphicFramePr>
          <p:cNvPr id="77" name="Table 76">
            <a:extLst>
              <a:ext uri="{FF2B5EF4-FFF2-40B4-BE49-F238E27FC236}">
                <a16:creationId xmlns:a16="http://schemas.microsoft.com/office/drawing/2014/main" id="{3373FCC3-7F2A-4FAD-9FDE-E5FE0BECB2D6}"/>
              </a:ext>
            </a:extLst>
          </p:cNvPr>
          <p:cNvGraphicFramePr>
            <a:graphicFrameLocks noGrp="1"/>
          </p:cNvGraphicFramePr>
          <p:nvPr>
            <p:extLst>
              <p:ext uri="{D42A27DB-BD31-4B8C-83A1-F6EECF244321}">
                <p14:modId xmlns:p14="http://schemas.microsoft.com/office/powerpoint/2010/main" val="867781077"/>
              </p:ext>
            </p:extLst>
          </p:nvPr>
        </p:nvGraphicFramePr>
        <p:xfrm>
          <a:off x="7526837" y="1456336"/>
          <a:ext cx="1962355" cy="978434"/>
        </p:xfrm>
        <a:graphic>
          <a:graphicData uri="http://schemas.openxmlformats.org/drawingml/2006/table">
            <a:tbl>
              <a:tblPr firstRow="1" bandRow="1"/>
              <a:tblGrid>
                <a:gridCol w="1962355">
                  <a:extLst>
                    <a:ext uri="{9D8B030D-6E8A-4147-A177-3AD203B41FA5}">
                      <a16:colId xmlns:a16="http://schemas.microsoft.com/office/drawing/2014/main" val="20000"/>
                    </a:ext>
                  </a:extLst>
                </a:gridCol>
              </a:tblGrid>
              <a:tr h="279553">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Co-Engagement Partner</a:t>
                      </a:r>
                    </a:p>
                  </a:txBody>
                  <a:tcPr marL="18288" marR="1828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698881">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en-US" sz="1050" b="1" kern="1200">
                          <a:solidFill>
                            <a:schemeClr val="tx1"/>
                          </a:solidFill>
                          <a:latin typeface="EYInterstate Light" panose="02000506000000020004" pitchFamily="2" charset="0"/>
                          <a:ea typeface=""/>
                          <a:cs typeface=""/>
                        </a:rPr>
                        <a:t>Nitin Datta</a:t>
                      </a:r>
                    </a:p>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br>
                        <a:rPr lang="en-US" sz="200" b="0" kern="1200">
                          <a:solidFill>
                            <a:schemeClr val="tx1"/>
                          </a:solidFill>
                          <a:latin typeface="EYInterstate Light" panose="02000506000000020004" pitchFamily="2" charset="0"/>
                          <a:ea typeface=""/>
                          <a:cs typeface=""/>
                        </a:rPr>
                      </a:br>
                      <a:r>
                        <a:rPr lang="en-US" sz="1050" b="0" kern="1200">
                          <a:solidFill>
                            <a:schemeClr val="tx1"/>
                          </a:solidFill>
                          <a:latin typeface="EYInterstate Light" panose="02000506000000020004" pitchFamily="2" charset="0"/>
                          <a:ea typeface=""/>
                          <a:cs typeface=""/>
                        </a:rPr>
                        <a:t>FSO Data Analytic Lead</a:t>
                      </a:r>
                    </a:p>
                    <a:p>
                      <a:pPr marL="0" marR="0" lvl="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en-US" sz="1050" b="0" kern="1200">
                          <a:solidFill>
                            <a:schemeClr val="tx1"/>
                          </a:solidFill>
                          <a:latin typeface="EYInterstate Light" panose="02000506000000020004" pitchFamily="2" charset="0"/>
                          <a:ea typeface=""/>
                          <a:cs typeface=""/>
                        </a:rPr>
                        <a:t>EY Singapore</a:t>
                      </a:r>
                    </a:p>
                  </a:txBody>
                  <a:tcPr marL="18288" marR="18288"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1"/>
                  </a:ext>
                </a:extLst>
              </a:tr>
            </a:tbl>
          </a:graphicData>
        </a:graphic>
      </p:graphicFrame>
      <p:sp>
        <p:nvSpPr>
          <p:cNvPr id="78" name="Rectangle 77">
            <a:extLst>
              <a:ext uri="{FF2B5EF4-FFF2-40B4-BE49-F238E27FC236}">
                <a16:creationId xmlns:a16="http://schemas.microsoft.com/office/drawing/2014/main" id="{20858770-3B8C-428E-8F30-2AF156FE4FCC}"/>
              </a:ext>
            </a:extLst>
          </p:cNvPr>
          <p:cNvSpPr/>
          <p:nvPr/>
        </p:nvSpPr>
        <p:spPr>
          <a:xfrm>
            <a:off x="746354" y="1412816"/>
            <a:ext cx="1689462" cy="2691717"/>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a:ea typeface="+mn-ea"/>
              <a:cs typeface="+mn-cs"/>
            </a:endParaRPr>
          </a:p>
        </p:txBody>
      </p:sp>
      <p:sp>
        <p:nvSpPr>
          <p:cNvPr id="79" name="Rectangle 78">
            <a:extLst>
              <a:ext uri="{FF2B5EF4-FFF2-40B4-BE49-F238E27FC236}">
                <a16:creationId xmlns:a16="http://schemas.microsoft.com/office/drawing/2014/main" id="{52B73680-5180-4DA2-951B-81C4FC45EFE4}"/>
              </a:ext>
            </a:extLst>
          </p:cNvPr>
          <p:cNvSpPr/>
          <p:nvPr/>
        </p:nvSpPr>
        <p:spPr>
          <a:xfrm>
            <a:off x="10408584" y="2506296"/>
            <a:ext cx="1492609" cy="498726"/>
          </a:xfrm>
          <a:prstGeom prst="rect">
            <a:avLst/>
          </a:prstGeom>
        </p:spPr>
        <p:txBody>
          <a:bodyPr wrap="square">
            <a:spAutoFit/>
          </a:bodyPr>
          <a:lstStyle/>
          <a:p>
            <a:pPr marL="0" marR="0" lvl="0" indent="0" algn="l" defTabSz="1266650" rtl="0" eaLnBrk="1" fontAlgn="base" latinLnBrk="0" hangingPunct="1">
              <a:lnSpc>
                <a:spcPct val="85000"/>
              </a:lnSpc>
              <a:spcBef>
                <a:spcPts val="0"/>
              </a:spcBef>
              <a:spcAft>
                <a:spcPts val="200"/>
              </a:spcAft>
              <a:buClr>
                <a:srgbClr val="FFE600"/>
              </a:buClr>
              <a:buSzPct val="70000"/>
              <a:buFontTx/>
              <a:buNone/>
              <a:tabLst>
                <a:tab pos="257283" algn="l"/>
              </a:tabLst>
              <a:defRPr/>
            </a:pPr>
            <a:r>
              <a:rPr kumimoji="0" lang="en-US" sz="905" b="1" i="0" u="none" strike="noStrike" kern="1200" cap="none" spc="0" normalizeH="0" baseline="0" noProof="0">
                <a:ln>
                  <a:noFill/>
                </a:ln>
                <a:solidFill>
                  <a:srgbClr val="000000"/>
                </a:solidFill>
                <a:effectLst/>
                <a:uLnTx/>
                <a:uFillTx/>
                <a:latin typeface="EYInterstate"/>
                <a:cs typeface="Arial" charset="0"/>
              </a:rPr>
              <a:t>Chris Barford</a:t>
            </a:r>
          </a:p>
          <a:p>
            <a:pPr marL="0" marR="0" lvl="0" indent="0" algn="l" defTabSz="1266650" rtl="0" eaLnBrk="1" fontAlgn="base" latinLnBrk="0" hangingPunct="1">
              <a:lnSpc>
                <a:spcPct val="85000"/>
              </a:lnSpc>
              <a:spcBef>
                <a:spcPts val="0"/>
              </a:spcBef>
              <a:spcAft>
                <a:spcPts val="200"/>
              </a:spcAft>
              <a:buClr>
                <a:srgbClr val="FFE600"/>
              </a:buClr>
              <a:buSzPct val="70000"/>
              <a:buFontTx/>
              <a:buNone/>
              <a:tabLst>
                <a:tab pos="257283" algn="l"/>
              </a:tabLst>
              <a:defRPr/>
            </a:pPr>
            <a:r>
              <a:rPr kumimoji="0" lang="en-US" sz="905" b="0" i="0" u="none" strike="noStrike" kern="1200" cap="none" spc="0" normalizeH="0" baseline="0" noProof="0">
                <a:ln>
                  <a:noFill/>
                </a:ln>
                <a:solidFill>
                  <a:srgbClr val="000000"/>
                </a:solidFill>
                <a:effectLst/>
                <a:uLnTx/>
                <a:uFillTx/>
                <a:latin typeface="EYInterstate"/>
                <a:cs typeface="Arial" charset="0"/>
              </a:rPr>
              <a:t>Director</a:t>
            </a:r>
          </a:p>
          <a:p>
            <a:pPr marL="0" marR="0" lvl="0" indent="0" algn="l" defTabSz="1266650" rtl="0" eaLnBrk="1" fontAlgn="base" latinLnBrk="0" hangingPunct="1">
              <a:lnSpc>
                <a:spcPct val="85000"/>
              </a:lnSpc>
              <a:spcBef>
                <a:spcPts val="0"/>
              </a:spcBef>
              <a:spcAft>
                <a:spcPts val="200"/>
              </a:spcAft>
              <a:buClr>
                <a:srgbClr val="FFE600"/>
              </a:buClr>
              <a:buSzPct val="70000"/>
              <a:buFontTx/>
              <a:buNone/>
              <a:tabLst>
                <a:tab pos="257283" algn="l"/>
              </a:tabLst>
              <a:defRPr/>
            </a:pPr>
            <a:r>
              <a:rPr kumimoji="0" lang="en-US" sz="905" b="0" i="0" u="none" strike="noStrike" kern="1200" cap="none" spc="0" normalizeH="0" baseline="0" noProof="0">
                <a:ln>
                  <a:noFill/>
                </a:ln>
                <a:solidFill>
                  <a:srgbClr val="000000"/>
                </a:solidFill>
                <a:effectLst/>
                <a:uLnTx/>
                <a:uFillTx/>
                <a:latin typeface="EYInterstate"/>
                <a:cs typeface="Arial" charset="0"/>
              </a:rPr>
              <a:t>Data and Analytics SMA</a:t>
            </a:r>
          </a:p>
        </p:txBody>
      </p:sp>
      <p:sp>
        <p:nvSpPr>
          <p:cNvPr id="80" name="Text Placeholder 7">
            <a:extLst>
              <a:ext uri="{FF2B5EF4-FFF2-40B4-BE49-F238E27FC236}">
                <a16:creationId xmlns:a16="http://schemas.microsoft.com/office/drawing/2014/main" id="{9B3E94F7-E6A2-4552-A7EF-E7F8005333C9}"/>
              </a:ext>
            </a:extLst>
          </p:cNvPr>
          <p:cNvSpPr txBox="1">
            <a:spLocks/>
          </p:cNvSpPr>
          <p:nvPr/>
        </p:nvSpPr>
        <p:spPr bwMode="auto">
          <a:xfrm>
            <a:off x="10408584" y="3189124"/>
            <a:ext cx="1590394" cy="498726"/>
          </a:xfrm>
          <a:prstGeom prst="rect">
            <a:avLst/>
          </a:prstGeom>
        </p:spPr>
        <p:txBody>
          <a:bodyPr wrap="square">
            <a:spAutoFit/>
          </a:bodyPr>
          <a:lstStyle>
            <a:defPPr>
              <a:defRPr lang="en-US"/>
            </a:defPPr>
            <a:lvl1pPr marL="0" marR="0" lvl="0" indent="0" defTabSz="568498" latinLnBrk="0">
              <a:lnSpc>
                <a:spcPct val="85000"/>
              </a:lnSpc>
              <a:spcAft>
                <a:spcPts val="493"/>
              </a:spcAft>
              <a:buClr>
                <a:srgbClr val="FFD200"/>
              </a:buClr>
              <a:buSzPct val="80000"/>
              <a:buFont typeface="Arial" charset="0"/>
              <a:buNone/>
              <a:tabLst>
                <a:tab pos="257283" algn="l"/>
              </a:tabLst>
              <a:defRPr kumimoji="0" sz="905" b="1" i="0" u="none" strike="noStrike" cap="none" spc="0" normalizeH="0" baseline="0">
                <a:ln>
                  <a:noFill/>
                </a:ln>
                <a:solidFill>
                  <a:srgbClr val="000000"/>
                </a:solidFill>
                <a:effectLst/>
                <a:uLnTx/>
                <a:uFillTx/>
                <a:latin typeface="+mj-lt"/>
              </a:defRPr>
            </a:lvl1pPr>
          </a:lstStyle>
          <a:p>
            <a:pPr marL="0" marR="0" lvl="0" indent="0" algn="l" defTabSz="1266650" rtl="0" eaLnBrk="1" fontAlgn="base" latinLnBrk="0" hangingPunct="1">
              <a:lnSpc>
                <a:spcPct val="85000"/>
              </a:lnSpc>
              <a:spcBef>
                <a:spcPts val="0"/>
              </a:spcBef>
              <a:spcAft>
                <a:spcPts val="200"/>
              </a:spcAft>
              <a:buClr>
                <a:srgbClr val="FFE600"/>
              </a:buClr>
              <a:buSzPct val="70000"/>
              <a:buFont typeface="Arial" charset="0"/>
              <a:buNone/>
              <a:tabLst>
                <a:tab pos="257283" algn="l"/>
              </a:tabLst>
              <a:defRPr/>
            </a:pPr>
            <a:r>
              <a:rPr kumimoji="0" lang="en-US" sz="905" b="1" i="0" u="none" strike="noStrike" kern="1200" cap="none" spc="0" normalizeH="0" baseline="0" noProof="0">
                <a:ln>
                  <a:noFill/>
                </a:ln>
                <a:solidFill>
                  <a:srgbClr val="000000"/>
                </a:solidFill>
                <a:effectLst/>
                <a:uLnTx/>
                <a:uFillTx/>
                <a:latin typeface="EYInterstate"/>
                <a:cs typeface="Arial" charset="0"/>
              </a:rPr>
              <a:t>Steve Hamill </a:t>
            </a:r>
          </a:p>
          <a:p>
            <a:pPr marL="0" marR="0" lvl="0" indent="0" algn="l" defTabSz="1266650" rtl="0" eaLnBrk="1" fontAlgn="base" latinLnBrk="0" hangingPunct="1">
              <a:lnSpc>
                <a:spcPct val="85000"/>
              </a:lnSpc>
              <a:spcBef>
                <a:spcPts val="0"/>
              </a:spcBef>
              <a:spcAft>
                <a:spcPts val="200"/>
              </a:spcAft>
              <a:buClr>
                <a:srgbClr val="FFE600"/>
              </a:buClr>
              <a:buSzPct val="70000"/>
              <a:buFont typeface="Arial" charset="0"/>
              <a:buNone/>
              <a:tabLst>
                <a:tab pos="257283" algn="l"/>
              </a:tabLst>
              <a:defRPr/>
            </a:pPr>
            <a:r>
              <a:rPr kumimoji="0" lang="en-US" sz="905" b="0" i="0" u="none" strike="noStrike" kern="1200" cap="none" spc="0" normalizeH="0" baseline="0" noProof="0">
                <a:ln>
                  <a:noFill/>
                </a:ln>
                <a:solidFill>
                  <a:srgbClr val="000000"/>
                </a:solidFill>
                <a:effectLst/>
                <a:uLnTx/>
                <a:uFillTx/>
                <a:latin typeface="EYInterstate"/>
                <a:cs typeface="Arial" charset="0"/>
              </a:rPr>
              <a:t>Director</a:t>
            </a:r>
          </a:p>
          <a:p>
            <a:pPr marL="0" marR="0" lvl="0" indent="0" algn="l" defTabSz="1266650" rtl="0" eaLnBrk="1" fontAlgn="base" latinLnBrk="0" hangingPunct="1">
              <a:lnSpc>
                <a:spcPct val="85000"/>
              </a:lnSpc>
              <a:spcBef>
                <a:spcPts val="0"/>
              </a:spcBef>
              <a:spcAft>
                <a:spcPts val="200"/>
              </a:spcAft>
              <a:buClr>
                <a:srgbClr val="FFE600"/>
              </a:buClr>
              <a:buSzPct val="70000"/>
              <a:buFont typeface="Arial" charset="0"/>
              <a:buNone/>
              <a:tabLst>
                <a:tab pos="257283" algn="l"/>
              </a:tabLst>
              <a:defRPr/>
            </a:pPr>
            <a:r>
              <a:rPr kumimoji="0" lang="en-US" sz="905" b="0" i="0" u="none" strike="noStrike" kern="1200" cap="none" spc="0" normalizeH="0" baseline="0" noProof="0">
                <a:ln>
                  <a:noFill/>
                </a:ln>
                <a:solidFill>
                  <a:srgbClr val="000000"/>
                </a:solidFill>
                <a:effectLst/>
                <a:uLnTx/>
                <a:uFillTx/>
                <a:latin typeface="EYInterstate"/>
                <a:cs typeface="Arial" charset="0"/>
              </a:rPr>
              <a:t>Data and Analytics SMA</a:t>
            </a:r>
          </a:p>
        </p:txBody>
      </p:sp>
      <p:pic>
        <p:nvPicPr>
          <p:cNvPr id="81" name="Picture 80">
            <a:extLst>
              <a:ext uri="{FF2B5EF4-FFF2-40B4-BE49-F238E27FC236}">
                <a16:creationId xmlns:a16="http://schemas.microsoft.com/office/drawing/2014/main" id="{E8460341-F8E7-49F8-901F-8BCBAF504171}"/>
              </a:ext>
            </a:extLst>
          </p:cNvPr>
          <p:cNvPicPr>
            <a:picLocks/>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6184" r="12535"/>
          <a:stretch/>
        </p:blipFill>
        <p:spPr>
          <a:xfrm>
            <a:off x="9885422" y="3190934"/>
            <a:ext cx="484632" cy="484632"/>
          </a:xfrm>
          <a:prstGeom prst="ellipse">
            <a:avLst/>
          </a:prstGeom>
          <a:ln w="38100">
            <a:solidFill>
              <a:srgbClr val="FFE600"/>
            </a:solidFill>
          </a:ln>
        </p:spPr>
      </p:pic>
      <p:pic>
        <p:nvPicPr>
          <p:cNvPr id="82" name="Picture 81">
            <a:extLst>
              <a:ext uri="{FF2B5EF4-FFF2-40B4-BE49-F238E27FC236}">
                <a16:creationId xmlns:a16="http://schemas.microsoft.com/office/drawing/2014/main" id="{78955386-4936-4C11-9D33-1595B0B04B40}"/>
              </a:ext>
            </a:extLst>
          </p:cNvPr>
          <p:cNvPicPr>
            <a:picLocks noChangeAspect="1"/>
          </p:cNvPicPr>
          <p:nvPr/>
        </p:nvPicPr>
        <p:blipFill rotWithShape="1">
          <a:blip r:embed="rId5">
            <a:grayscl/>
          </a:blip>
          <a:srcRect l="713" t="962" r="4663" b="24590"/>
          <a:stretch/>
        </p:blipFill>
        <p:spPr>
          <a:xfrm>
            <a:off x="9885422" y="1864695"/>
            <a:ext cx="486104" cy="488383"/>
          </a:xfrm>
          <a:prstGeom prst="ellipse">
            <a:avLst/>
          </a:prstGeom>
          <a:ln w="38100">
            <a:solidFill>
              <a:srgbClr val="FFE600"/>
            </a:solidFill>
          </a:ln>
        </p:spPr>
      </p:pic>
      <p:pic>
        <p:nvPicPr>
          <p:cNvPr id="84" name="Picture 83">
            <a:extLst>
              <a:ext uri="{FF2B5EF4-FFF2-40B4-BE49-F238E27FC236}">
                <a16:creationId xmlns:a16="http://schemas.microsoft.com/office/drawing/2014/main" id="{09F76CB3-98DA-4AF4-82BB-ADCFF0201957}"/>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a:stretch/>
        </p:blipFill>
        <p:spPr>
          <a:xfrm>
            <a:off x="9885422" y="2512541"/>
            <a:ext cx="509136" cy="509136"/>
          </a:xfrm>
          <a:prstGeom prst="ellipse">
            <a:avLst/>
          </a:prstGeom>
          <a:ln w="38100">
            <a:solidFill>
              <a:srgbClr val="FFE600"/>
            </a:solidFill>
          </a:ln>
        </p:spPr>
      </p:pic>
      <p:sp>
        <p:nvSpPr>
          <p:cNvPr id="87" name="Oval 86">
            <a:extLst>
              <a:ext uri="{FF2B5EF4-FFF2-40B4-BE49-F238E27FC236}">
                <a16:creationId xmlns:a16="http://schemas.microsoft.com/office/drawing/2014/main" id="{CADFDA84-9139-4C8F-B031-81D64470B05F}"/>
              </a:ext>
            </a:extLst>
          </p:cNvPr>
          <p:cNvSpPr>
            <a:spLocks/>
          </p:cNvSpPr>
          <p:nvPr/>
        </p:nvSpPr>
        <p:spPr>
          <a:xfrm>
            <a:off x="3470988" y="1560384"/>
            <a:ext cx="731520" cy="731520"/>
          </a:xfrm>
          <a:prstGeom prst="ellipse">
            <a:avLst/>
          </a:prstGeom>
          <a:blipFill>
            <a:blip r:embed="rId7"/>
            <a:stretch>
              <a:fillRect l="1" r="5570" b="-13772"/>
            </a:stretch>
          </a:blipFill>
          <a:ln w="3810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a:ea typeface="+mn-ea"/>
              <a:cs typeface="+mn-cs"/>
            </a:endParaRPr>
          </a:p>
        </p:txBody>
      </p:sp>
      <p:pic>
        <p:nvPicPr>
          <p:cNvPr id="88" name="Picture 87">
            <a:extLst>
              <a:ext uri="{FF2B5EF4-FFF2-40B4-BE49-F238E27FC236}">
                <a16:creationId xmlns:a16="http://schemas.microsoft.com/office/drawing/2014/main" id="{056907B4-8DAB-4706-BC9C-6B2B8C24782C}"/>
              </a:ext>
            </a:extLst>
          </p:cNvPr>
          <p:cNvPicPr>
            <a:picLocks/>
          </p:cNvPicPr>
          <p:nvPr/>
        </p:nvPicPr>
        <p:blipFill rotWithShape="1">
          <a:blip r:embed="rId8">
            <a:extLst>
              <a:ext uri="{BEBA8EAE-BF5A-486C-A8C5-ECC9F3942E4B}">
                <a14:imgProps xmlns:a14="http://schemas.microsoft.com/office/drawing/2010/main">
                  <a14:imgLayer r:embed="rId9">
                    <a14:imgEffect>
                      <a14:saturation sat="0"/>
                    </a14:imgEffect>
                  </a14:imgLayer>
                </a14:imgProps>
              </a:ext>
            </a:extLst>
          </a:blip>
          <a:srcRect b="8581"/>
          <a:stretch/>
        </p:blipFill>
        <p:spPr>
          <a:xfrm>
            <a:off x="6721757" y="4568828"/>
            <a:ext cx="594360" cy="594360"/>
          </a:xfrm>
          <a:prstGeom prst="ellipse">
            <a:avLst/>
          </a:prstGeom>
          <a:ln w="38100">
            <a:solidFill>
              <a:srgbClr val="FFE600"/>
            </a:solidFill>
          </a:ln>
        </p:spPr>
      </p:pic>
      <p:pic>
        <p:nvPicPr>
          <p:cNvPr id="89" name="Picture 88">
            <a:extLst>
              <a:ext uri="{FF2B5EF4-FFF2-40B4-BE49-F238E27FC236}">
                <a16:creationId xmlns:a16="http://schemas.microsoft.com/office/drawing/2014/main" id="{7034F4DE-1355-4CB2-8D00-7C325D97CADE}"/>
              </a:ext>
            </a:extLst>
          </p:cNvPr>
          <p:cNvPicPr>
            <a:picLocks/>
          </p:cNvPicPr>
          <p:nvPr/>
        </p:nvPicPr>
        <p:blipFill rotWithShape="1">
          <a:blip r:embed="rId10">
            <a:extLst>
              <a:ext uri="{BEBA8EAE-BF5A-486C-A8C5-ECC9F3942E4B}">
                <a14:imgProps xmlns:a14="http://schemas.microsoft.com/office/drawing/2010/main">
                  <a14:imgLayer r:embed="rId11">
                    <a14:imgEffect>
                      <a14:brightnessContrast bright="20000"/>
                    </a14:imgEffect>
                  </a14:imgLayer>
                </a14:imgProps>
              </a:ext>
            </a:extLst>
          </a:blip>
          <a:srcRect t="12968" b="8475"/>
          <a:stretch/>
        </p:blipFill>
        <p:spPr>
          <a:xfrm>
            <a:off x="6686156" y="1560384"/>
            <a:ext cx="731520" cy="731520"/>
          </a:xfrm>
          <a:prstGeom prst="ellipse">
            <a:avLst/>
          </a:prstGeom>
          <a:blipFill>
            <a:blip r:embed="rId7"/>
            <a:stretch>
              <a:fillRect l="1" r="5570" b="-13772"/>
            </a:stretch>
          </a:blipFill>
          <a:ln w="38100">
            <a:solidFill>
              <a:srgbClr val="FFE600"/>
            </a:solidFill>
          </a:ln>
        </p:spPr>
      </p:pic>
      <p:pic>
        <p:nvPicPr>
          <p:cNvPr id="90" name="Picture 89">
            <a:extLst>
              <a:ext uri="{FF2B5EF4-FFF2-40B4-BE49-F238E27FC236}">
                <a16:creationId xmlns:a16="http://schemas.microsoft.com/office/drawing/2014/main" id="{37438668-E66C-4AC6-98A4-CF71E0F2985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76894" y="4568828"/>
            <a:ext cx="594360" cy="594360"/>
          </a:xfrm>
          <a:prstGeom prst="ellipse">
            <a:avLst/>
          </a:prstGeom>
          <a:blipFill>
            <a:blip r:embed="rId7"/>
            <a:stretch>
              <a:fillRect l="1" r="5570" b="-13772"/>
            </a:stretch>
          </a:blipFill>
          <a:ln w="38100">
            <a:solidFill>
              <a:srgbClr val="FFE600"/>
            </a:solidFill>
          </a:ln>
        </p:spPr>
      </p:pic>
      <p:graphicFrame>
        <p:nvGraphicFramePr>
          <p:cNvPr id="92" name="Table 91">
            <a:extLst>
              <a:ext uri="{FF2B5EF4-FFF2-40B4-BE49-F238E27FC236}">
                <a16:creationId xmlns:a16="http://schemas.microsoft.com/office/drawing/2014/main" id="{05D06E90-906B-475E-9E9F-56EE11A77EB3}"/>
              </a:ext>
            </a:extLst>
          </p:cNvPr>
          <p:cNvGraphicFramePr>
            <a:graphicFrameLocks noGrp="1"/>
          </p:cNvGraphicFramePr>
          <p:nvPr>
            <p:extLst>
              <p:ext uri="{D42A27DB-BD31-4B8C-83A1-F6EECF244321}">
                <p14:modId xmlns:p14="http://schemas.microsoft.com/office/powerpoint/2010/main" val="373764631"/>
              </p:ext>
            </p:extLst>
          </p:nvPr>
        </p:nvGraphicFramePr>
        <p:xfrm>
          <a:off x="1347302" y="4364156"/>
          <a:ext cx="1828800" cy="1263650"/>
        </p:xfrm>
        <a:graphic>
          <a:graphicData uri="http://schemas.openxmlformats.org/drawingml/2006/table">
            <a:tbl>
              <a:tblPr firstRow="1" bandRow="1"/>
              <a:tblGrid>
                <a:gridCol w="1828800">
                  <a:extLst>
                    <a:ext uri="{9D8B030D-6E8A-4147-A177-3AD203B41FA5}">
                      <a16:colId xmlns:a16="http://schemas.microsoft.com/office/drawing/2014/main" val="20000"/>
                    </a:ext>
                  </a:extLst>
                </a:gridCol>
              </a:tblGrid>
              <a:tr h="576072">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Data Platform Capability</a:t>
                      </a:r>
                      <a:br>
                        <a:rPr lang="en-US" sz="1050" b="1" kern="1200">
                          <a:solidFill>
                            <a:srgbClr val="000000"/>
                          </a:solidFill>
                          <a:latin typeface="+mn-lt"/>
                          <a:ea typeface="+mn-ea"/>
                          <a:cs typeface="+mn-cs"/>
                        </a:rPr>
                      </a:br>
                      <a:r>
                        <a:rPr lang="en-US" sz="1050" b="1" kern="1200">
                          <a:solidFill>
                            <a:srgbClr val="000000"/>
                          </a:solidFill>
                          <a:latin typeface="+mn-lt"/>
                          <a:ea typeface="+mn-ea"/>
                          <a:cs typeface="+mn-cs"/>
                        </a:rPr>
                        <a:t>Workstream Lead</a:t>
                      </a:r>
                    </a:p>
                  </a:txBody>
                  <a:tcPr marL="18288" marR="1828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64008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it-IT" sz="1100" b="1" kern="1200">
                          <a:solidFill>
                            <a:schemeClr val="tx1"/>
                          </a:solidFill>
                          <a:latin typeface="EYInterstate Light" panose="02000506000000020004" pitchFamily="2" charset="0"/>
                          <a:ea typeface="+mn-ea"/>
                          <a:cs typeface="+mn-cs"/>
                        </a:rPr>
                        <a:t>Arindom Bhattacharjee</a:t>
                      </a:r>
                    </a:p>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br>
                        <a:rPr lang="it-IT" sz="500" b="1" kern="1200">
                          <a:solidFill>
                            <a:schemeClr val="tx1"/>
                          </a:solidFill>
                          <a:latin typeface="EYInterstate Light" panose="02000506000000020004" pitchFamily="2" charset="0"/>
                          <a:ea typeface="+mn-ea"/>
                          <a:cs typeface="+mn-cs"/>
                        </a:rPr>
                      </a:br>
                      <a:r>
                        <a:rPr lang="it-IT" sz="1050" b="0" kern="1200">
                          <a:solidFill>
                            <a:schemeClr val="tx1"/>
                          </a:solidFill>
                          <a:latin typeface="EYInterstate Light" panose="02000506000000020004" pitchFamily="2" charset="0"/>
                          <a:ea typeface="+mn-ea"/>
                          <a:cs typeface="+mn-cs"/>
                        </a:rPr>
                        <a:t>Senior Data Architect</a:t>
                      </a:r>
                      <a:br>
                        <a:rPr lang="it-IT" sz="1050" b="0" kern="1200">
                          <a:solidFill>
                            <a:schemeClr val="tx1"/>
                          </a:solidFill>
                          <a:latin typeface="EYInterstate Light" panose="02000506000000020004" pitchFamily="2" charset="0"/>
                          <a:ea typeface="+mn-ea"/>
                          <a:cs typeface="+mn-cs"/>
                        </a:rPr>
                      </a:br>
                      <a:r>
                        <a:rPr lang="it-IT" sz="1050" b="0" kern="1200">
                          <a:solidFill>
                            <a:schemeClr val="tx1"/>
                          </a:solidFill>
                          <a:latin typeface="EYInterstate Light" panose="02000506000000020004" pitchFamily="2" charset="0"/>
                          <a:ea typeface="+mn-ea"/>
                          <a:cs typeface="+mn-cs"/>
                        </a:rPr>
                        <a:t>EY Singapore</a:t>
                      </a:r>
                    </a:p>
                  </a:txBody>
                  <a:tcPr marL="0" marR="0"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1"/>
                  </a:ext>
                </a:extLst>
              </a:tr>
            </a:tbl>
          </a:graphicData>
        </a:graphic>
      </p:graphicFrame>
      <p:graphicFrame>
        <p:nvGraphicFramePr>
          <p:cNvPr id="93" name="Table 92">
            <a:extLst>
              <a:ext uri="{FF2B5EF4-FFF2-40B4-BE49-F238E27FC236}">
                <a16:creationId xmlns:a16="http://schemas.microsoft.com/office/drawing/2014/main" id="{B9748864-7F6E-4932-913C-2C62EEC1187A}"/>
              </a:ext>
            </a:extLst>
          </p:cNvPr>
          <p:cNvGraphicFramePr>
            <a:graphicFrameLocks noGrp="1"/>
          </p:cNvGraphicFramePr>
          <p:nvPr>
            <p:extLst>
              <p:ext uri="{D42A27DB-BD31-4B8C-83A1-F6EECF244321}">
                <p14:modId xmlns:p14="http://schemas.microsoft.com/office/powerpoint/2010/main" val="1579126756"/>
              </p:ext>
            </p:extLst>
          </p:nvPr>
        </p:nvGraphicFramePr>
        <p:xfrm>
          <a:off x="3998533" y="4364156"/>
          <a:ext cx="2468880" cy="1289050"/>
        </p:xfrm>
        <a:graphic>
          <a:graphicData uri="http://schemas.openxmlformats.org/drawingml/2006/table">
            <a:tbl>
              <a:tblPr firstRow="1" bandRow="1"/>
              <a:tblGrid>
                <a:gridCol w="2468880">
                  <a:extLst>
                    <a:ext uri="{9D8B030D-6E8A-4147-A177-3AD203B41FA5}">
                      <a16:colId xmlns:a16="http://schemas.microsoft.com/office/drawing/2014/main" val="20000"/>
                    </a:ext>
                  </a:extLst>
                </a:gridCol>
              </a:tblGrid>
              <a:tr h="576072">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Data-related Use Case Identification </a:t>
                      </a:r>
                      <a:br>
                        <a:rPr lang="en-US" sz="1050" b="1" kern="1200">
                          <a:solidFill>
                            <a:srgbClr val="000000"/>
                          </a:solidFill>
                          <a:latin typeface="+mn-lt"/>
                          <a:ea typeface="+mn-ea"/>
                          <a:cs typeface="+mn-cs"/>
                        </a:rPr>
                      </a:br>
                      <a:r>
                        <a:rPr lang="en-US" sz="1050" b="1" kern="1200">
                          <a:solidFill>
                            <a:srgbClr val="000000"/>
                          </a:solidFill>
                          <a:latin typeface="+mn-lt"/>
                          <a:ea typeface="+mn-ea"/>
                          <a:cs typeface="+mn-cs"/>
                        </a:rPr>
                        <a:t>and Prioritization Workstream Lead</a:t>
                      </a:r>
                    </a:p>
                  </a:txBody>
                  <a:tcPr marL="18288" marR="1828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68580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en-US" sz="1100" b="1" kern="1200">
                          <a:solidFill>
                            <a:schemeClr val="tx1"/>
                          </a:solidFill>
                          <a:latin typeface="EYInterstate Light" panose="02000506000000020004" pitchFamily="2" charset="0"/>
                          <a:ea typeface=""/>
                          <a:cs typeface=""/>
                        </a:rPr>
                        <a:t>Apistha Theerarungsikul</a:t>
                      </a:r>
                    </a:p>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br>
                        <a:rPr kumimoji="0" lang="it-IT" sz="5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br>
                      <a:r>
                        <a:rPr lang="it-IT" sz="1050" b="0" kern="1200">
                          <a:solidFill>
                            <a:schemeClr val="tx1"/>
                          </a:solidFill>
                          <a:latin typeface="EYInterstate Light" panose="02000506000000020004" pitchFamily="2" charset="0"/>
                          <a:ea typeface="+mn-ea"/>
                          <a:cs typeface="+mn-cs"/>
                        </a:rPr>
                        <a:t>Associate Director</a:t>
                      </a:r>
                    </a:p>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it-IT" sz="1050" b="0" kern="1200">
                          <a:solidFill>
                            <a:schemeClr val="tx1"/>
                          </a:solidFill>
                          <a:latin typeface="EYInterstate Light" panose="02000506000000020004" pitchFamily="2" charset="0"/>
                          <a:ea typeface="+mn-ea"/>
                          <a:cs typeface="+mn-cs"/>
                        </a:rPr>
                        <a:t>EY Thailand</a:t>
                      </a:r>
                    </a:p>
                  </a:txBody>
                  <a:tcPr marL="18288" marR="18288"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1"/>
                  </a:ext>
                </a:extLst>
              </a:tr>
            </a:tbl>
          </a:graphicData>
        </a:graphic>
      </p:graphicFrame>
      <p:graphicFrame>
        <p:nvGraphicFramePr>
          <p:cNvPr id="94" name="Table 93">
            <a:extLst>
              <a:ext uri="{FF2B5EF4-FFF2-40B4-BE49-F238E27FC236}">
                <a16:creationId xmlns:a16="http://schemas.microsoft.com/office/drawing/2014/main" id="{C156B949-2001-457D-B2D8-EBC751FBCF9F}"/>
              </a:ext>
            </a:extLst>
          </p:cNvPr>
          <p:cNvGraphicFramePr>
            <a:graphicFrameLocks noGrp="1"/>
          </p:cNvGraphicFramePr>
          <p:nvPr>
            <p:extLst>
              <p:ext uri="{D42A27DB-BD31-4B8C-83A1-F6EECF244321}">
                <p14:modId xmlns:p14="http://schemas.microsoft.com/office/powerpoint/2010/main" val="782048439"/>
              </p:ext>
            </p:extLst>
          </p:nvPr>
        </p:nvGraphicFramePr>
        <p:xfrm>
          <a:off x="7403559" y="4364156"/>
          <a:ext cx="1828800" cy="1298149"/>
        </p:xfrm>
        <a:graphic>
          <a:graphicData uri="http://schemas.openxmlformats.org/drawingml/2006/table">
            <a:tbl>
              <a:tblPr firstRow="1" bandRow="1"/>
              <a:tblGrid>
                <a:gridCol w="1828800">
                  <a:extLst>
                    <a:ext uri="{9D8B030D-6E8A-4147-A177-3AD203B41FA5}">
                      <a16:colId xmlns:a16="http://schemas.microsoft.com/office/drawing/2014/main" val="20000"/>
                    </a:ext>
                  </a:extLst>
                </a:gridCol>
              </a:tblGrid>
              <a:tr h="576072">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Data Platform Architectur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Workstream Lead</a:t>
                      </a:r>
                    </a:p>
                  </a:txBody>
                  <a:tcPr marL="18288" marR="1828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72207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r>
                        <a:rPr lang="it-IT" sz="1100" b="1" kern="1200">
                          <a:solidFill>
                            <a:schemeClr val="tx1"/>
                          </a:solidFill>
                          <a:latin typeface="EYInterstate Light" panose="02000506000000020004" pitchFamily="2" charset="0"/>
                          <a:ea typeface="+mn-ea"/>
                          <a:cs typeface="+mn-cs"/>
                        </a:rPr>
                        <a:t>Mahendra Soni</a:t>
                      </a:r>
                    </a:p>
                    <a:p>
                      <a:pPr marL="0" marR="0" indent="0" algn="ctr" defTabSz="914400" rtl="0" eaLnBrk="1" fontAlgn="auto" latinLnBrk="0" hangingPunct="1">
                        <a:lnSpc>
                          <a:spcPct val="85000"/>
                        </a:lnSpc>
                        <a:spcBef>
                          <a:spcPts val="0"/>
                        </a:spcBef>
                        <a:spcAft>
                          <a:spcPts val="200"/>
                        </a:spcAft>
                        <a:buClr>
                          <a:schemeClr val="accent2"/>
                        </a:buClr>
                        <a:buSzPct val="70000"/>
                        <a:buFontTx/>
                        <a:buNone/>
                        <a:tabLst/>
                        <a:defRPr/>
                      </a:pPr>
                      <a:br>
                        <a:rPr lang="it-IT" sz="500" b="1" kern="1200">
                          <a:solidFill>
                            <a:schemeClr val="tx1"/>
                          </a:solidFill>
                          <a:latin typeface="EYInterstate Light" panose="02000506000000020004" pitchFamily="2" charset="0"/>
                          <a:ea typeface="+mn-ea"/>
                          <a:cs typeface="+mn-cs"/>
                        </a:rPr>
                      </a:br>
                      <a:r>
                        <a:rPr lang="it-IT" sz="1050" b="0" kern="1200">
                          <a:solidFill>
                            <a:schemeClr val="tx1"/>
                          </a:solidFill>
                          <a:latin typeface="EYInterstate Light" panose="02000506000000020004" pitchFamily="2" charset="0"/>
                          <a:ea typeface=""/>
                          <a:cs typeface=""/>
                        </a:rPr>
                        <a:t>Senior Azure Data Architect</a:t>
                      </a:r>
                      <a:br>
                        <a:rPr lang="it-IT" sz="1050" b="0" kern="1200">
                          <a:solidFill>
                            <a:schemeClr val="tx1"/>
                          </a:solidFill>
                          <a:latin typeface="EYInterstate Light" panose="02000506000000020004" pitchFamily="2" charset="0"/>
                          <a:ea typeface=""/>
                          <a:cs typeface=""/>
                        </a:rPr>
                      </a:br>
                      <a:r>
                        <a:rPr lang="it-IT" sz="1050" b="0" kern="1200">
                          <a:solidFill>
                            <a:schemeClr val="tx1"/>
                          </a:solidFill>
                          <a:latin typeface="EYInterstate Light" panose="02000506000000020004" pitchFamily="2" charset="0"/>
                          <a:ea typeface=""/>
                          <a:cs typeface=""/>
                        </a:rPr>
                        <a:t>EY Singapore</a:t>
                      </a:r>
                      <a:endParaRPr lang="it-IT" sz="1050" b="0" kern="1200">
                        <a:solidFill>
                          <a:schemeClr val="tx1"/>
                        </a:solidFill>
                        <a:latin typeface="EYInterstate Light" panose="02000506000000020004" pitchFamily="2" charset="0"/>
                        <a:ea typeface="+mn-ea"/>
                        <a:cs typeface="+mn-cs"/>
                      </a:endParaRPr>
                    </a:p>
                  </a:txBody>
                  <a:tcPr marL="18288" marR="18288"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1"/>
                  </a:ext>
                </a:extLst>
              </a:tr>
            </a:tbl>
          </a:graphicData>
        </a:graphic>
      </p:graphicFrame>
      <p:pic>
        <p:nvPicPr>
          <p:cNvPr id="95" name="Picture 94" descr="PTS_Pic2.JPG">
            <a:extLst>
              <a:ext uri="{FF2B5EF4-FFF2-40B4-BE49-F238E27FC236}">
                <a16:creationId xmlns:a16="http://schemas.microsoft.com/office/drawing/2014/main" id="{0D083D47-3B95-46CB-B716-EEFEB8F6093B}"/>
              </a:ext>
            </a:extLst>
          </p:cNvPr>
          <p:cNvPicPr>
            <a:picLocks/>
          </p:cNvPicPr>
          <p:nvPr/>
        </p:nvPicPr>
        <p:blipFill>
          <a:blip r:embed="rId13" cstate="print">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4524957" y="3016943"/>
            <a:ext cx="731520" cy="731520"/>
          </a:xfrm>
          <a:prstGeom prst="ellipse">
            <a:avLst/>
          </a:prstGeom>
          <a:ln w="38100">
            <a:solidFill>
              <a:srgbClr val="FFE600"/>
            </a:solidFill>
          </a:ln>
        </p:spPr>
      </p:pic>
      <p:graphicFrame>
        <p:nvGraphicFramePr>
          <p:cNvPr id="97" name="Table 96">
            <a:extLst>
              <a:ext uri="{FF2B5EF4-FFF2-40B4-BE49-F238E27FC236}">
                <a16:creationId xmlns:a16="http://schemas.microsoft.com/office/drawing/2014/main" id="{EAB2180B-9F66-4815-88B0-A3F6AB4A64F3}"/>
              </a:ext>
            </a:extLst>
          </p:cNvPr>
          <p:cNvGraphicFramePr>
            <a:graphicFrameLocks noGrp="1"/>
          </p:cNvGraphicFramePr>
          <p:nvPr>
            <p:extLst>
              <p:ext uri="{D42A27DB-BD31-4B8C-83A1-F6EECF244321}">
                <p14:modId xmlns:p14="http://schemas.microsoft.com/office/powerpoint/2010/main" val="292404696"/>
              </p:ext>
            </p:extLst>
          </p:nvPr>
        </p:nvGraphicFramePr>
        <p:xfrm>
          <a:off x="676894" y="5819984"/>
          <a:ext cx="11391057" cy="849696"/>
        </p:xfrm>
        <a:graphic>
          <a:graphicData uri="http://schemas.openxmlformats.org/drawingml/2006/table">
            <a:tbl>
              <a:tblPr firstRow="1" bandRow="1"/>
              <a:tblGrid>
                <a:gridCol w="1512183">
                  <a:extLst>
                    <a:ext uri="{9D8B030D-6E8A-4147-A177-3AD203B41FA5}">
                      <a16:colId xmlns:a16="http://schemas.microsoft.com/office/drawing/2014/main" val="20000"/>
                    </a:ext>
                  </a:extLst>
                </a:gridCol>
                <a:gridCol w="9878874">
                  <a:extLst>
                    <a:ext uri="{9D8B030D-6E8A-4147-A177-3AD203B41FA5}">
                      <a16:colId xmlns:a16="http://schemas.microsoft.com/office/drawing/2014/main" val="406083722"/>
                    </a:ext>
                  </a:extLst>
                </a:gridCol>
              </a:tblGrid>
              <a:tr h="849696">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kern="1200">
                          <a:solidFill>
                            <a:srgbClr val="000000"/>
                          </a:solidFill>
                          <a:latin typeface="+mn-lt"/>
                          <a:ea typeface="+mn-ea"/>
                          <a:cs typeface="+mn-cs"/>
                        </a:rPr>
                        <a:t>Working team</a:t>
                      </a:r>
                    </a:p>
                  </a:txBody>
                  <a:tcPr marL="18288" marR="1828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b="1" kern="1200">
                        <a:solidFill>
                          <a:srgbClr val="000000"/>
                        </a:solidFill>
                        <a:latin typeface="+mn-lt"/>
                        <a:ea typeface="+mn-ea"/>
                        <a:cs typeface="+mn-cs"/>
                      </a:endParaRPr>
                    </a:p>
                  </a:txBody>
                  <a:tcPr marL="18288" marR="1828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0"/>
                  </a:ext>
                </a:extLst>
              </a:tr>
            </a:tbl>
          </a:graphicData>
        </a:graphic>
      </p:graphicFrame>
      <p:cxnSp>
        <p:nvCxnSpPr>
          <p:cNvPr id="98" name="Straight Connector 64">
            <a:extLst>
              <a:ext uri="{FF2B5EF4-FFF2-40B4-BE49-F238E27FC236}">
                <a16:creationId xmlns:a16="http://schemas.microsoft.com/office/drawing/2014/main" id="{0D0E9592-7C5B-4ACA-B800-6768B8A5F886}"/>
              </a:ext>
            </a:extLst>
          </p:cNvPr>
          <p:cNvCxnSpPr>
            <a:cxnSpLocks/>
            <a:stCxn id="92" idx="0"/>
          </p:cNvCxnSpPr>
          <p:nvPr/>
        </p:nvCxnSpPr>
        <p:spPr>
          <a:xfrm rot="5400000" flipH="1" flipV="1">
            <a:off x="6670733" y="-44875"/>
            <a:ext cx="12700" cy="8818063"/>
          </a:xfrm>
          <a:prstGeom prst="bentConnector3">
            <a:avLst>
              <a:gd name="adj1" fmla="val 1114268"/>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64">
            <a:extLst>
              <a:ext uri="{FF2B5EF4-FFF2-40B4-BE49-F238E27FC236}">
                <a16:creationId xmlns:a16="http://schemas.microsoft.com/office/drawing/2014/main" id="{53C8B565-DA82-44FB-A61B-FA292E789C9B}"/>
              </a:ext>
            </a:extLst>
          </p:cNvPr>
          <p:cNvCxnSpPr>
            <a:cxnSpLocks/>
          </p:cNvCxnSpPr>
          <p:nvPr/>
        </p:nvCxnSpPr>
        <p:spPr>
          <a:xfrm rot="16200000" flipH="1">
            <a:off x="6871568" y="787438"/>
            <a:ext cx="2558" cy="3270333"/>
          </a:xfrm>
          <a:prstGeom prst="bentConnector3">
            <a:avLst>
              <a:gd name="adj1" fmla="val 6807232"/>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pic>
        <p:nvPicPr>
          <p:cNvPr id="43" name="Picture 2" descr="C:\Users\PROEDP~1.KLU\AppData\Local\Temp\notesFFF692\IMG_7120.edited-crop.jpg">
            <a:extLst>
              <a:ext uri="{FF2B5EF4-FFF2-40B4-BE49-F238E27FC236}">
                <a16:creationId xmlns:a16="http://schemas.microsoft.com/office/drawing/2014/main" id="{E994FAF1-AED2-490B-A913-A181971622B6}"/>
              </a:ext>
            </a:extLst>
          </p:cNvPr>
          <p:cNvPicPr>
            <a:picLocks noChangeArrowheads="1"/>
          </p:cNvPicPr>
          <p:nvPr/>
        </p:nvPicPr>
        <p:blipFill rotWithShape="1">
          <a:blip r:embed="rId15" cstate="email">
            <a:extLst>
              <a:ext uri="{BEBA8EAE-BF5A-486C-A8C5-ECC9F3942E4B}">
                <a14:imgProps xmlns:a14="http://schemas.microsoft.com/office/drawing/2010/main">
                  <a14:imgLayer r:embed="rId16">
                    <a14:imgEffect>
                      <a14:saturation sat="0"/>
                    </a14:imgEffect>
                  </a14:imgLayer>
                </a14:imgProps>
              </a:ext>
              <a:ext uri="{28A0092B-C50C-407E-A947-70E740481C1C}">
                <a14:useLocalDpi xmlns:a14="http://schemas.microsoft.com/office/drawing/2010/main" val="0"/>
              </a:ext>
            </a:extLst>
          </a:blip>
          <a:srcRect l="10213" t="4187" r="3741" b="38733"/>
          <a:stretch/>
        </p:blipFill>
        <p:spPr bwMode="auto">
          <a:xfrm>
            <a:off x="3320759" y="4568828"/>
            <a:ext cx="594360" cy="594360"/>
          </a:xfrm>
          <a:prstGeom prst="ellipse">
            <a:avLst/>
          </a:prstGeom>
          <a:ln w="38100">
            <a:solidFill>
              <a:srgbClr val="FFE600"/>
            </a:solidFill>
          </a:ln>
          <a:extLst>
            <a:ext uri="{909E8E84-426E-40DD-AFC4-6F175D3DCCD1}">
              <a14:hiddenFill xmlns:a14="http://schemas.microsoft.com/office/drawing/2010/main">
                <a:solidFill>
                  <a:srgbClr val="FFFFFF"/>
                </a:solidFill>
              </a14:hiddenFill>
            </a:ext>
          </a:extLst>
        </p:spPr>
      </p:pic>
      <p:pic>
        <p:nvPicPr>
          <p:cNvPr id="91" name="Picture 90">
            <a:extLst>
              <a:ext uri="{FF2B5EF4-FFF2-40B4-BE49-F238E27FC236}">
                <a16:creationId xmlns:a16="http://schemas.microsoft.com/office/drawing/2014/main" id="{17FF386E-D1D8-45A6-8212-433C21981CFF}"/>
              </a:ext>
            </a:extLst>
          </p:cNvPr>
          <p:cNvPicPr/>
          <p:nvPr/>
        </p:nvPicPr>
        <p:blipFill rotWithShape="1">
          <a:blip r:embed="rId17" cstate="print">
            <a:extLst>
              <a:ext uri="{BEBA8EAE-BF5A-486C-A8C5-ECC9F3942E4B}">
                <a14:imgProps xmlns:a14="http://schemas.microsoft.com/office/drawing/2010/main">
                  <a14:imgLayer r:embed="rId18">
                    <a14:imgEffect>
                      <a14:brightnessContrast bright="35000" contrast="5000"/>
                    </a14:imgEffect>
                  </a14:imgLayer>
                </a14:imgProps>
              </a:ext>
              <a:ext uri="{28A0092B-C50C-407E-A947-70E740481C1C}">
                <a14:useLocalDpi xmlns:a14="http://schemas.microsoft.com/office/drawing/2010/main" val="0"/>
              </a:ext>
            </a:extLst>
          </a:blip>
          <a:srcRect b="13466"/>
          <a:stretch/>
        </p:blipFill>
        <p:spPr bwMode="auto">
          <a:xfrm>
            <a:off x="2450060" y="5945111"/>
            <a:ext cx="594360" cy="594360"/>
          </a:xfrm>
          <a:prstGeom prst="ellipse">
            <a:avLst/>
          </a:prstGeom>
          <a:blipFill>
            <a:blip r:embed="rId7"/>
            <a:stretch>
              <a:fillRect l="1" r="5570" b="-13772"/>
            </a:stretch>
          </a:blipFill>
          <a:ln w="38100">
            <a:solidFill>
              <a:srgbClr val="FFE600"/>
            </a:solidFill>
          </a:ln>
        </p:spPr>
      </p:pic>
      <p:pic>
        <p:nvPicPr>
          <p:cNvPr id="96" name="Picture 95">
            <a:extLst>
              <a:ext uri="{FF2B5EF4-FFF2-40B4-BE49-F238E27FC236}">
                <a16:creationId xmlns:a16="http://schemas.microsoft.com/office/drawing/2014/main" id="{E75731AA-410E-4D37-8655-28CAD181A5CB}"/>
              </a:ext>
            </a:extLst>
          </p:cNvPr>
          <p:cNvPicPr>
            <a:picLocks/>
          </p:cNvPicPr>
          <p:nvPr/>
        </p:nvPicPr>
        <p:blipFill rotWithShape="1">
          <a:blip r:embed="rId19" cstate="print">
            <a:extLst>
              <a:ext uri="{BEBA8EAE-BF5A-486C-A8C5-ECC9F3942E4B}">
                <a14:imgProps xmlns:a14="http://schemas.microsoft.com/office/drawing/2010/main">
                  <a14:imgLayer r:embed="rId20">
                    <a14:imgEffect>
                      <a14:saturation sat="0"/>
                    </a14:imgEffect>
                    <a14:imgEffect>
                      <a14:brightnessContrast bright="20000"/>
                    </a14:imgEffect>
                  </a14:imgLayer>
                </a14:imgProps>
              </a:ext>
              <a:ext uri="{28A0092B-C50C-407E-A947-70E740481C1C}">
                <a14:useLocalDpi xmlns:a14="http://schemas.microsoft.com/office/drawing/2010/main" val="0"/>
              </a:ext>
            </a:extLst>
          </a:blip>
          <a:srcRect l="18377" t="12520" r="20552" b="43291"/>
          <a:stretch/>
        </p:blipFill>
        <p:spPr>
          <a:xfrm>
            <a:off x="5597654" y="5945111"/>
            <a:ext cx="594360" cy="594360"/>
          </a:xfrm>
          <a:prstGeom prst="ellipse">
            <a:avLst/>
          </a:prstGeom>
          <a:ln w="38100">
            <a:solidFill>
              <a:srgbClr val="FFE600"/>
            </a:solidFill>
          </a:ln>
        </p:spPr>
      </p:pic>
      <p:sp>
        <p:nvSpPr>
          <p:cNvPr id="68" name="Rectangle 67">
            <a:extLst>
              <a:ext uri="{FF2B5EF4-FFF2-40B4-BE49-F238E27FC236}">
                <a16:creationId xmlns:a16="http://schemas.microsoft.com/office/drawing/2014/main" id="{60F48785-F85C-4F91-880B-37BB56C28187}"/>
              </a:ext>
            </a:extLst>
          </p:cNvPr>
          <p:cNvSpPr>
            <a:spLocks noChangeArrowheads="1"/>
          </p:cNvSpPr>
          <p:nvPr/>
        </p:nvSpPr>
        <p:spPr bwMode="auto">
          <a:xfrm>
            <a:off x="6161683" y="5918805"/>
            <a:ext cx="2086564" cy="646972"/>
          </a:xfrm>
          <a:prstGeom prst="rect">
            <a:avLst/>
          </a:prstGeom>
          <a:noFill/>
          <a:ln w="9525">
            <a:noFill/>
            <a:round/>
            <a:headEnd/>
            <a:tailEnd/>
          </a:ln>
        </p:spPr>
        <p:txBody>
          <a:bodyPr wrap="square" lIns="38713"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fontAlgn="auto">
              <a:lnSpc>
                <a:spcPct val="85000"/>
              </a:lnSpc>
              <a:spcBef>
                <a:spcPts val="0"/>
              </a:spcBef>
              <a:spcAft>
                <a:spcPts val="200"/>
              </a:spcAft>
              <a:buClr>
                <a:srgbClr val="FFE600"/>
              </a:buClr>
              <a:buSzPct val="70000"/>
              <a:defRPr/>
            </a:pPr>
            <a:r>
              <a:rPr lang="it-IT" sz="1100" b="1">
                <a:solidFill>
                  <a:srgbClr val="000000"/>
                </a:solidFill>
                <a:latin typeface="EYInterstate Light" panose="02000506000000020004" pitchFamily="2" charset="0"/>
              </a:rPr>
              <a:t>Attaphon Predaboon</a:t>
            </a:r>
          </a:p>
          <a:p>
            <a:pPr lvl="0" algn="ctr" fontAlgn="auto">
              <a:lnSpc>
                <a:spcPct val="85000"/>
              </a:lnSpc>
              <a:spcBef>
                <a:spcPts val="0"/>
              </a:spcBef>
              <a:spcAft>
                <a:spcPts val="200"/>
              </a:spcAft>
              <a:buClr>
                <a:srgbClr val="FFE600"/>
              </a:buClr>
              <a:buSzPct val="70000"/>
              <a:defRPr/>
            </a:pPr>
            <a:br>
              <a:rPr lang="it-IT" sz="500" b="1">
                <a:solidFill>
                  <a:srgbClr val="000000"/>
                </a:solidFill>
                <a:latin typeface="EYInterstate Light" panose="02000506000000020004" pitchFamily="2" charset="0"/>
              </a:rPr>
            </a:br>
            <a:r>
              <a:rPr lang="en-US" sz="1050">
                <a:solidFill>
                  <a:srgbClr val="000000"/>
                </a:solidFill>
                <a:latin typeface="EYInterstate Light" panose="02000506000000020004" pitchFamily="2" charset="0"/>
              </a:rPr>
              <a:t>Target Operating Model &amp;</a:t>
            </a:r>
            <a:br>
              <a:rPr lang="en-US" sz="1050">
                <a:solidFill>
                  <a:srgbClr val="000000"/>
                </a:solidFill>
                <a:latin typeface="EYInterstate Light" panose="02000506000000020004" pitchFamily="2" charset="0"/>
              </a:rPr>
            </a:br>
            <a:r>
              <a:rPr lang="en-US" sz="1050">
                <a:solidFill>
                  <a:srgbClr val="000000"/>
                </a:solidFill>
                <a:latin typeface="EYInterstate Light" panose="02000506000000020004" pitchFamily="2" charset="0"/>
              </a:rPr>
              <a:t> IT Strategic Roadmap support</a:t>
            </a:r>
            <a:br>
              <a:rPr lang="it-IT" sz="1050">
                <a:solidFill>
                  <a:srgbClr val="000000"/>
                </a:solidFill>
                <a:latin typeface="EYInterstate Light" panose="02000506000000020004" pitchFamily="2" charset="0"/>
              </a:rPr>
            </a:br>
            <a:r>
              <a:rPr lang="it-IT" sz="1050">
                <a:solidFill>
                  <a:srgbClr val="000000"/>
                </a:solidFill>
                <a:latin typeface="EYInterstate Light" panose="02000506000000020004" pitchFamily="2" charset="0"/>
              </a:rPr>
              <a:t>EY Thailand</a:t>
            </a:r>
          </a:p>
        </p:txBody>
      </p:sp>
      <p:sp>
        <p:nvSpPr>
          <p:cNvPr id="69" name="Rectangle 68">
            <a:extLst>
              <a:ext uri="{FF2B5EF4-FFF2-40B4-BE49-F238E27FC236}">
                <a16:creationId xmlns:a16="http://schemas.microsoft.com/office/drawing/2014/main" id="{496498E6-EA1C-4375-9A7E-F70BD5279767}"/>
              </a:ext>
            </a:extLst>
          </p:cNvPr>
          <p:cNvSpPr>
            <a:spLocks noChangeArrowheads="1"/>
          </p:cNvSpPr>
          <p:nvPr/>
        </p:nvSpPr>
        <p:spPr bwMode="auto">
          <a:xfrm>
            <a:off x="3131817" y="5918805"/>
            <a:ext cx="1747998" cy="646972"/>
          </a:xfrm>
          <a:prstGeom prst="rect">
            <a:avLst/>
          </a:prstGeom>
          <a:noFill/>
          <a:ln w="9525">
            <a:noFill/>
            <a:round/>
            <a:headEnd/>
            <a:tailEnd/>
          </a:ln>
        </p:spPr>
        <p:txBody>
          <a:bodyPr wrap="square" lIns="38713"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fontAlgn="auto">
              <a:lnSpc>
                <a:spcPct val="85000"/>
              </a:lnSpc>
              <a:spcBef>
                <a:spcPts val="0"/>
              </a:spcBef>
              <a:spcAft>
                <a:spcPts val="200"/>
              </a:spcAft>
              <a:buClr>
                <a:srgbClr val="FFE600"/>
              </a:buClr>
              <a:buSzPct val="70000"/>
              <a:defRPr/>
            </a:pPr>
            <a:r>
              <a:rPr lang="it-IT" sz="1100" b="1">
                <a:solidFill>
                  <a:srgbClr val="000000"/>
                </a:solidFill>
                <a:latin typeface="EYInterstate Light" panose="02000506000000020004" pitchFamily="2" charset="0"/>
              </a:rPr>
              <a:t>Sunil Sharma</a:t>
            </a:r>
          </a:p>
          <a:p>
            <a:pPr lvl="0" algn="ctr" fontAlgn="auto">
              <a:lnSpc>
                <a:spcPct val="85000"/>
              </a:lnSpc>
              <a:spcBef>
                <a:spcPts val="0"/>
              </a:spcBef>
              <a:spcAft>
                <a:spcPts val="200"/>
              </a:spcAft>
              <a:buClr>
                <a:srgbClr val="FFE600"/>
              </a:buClr>
              <a:buSzPct val="70000"/>
              <a:defRPr/>
            </a:pPr>
            <a:br>
              <a:rPr lang="it-IT" sz="500" b="1">
                <a:solidFill>
                  <a:srgbClr val="000000"/>
                </a:solidFill>
                <a:latin typeface="EYInterstate Light" panose="02000506000000020004" pitchFamily="2" charset="0"/>
              </a:rPr>
            </a:br>
            <a:r>
              <a:rPr lang="it-IT" sz="1050">
                <a:solidFill>
                  <a:srgbClr val="000000"/>
                </a:solidFill>
                <a:latin typeface="EYInterstate Light" panose="02000506000000020004" pitchFamily="2" charset="0"/>
              </a:rPr>
              <a:t>Data platform capability and architecture support</a:t>
            </a:r>
            <a:br>
              <a:rPr lang="it-IT" sz="1050">
                <a:solidFill>
                  <a:srgbClr val="000000"/>
                </a:solidFill>
                <a:latin typeface="EYInterstate Light" panose="02000506000000020004" pitchFamily="2" charset="0"/>
              </a:rPr>
            </a:br>
            <a:r>
              <a:rPr lang="it-IT" sz="1050">
                <a:solidFill>
                  <a:srgbClr val="000000"/>
                </a:solidFill>
                <a:latin typeface="EYInterstate Light" panose="02000506000000020004" pitchFamily="2" charset="0"/>
              </a:rPr>
              <a:t>EY Singapore</a:t>
            </a:r>
          </a:p>
        </p:txBody>
      </p:sp>
      <p:pic>
        <p:nvPicPr>
          <p:cNvPr id="42" name="Picture 41">
            <a:extLst>
              <a:ext uri="{FF2B5EF4-FFF2-40B4-BE49-F238E27FC236}">
                <a16:creationId xmlns:a16="http://schemas.microsoft.com/office/drawing/2014/main" id="{B981DF6D-2008-4CCD-97A8-8A429512D13A}"/>
              </a:ext>
            </a:extLst>
          </p:cNvPr>
          <p:cNvPicPr/>
          <p:nvPr/>
        </p:nvPicPr>
        <p:blipFill>
          <a:blip r:embed="rId21" cstate="print">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val="0"/>
              </a:ext>
            </a:extLst>
          </a:blip>
          <a:stretch>
            <a:fillRect/>
          </a:stretch>
        </p:blipFill>
        <p:spPr bwMode="auto">
          <a:xfrm>
            <a:off x="8605068" y="5945111"/>
            <a:ext cx="594360" cy="594360"/>
          </a:xfrm>
          <a:prstGeom prst="ellipse">
            <a:avLst/>
          </a:prstGeom>
          <a:ln w="38100">
            <a:solidFill>
              <a:srgbClr val="FFE600"/>
            </a:solidFill>
          </a:ln>
        </p:spPr>
      </p:pic>
      <p:sp>
        <p:nvSpPr>
          <p:cNvPr id="45" name="Rectangle 44">
            <a:extLst>
              <a:ext uri="{FF2B5EF4-FFF2-40B4-BE49-F238E27FC236}">
                <a16:creationId xmlns:a16="http://schemas.microsoft.com/office/drawing/2014/main" id="{D30E45D0-E0D4-43FA-89C0-F2BA0CE823D1}"/>
              </a:ext>
            </a:extLst>
          </p:cNvPr>
          <p:cNvSpPr>
            <a:spLocks noChangeArrowheads="1"/>
          </p:cNvSpPr>
          <p:nvPr/>
        </p:nvSpPr>
        <p:spPr bwMode="auto">
          <a:xfrm>
            <a:off x="9207792" y="5987478"/>
            <a:ext cx="1965930" cy="509627"/>
          </a:xfrm>
          <a:prstGeom prst="rect">
            <a:avLst/>
          </a:prstGeom>
          <a:noFill/>
          <a:ln w="9525">
            <a:noFill/>
            <a:round/>
            <a:headEnd/>
            <a:tailEnd/>
          </a:ln>
        </p:spPr>
        <p:txBody>
          <a:bodyPr wrap="square" lIns="38713"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fontAlgn="auto">
              <a:lnSpc>
                <a:spcPct val="85000"/>
              </a:lnSpc>
              <a:spcBef>
                <a:spcPts val="0"/>
              </a:spcBef>
              <a:spcAft>
                <a:spcPts val="200"/>
              </a:spcAft>
              <a:buClr>
                <a:srgbClr val="FFE600"/>
              </a:buClr>
              <a:buSzPct val="70000"/>
              <a:defRPr/>
            </a:pPr>
            <a:r>
              <a:rPr lang="it-IT" sz="1100" b="1">
                <a:solidFill>
                  <a:srgbClr val="000000"/>
                </a:solidFill>
                <a:latin typeface="EYInterstate Light" panose="02000506000000020004" pitchFamily="2" charset="0"/>
              </a:rPr>
              <a:t>Aaron Lim</a:t>
            </a:r>
          </a:p>
          <a:p>
            <a:pPr lvl="0" algn="ctr" fontAlgn="auto">
              <a:lnSpc>
                <a:spcPct val="85000"/>
              </a:lnSpc>
              <a:spcBef>
                <a:spcPts val="0"/>
              </a:spcBef>
              <a:spcAft>
                <a:spcPts val="200"/>
              </a:spcAft>
              <a:buClr>
                <a:srgbClr val="FFE600"/>
              </a:buClr>
              <a:buSzPct val="70000"/>
              <a:defRPr/>
            </a:pPr>
            <a:br>
              <a:rPr lang="it-IT" sz="500" b="1">
                <a:solidFill>
                  <a:srgbClr val="000000"/>
                </a:solidFill>
                <a:latin typeface="EYInterstate Light" panose="02000506000000020004" pitchFamily="2" charset="0"/>
              </a:rPr>
            </a:br>
            <a:r>
              <a:rPr lang="it-IT" sz="1050">
                <a:solidFill>
                  <a:srgbClr val="000000"/>
                </a:solidFill>
                <a:latin typeface="EYInterstate Light" panose="02000506000000020004" pitchFamily="2" charset="0"/>
              </a:rPr>
              <a:t>DevOps and security support</a:t>
            </a:r>
            <a:br>
              <a:rPr lang="it-IT" sz="1050">
                <a:solidFill>
                  <a:srgbClr val="000000"/>
                </a:solidFill>
                <a:latin typeface="EYInterstate Light" panose="02000506000000020004" pitchFamily="2" charset="0"/>
              </a:rPr>
            </a:br>
            <a:r>
              <a:rPr lang="it-IT" sz="1050">
                <a:solidFill>
                  <a:srgbClr val="000000"/>
                </a:solidFill>
                <a:latin typeface="EYInterstate Light" panose="02000506000000020004" pitchFamily="2" charset="0"/>
              </a:rPr>
              <a:t>EY Singapore</a:t>
            </a:r>
          </a:p>
        </p:txBody>
      </p:sp>
      <p:graphicFrame>
        <p:nvGraphicFramePr>
          <p:cNvPr id="46" name="Table 45">
            <a:extLst>
              <a:ext uri="{FF2B5EF4-FFF2-40B4-BE49-F238E27FC236}">
                <a16:creationId xmlns:a16="http://schemas.microsoft.com/office/drawing/2014/main" id="{B99AF6A2-52A9-4CA7-8D65-3765DEC24205}"/>
              </a:ext>
            </a:extLst>
          </p:cNvPr>
          <p:cNvGraphicFramePr>
            <a:graphicFrameLocks noGrp="1"/>
          </p:cNvGraphicFramePr>
          <p:nvPr>
            <p:extLst>
              <p:ext uri="{D42A27DB-BD31-4B8C-83A1-F6EECF244321}">
                <p14:modId xmlns:p14="http://schemas.microsoft.com/office/powerpoint/2010/main" val="1304215260"/>
              </p:ext>
            </p:extLst>
          </p:nvPr>
        </p:nvGraphicFramePr>
        <p:xfrm>
          <a:off x="10091580" y="4364156"/>
          <a:ext cx="1976371" cy="1293577"/>
        </p:xfrm>
        <a:graphic>
          <a:graphicData uri="http://schemas.openxmlformats.org/drawingml/2006/table">
            <a:tbl>
              <a:tblPr firstRow="1" bandRow="1"/>
              <a:tblGrid>
                <a:gridCol w="1976371">
                  <a:extLst>
                    <a:ext uri="{9D8B030D-6E8A-4147-A177-3AD203B41FA5}">
                      <a16:colId xmlns:a16="http://schemas.microsoft.com/office/drawing/2014/main" val="20000"/>
                    </a:ext>
                  </a:extLst>
                </a:gridCol>
              </a:tblGrid>
              <a:tr h="411480">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Target Operating Model &amp; </a:t>
                      </a:r>
                      <a:br>
                        <a:rPr lang="en-US" sz="1050" b="1" kern="1200">
                          <a:solidFill>
                            <a:srgbClr val="000000"/>
                          </a:solidFill>
                          <a:latin typeface="+mn-lt"/>
                          <a:ea typeface="+mn-ea"/>
                          <a:cs typeface="+mn-cs"/>
                        </a:rPr>
                      </a:br>
                      <a:r>
                        <a:rPr lang="en-US" sz="1050" b="1" kern="1200">
                          <a:solidFill>
                            <a:srgbClr val="000000"/>
                          </a:solidFill>
                          <a:latin typeface="+mn-lt"/>
                          <a:ea typeface="+mn-ea"/>
                          <a:cs typeface="+mn-cs"/>
                        </a:rPr>
                        <a:t>IT Strategic Roadmap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Workstream Lead</a:t>
                      </a:r>
                    </a:p>
                  </a:txBody>
                  <a:tcPr marL="18288" marR="1828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72207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lvl="0" indent="0" algn="ctr" defTabSz="914400" rtl="0" eaLnBrk="1" fontAlgn="auto" latinLnBrk="0" hangingPunct="1">
                        <a:lnSpc>
                          <a:spcPct val="85000"/>
                        </a:lnSpc>
                        <a:spcBef>
                          <a:spcPts val="0"/>
                        </a:spcBef>
                        <a:spcAft>
                          <a:spcPts val="200"/>
                        </a:spcAft>
                        <a:buClr>
                          <a:srgbClr val="FFE600"/>
                        </a:buClr>
                        <a:buSzPct val="70000"/>
                        <a:buFontTx/>
                        <a:buNone/>
                        <a:tabLst/>
                        <a:defRPr/>
                      </a:pPr>
                      <a:r>
                        <a:rPr kumimoji="0" lang="it-IT" sz="11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Pakpoom Thanesuan</a:t>
                      </a:r>
                    </a:p>
                    <a:p>
                      <a:pPr marL="0" marR="0" lvl="0" indent="0" algn="ctr" defTabSz="914400" rtl="0" eaLnBrk="1" fontAlgn="auto" latinLnBrk="0" hangingPunct="1">
                        <a:lnSpc>
                          <a:spcPct val="85000"/>
                        </a:lnSpc>
                        <a:spcBef>
                          <a:spcPts val="0"/>
                        </a:spcBef>
                        <a:spcAft>
                          <a:spcPts val="200"/>
                        </a:spcAft>
                        <a:buClr>
                          <a:srgbClr val="FFE600"/>
                        </a:buClr>
                        <a:buSzPct val="70000"/>
                        <a:buFontTx/>
                        <a:buNone/>
                        <a:tabLst/>
                        <a:defRPr/>
                      </a:pPr>
                      <a:br>
                        <a:rPr kumimoji="0" lang="it-IT" sz="5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br>
                      <a:r>
                        <a:rPr kumimoji="0" lang="it-IT" sz="105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Associate Director</a:t>
                      </a:r>
                    </a:p>
                    <a:p>
                      <a:pPr marL="0" marR="0" lvl="0" indent="0" algn="ctr" defTabSz="914400" rtl="0" eaLnBrk="1" fontAlgn="auto" latinLnBrk="0" hangingPunct="1">
                        <a:lnSpc>
                          <a:spcPct val="85000"/>
                        </a:lnSpc>
                        <a:spcBef>
                          <a:spcPts val="0"/>
                        </a:spcBef>
                        <a:spcAft>
                          <a:spcPts val="200"/>
                        </a:spcAft>
                        <a:buClr>
                          <a:srgbClr val="FFE600"/>
                        </a:buClr>
                        <a:buSzPct val="70000"/>
                        <a:buFontTx/>
                        <a:buNone/>
                        <a:tabLst/>
                        <a:defRPr/>
                      </a:pPr>
                      <a:r>
                        <a:rPr kumimoji="0" lang="it-IT" sz="105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EY Thailand</a:t>
                      </a:r>
                    </a:p>
                  </a:txBody>
                  <a:tcPr marL="18288" marR="18288"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0E0E0"/>
                    </a:solidFill>
                  </a:tcPr>
                </a:tc>
                <a:extLst>
                  <a:ext uri="{0D108BD9-81ED-4DB2-BD59-A6C34878D82A}">
                    <a16:rowId xmlns:a16="http://schemas.microsoft.com/office/drawing/2014/main" val="10001"/>
                  </a:ext>
                </a:extLst>
              </a:tr>
            </a:tbl>
          </a:graphicData>
        </a:graphic>
      </p:graphicFrame>
      <p:pic>
        <p:nvPicPr>
          <p:cNvPr id="55" name="Picture 54" descr="PTS_Pic2.JPG">
            <a:extLst>
              <a:ext uri="{FF2B5EF4-FFF2-40B4-BE49-F238E27FC236}">
                <a16:creationId xmlns:a16="http://schemas.microsoft.com/office/drawing/2014/main" id="{0593F972-A53C-4551-9C48-5AD1079FA48E}"/>
              </a:ext>
            </a:extLst>
          </p:cNvPr>
          <p:cNvPicPr>
            <a:picLocks/>
          </p:cNvPicPr>
          <p:nvPr/>
        </p:nvPicPr>
        <p:blipFill>
          <a:blip r:embed="rId13" cstate="print">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9414372" y="4509503"/>
            <a:ext cx="594360" cy="594360"/>
          </a:xfrm>
          <a:prstGeom prst="ellipse">
            <a:avLst/>
          </a:prstGeom>
          <a:ln w="38100">
            <a:solidFill>
              <a:srgbClr val="FFE600"/>
            </a:solidFill>
          </a:ln>
        </p:spPr>
      </p:pic>
    </p:spTree>
    <p:extLst>
      <p:ext uri="{BB962C8B-B14F-4D97-AF65-F5344CB8AC3E}">
        <p14:creationId xmlns:p14="http://schemas.microsoft.com/office/powerpoint/2010/main" val="23324294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67273"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sz="2180"/>
              <a:t>Project Leadership</a:t>
            </a:r>
          </a:p>
        </p:txBody>
      </p:sp>
      <p:cxnSp>
        <p:nvCxnSpPr>
          <p:cNvPr id="103" name="Straight Connector 102">
            <a:extLst>
              <a:ext uri="{FF2B5EF4-FFF2-40B4-BE49-F238E27FC236}">
                <a16:creationId xmlns:a16="http://schemas.microsoft.com/office/drawing/2014/main" id="{D11DC0E3-9E54-48FB-B179-F1F328871706}"/>
              </a:ext>
            </a:extLst>
          </p:cNvPr>
          <p:cNvCxnSpPr>
            <a:cxnSpLocks/>
          </p:cNvCxnSpPr>
          <p:nvPr/>
        </p:nvCxnSpPr>
        <p:spPr>
          <a:xfrm>
            <a:off x="866327" y="1792886"/>
            <a:ext cx="10789920" cy="0"/>
          </a:xfrm>
          <a:prstGeom prst="line">
            <a:avLst/>
          </a:prstGeom>
          <a:ln w="28575">
            <a:solidFill>
              <a:srgbClr val="FFD200"/>
            </a:solidFill>
          </a:ln>
        </p:spPr>
        <p:style>
          <a:lnRef idx="1">
            <a:schemeClr val="accent2"/>
          </a:lnRef>
          <a:fillRef idx="0">
            <a:schemeClr val="accent2"/>
          </a:fillRef>
          <a:effectRef idx="0">
            <a:schemeClr val="accent2"/>
          </a:effectRef>
          <a:fontRef idx="minor">
            <a:schemeClr val="tx1"/>
          </a:fontRef>
        </p:style>
      </p:cxnSp>
      <p:sp>
        <p:nvSpPr>
          <p:cNvPr id="110" name="Text Placeholder 4">
            <a:extLst>
              <a:ext uri="{FF2B5EF4-FFF2-40B4-BE49-F238E27FC236}">
                <a16:creationId xmlns:a16="http://schemas.microsoft.com/office/drawing/2014/main" id="{EBAEA519-A5DC-4119-8A53-9C6B68503EEE}"/>
              </a:ext>
            </a:extLst>
          </p:cNvPr>
          <p:cNvSpPr txBox="1">
            <a:spLocks/>
          </p:cNvSpPr>
          <p:nvPr/>
        </p:nvSpPr>
        <p:spPr>
          <a:xfrm>
            <a:off x="8234322" y="1612537"/>
            <a:ext cx="2690975" cy="2827073"/>
          </a:xfrm>
          <a:prstGeom prst="rect">
            <a:avLst/>
          </a:prstGeom>
        </p:spPr>
        <p:txBody>
          <a:bodyPr lIns="0" tIns="0" rIns="0" bIns="0"/>
          <a:lstStyle/>
          <a:p>
            <a:pPr marL="120806" marR="0" lvl="0" indent="-120806" algn="l" defTabSz="681014" rtl="0" eaLnBrk="0" fontAlgn="base" latinLnBrk="0" hangingPunct="0">
              <a:lnSpc>
                <a:spcPct val="100000"/>
              </a:lnSpc>
              <a:spcBef>
                <a:spcPct val="0"/>
              </a:spcBef>
              <a:spcAft>
                <a:spcPts val="374"/>
              </a:spcAft>
              <a:buClr>
                <a:srgbClr val="808080"/>
              </a:buClr>
              <a:buSzPct val="70000"/>
              <a:buFont typeface="Arial" charset="0"/>
              <a:buChar char="►"/>
              <a:tabLst/>
              <a:defRPr/>
            </a:pPr>
            <a:endParaRPr kumimoji="0" lang="en-US" sz="671"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111" name="Text Placeholder 7">
            <a:extLst>
              <a:ext uri="{FF2B5EF4-FFF2-40B4-BE49-F238E27FC236}">
                <a16:creationId xmlns:a16="http://schemas.microsoft.com/office/drawing/2014/main" id="{73D4D6BD-49BF-4120-8FBB-AFFCF2C4105D}"/>
              </a:ext>
            </a:extLst>
          </p:cNvPr>
          <p:cNvSpPr txBox="1">
            <a:spLocks/>
          </p:cNvSpPr>
          <p:nvPr/>
        </p:nvSpPr>
        <p:spPr bwMode="auto">
          <a:xfrm>
            <a:off x="9016681" y="1026463"/>
            <a:ext cx="2810884" cy="569941"/>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defTabSz="568498">
              <a:spcAft>
                <a:spcPts val="493"/>
              </a:spcAft>
              <a:buClr>
                <a:srgbClr val="FFD200"/>
              </a:buClr>
              <a:buSzPct val="80000"/>
              <a:defRPr/>
            </a:pPr>
            <a:r>
              <a:rPr lang="en-US" sz="987" b="1">
                <a:solidFill>
                  <a:srgbClr val="000000"/>
                </a:solidFill>
                <a:latin typeface="EYInterstate" panose="02000503020000020004" pitchFamily="2" charset="0"/>
              </a:rPr>
              <a:t>Pakpoom Thanesuan</a:t>
            </a:r>
          </a:p>
          <a:p>
            <a:pPr lvl="0" defTabSz="626789">
              <a:spcAft>
                <a:spcPts val="544"/>
              </a:spcAft>
              <a:buClr>
                <a:srgbClr val="FFD200"/>
              </a:buClr>
              <a:buSzPct val="80000"/>
              <a:defRPr/>
            </a:pPr>
            <a:r>
              <a:rPr lang="en-US" sz="998">
                <a:solidFill>
                  <a:srgbClr val="000000"/>
                </a:solidFill>
                <a:latin typeface="EYInterstate Light" pitchFamily="2" charset="0"/>
              </a:rPr>
              <a:t>Overall Delivery Lead, Target Operating Model &amp; IT Strategic Roadmap Workstream Lead &amp; PMO</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IN" sz="998" b="0" i="0" u="none" strike="noStrike" kern="1200" cap="none" spc="0" normalizeH="0" baseline="0" noProof="0">
                <a:ln>
                  <a:noFill/>
                </a:ln>
                <a:solidFill>
                  <a:srgbClr val="000000"/>
                </a:solidFill>
                <a:effectLst/>
                <a:uLnTx/>
                <a:uFillTx/>
                <a:latin typeface="EYInterstate Light" pitchFamily="2" charset="0"/>
                <a:cs typeface="Arial" charset="0"/>
              </a:rPr>
              <a:t>EY Thailand, Associate Director</a:t>
            </a:r>
            <a:endParaRPr kumimoji="0" lang="en-US" sz="998"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112" name="Text Placeholder 7">
            <a:extLst>
              <a:ext uri="{FF2B5EF4-FFF2-40B4-BE49-F238E27FC236}">
                <a16:creationId xmlns:a16="http://schemas.microsoft.com/office/drawing/2014/main" id="{F97A5A25-DC64-4B89-B5F6-C0FD297A9324}"/>
              </a:ext>
            </a:extLst>
          </p:cNvPr>
          <p:cNvSpPr txBox="1">
            <a:spLocks/>
          </p:cNvSpPr>
          <p:nvPr/>
        </p:nvSpPr>
        <p:spPr bwMode="auto">
          <a:xfrm>
            <a:off x="5058267" y="1045014"/>
            <a:ext cx="2690975" cy="569941"/>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IN" sz="1088" b="1" i="0" u="none" strike="noStrike" kern="1200" cap="none" spc="0" normalizeH="0" baseline="0" noProof="0">
                <a:ln>
                  <a:noFill/>
                </a:ln>
                <a:solidFill>
                  <a:srgbClr val="000000"/>
                </a:solidFill>
                <a:effectLst/>
                <a:uLnTx/>
                <a:uFillTx/>
                <a:latin typeface="EYInterstate" panose="02000503020000020004" pitchFamily="2" charset="0"/>
                <a:cs typeface="Arial" charset="0"/>
              </a:rPr>
              <a:t>Nitin Datta</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998" b="0" i="0" u="none" strike="noStrike" kern="1200" cap="none" spc="0" normalizeH="0" baseline="0" noProof="0">
                <a:ln>
                  <a:noFill/>
                </a:ln>
                <a:solidFill>
                  <a:srgbClr val="000000"/>
                </a:solidFill>
                <a:effectLst/>
                <a:uLnTx/>
                <a:uFillTx/>
                <a:latin typeface="EYInterstate Light" pitchFamily="2" charset="0"/>
                <a:cs typeface="Arial" charset="0"/>
              </a:rPr>
              <a:t>Co - Engagement Partner</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IN" sz="998" b="0" i="0" u="none" strike="noStrike" kern="1200" cap="none" spc="0" normalizeH="0" baseline="0" noProof="0">
                <a:ln>
                  <a:noFill/>
                </a:ln>
                <a:solidFill>
                  <a:srgbClr val="000000"/>
                </a:solidFill>
                <a:effectLst/>
                <a:uLnTx/>
                <a:uFillTx/>
                <a:latin typeface="EYInterstate Light" pitchFamily="2" charset="0"/>
                <a:cs typeface="Arial" charset="0"/>
              </a:rPr>
              <a:t>EY Singapore, FSO Data &amp; Analytics</a:t>
            </a:r>
            <a:endParaRPr kumimoji="0" lang="en-US" sz="998"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113" name="Rectangle 112">
            <a:extLst>
              <a:ext uri="{FF2B5EF4-FFF2-40B4-BE49-F238E27FC236}">
                <a16:creationId xmlns:a16="http://schemas.microsoft.com/office/drawing/2014/main" id="{B8C20885-85BA-450B-A1CF-D42C2582AE06}"/>
              </a:ext>
            </a:extLst>
          </p:cNvPr>
          <p:cNvSpPr/>
          <p:nvPr/>
        </p:nvSpPr>
        <p:spPr>
          <a:xfrm>
            <a:off x="4505140" y="1946923"/>
            <a:ext cx="3599365" cy="4072910"/>
          </a:xfrm>
          <a:prstGeom prst="rect">
            <a:avLst/>
          </a:prstGeom>
        </p:spPr>
        <p:txBody>
          <a:bodyPr wrap="square">
            <a:spAutoFit/>
          </a:bodyPr>
          <a:lstStyle/>
          <a:p>
            <a:pPr marL="0" marR="0" lvl="3" indent="0" algn="just" defTabSz="681014" rtl="0" eaLnBrk="0" fontAlgn="base" latinLnBrk="0" hangingPunct="0">
              <a:lnSpc>
                <a:spcPct val="100000"/>
              </a:lnSpc>
              <a:spcBef>
                <a:spcPct val="0"/>
              </a:spcBef>
              <a:spcAft>
                <a:spcPts val="374"/>
              </a:spcAft>
              <a:buClr>
                <a:srgbClr val="808080"/>
              </a:buClr>
              <a:buSzPct val="70000"/>
              <a:buFontTx/>
              <a:buNone/>
              <a:tabLst>
                <a:tab pos="2108180" algn="l"/>
                <a:tab pos="3047387" algn="r"/>
              </a:tabLst>
              <a:defRPr/>
            </a:pPr>
            <a:r>
              <a:rPr kumimoji="0" lang="en-GB"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sym typeface="Arial Unicode MS"/>
              </a:rPr>
              <a:t>Background</a:t>
            </a: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rPr>
              <a:t>Nitin is a Partner with our </a:t>
            </a:r>
            <a:r>
              <a:rPr kumimoji="0" lang="en-IN"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rPr>
              <a:t>FSO Data &amp; Analytics in EY Singapore </a:t>
            </a: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rPr>
              <a:t>Nitin has more than 15 years of experience and his core areas of focus are data governance, data usage (BI &amp; Analytics), data architecture &amp; management, data quality and data migration and he has successfully led many analytics engagement for AIA’s business entities across APAC.</a:t>
            </a: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endPar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endParaRP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rPr>
              <a:t>Relevant experience</a:t>
            </a:r>
          </a:p>
          <a:p>
            <a:pPr marL="0" marR="0" lvl="0" indent="0" algn="l" defTabSz="1266737" rtl="0" eaLnBrk="1" fontAlgn="base"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endParaRP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Led health analytics project for AIA Singapore and AIA Thailand based that involved analyzing the existing claims in terms of overall risk, quality and cost benchmarking by looking at family history, claims history, doctors info, agent info, claims forms and supporting documents and coming up with intervention strategies in order to manage their health book and support the foundation of the healthcare transformation</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Led the migration of AIA Singapore ’s core applications into Azure and oversight the overall program management and the progress of migration and testing of each application</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Led the BI strategy &amp; predictive analytics project for a large life insurance company. The client was facing the twin issues of retention of existing customers as well as dysfunctional information architecture. The client has managed a significant gain 3-5% lift in collections vs. dues in the first month of the roll out and a way forward on the future state information architecture.</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Led the build &amp; delivery of micro customer segmentation models, statistical scoring for cross sell and up sell, provided recommendations on integration &amp; interface requirements with channels to assist in marketing analytics campaigns for a large insurer in Singapore.</a:t>
            </a:r>
          </a:p>
        </p:txBody>
      </p:sp>
      <p:sp>
        <p:nvSpPr>
          <p:cNvPr id="114" name="Text Placeholder 4">
            <a:extLst>
              <a:ext uri="{FF2B5EF4-FFF2-40B4-BE49-F238E27FC236}">
                <a16:creationId xmlns:a16="http://schemas.microsoft.com/office/drawing/2014/main" id="{E1BB19F1-AF19-49D1-B922-608A62341AE1}"/>
              </a:ext>
            </a:extLst>
          </p:cNvPr>
          <p:cNvSpPr txBox="1">
            <a:spLocks/>
          </p:cNvSpPr>
          <p:nvPr/>
        </p:nvSpPr>
        <p:spPr>
          <a:xfrm>
            <a:off x="888754" y="1976824"/>
            <a:ext cx="3400169" cy="3101354"/>
          </a:xfrm>
          <a:prstGeom prst="rect">
            <a:avLst/>
          </a:prstGeom>
        </p:spPr>
        <p:txBody>
          <a:bodyPr lIns="0" tIns="0" rIns="0" bIns="0"/>
          <a:lstStyle/>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GB" sz="800" b="1" i="1" u="none" strike="noStrike" kern="1200" cap="none" spc="0" normalizeH="0" baseline="0" noProof="0">
                <a:ln>
                  <a:noFill/>
                </a:ln>
                <a:solidFill>
                  <a:srgbClr val="000000"/>
                </a:solidFill>
                <a:effectLst/>
                <a:uLnTx/>
                <a:uFillTx/>
                <a:latin typeface="EYInterstate Light" pitchFamily="2" charset="0"/>
                <a:cs typeface="Arial" charset="0"/>
                <a:sym typeface="Arial Unicode MS"/>
              </a:rPr>
              <a:t>Background</a:t>
            </a:r>
          </a:p>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US" sz="800" b="0" i="0" u="none" strike="noStrike" kern="1200" cap="none" spc="0" normalizeH="0" baseline="0" noProof="0">
                <a:ln>
                  <a:noFill/>
                </a:ln>
                <a:solidFill>
                  <a:srgbClr val="000000"/>
                </a:solidFill>
                <a:effectLst/>
                <a:uLnTx/>
                <a:uFillTx/>
                <a:latin typeface="EYInterstate Light" pitchFamily="2" charset="0"/>
                <a:cs typeface="Arial" charset="0"/>
              </a:rPr>
              <a:t>Roungkarn has over 23 years of experience in management consulting, focusing on the banking and insurance industry. She specializes in large scale business transformation programs and system implementation. Roungkarn has led multiple client business transformation initiatives from strategic planning to implementation to operations</a:t>
            </a:r>
          </a:p>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endParaRPr kumimoji="0" lang="en-US" sz="800"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127" name="Text Placeholder 7">
            <a:extLst>
              <a:ext uri="{FF2B5EF4-FFF2-40B4-BE49-F238E27FC236}">
                <a16:creationId xmlns:a16="http://schemas.microsoft.com/office/drawing/2014/main" id="{A6DF2CCD-D919-4E8B-B6E0-0E9238F3F4DC}"/>
              </a:ext>
            </a:extLst>
          </p:cNvPr>
          <p:cNvSpPr txBox="1">
            <a:spLocks/>
          </p:cNvSpPr>
          <p:nvPr/>
        </p:nvSpPr>
        <p:spPr bwMode="auto">
          <a:xfrm>
            <a:off x="1652967" y="1019173"/>
            <a:ext cx="2473950" cy="62838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1088" b="1" i="0" u="none" strike="noStrike" kern="1200" cap="none" spc="0" normalizeH="0" baseline="0" noProof="0">
                <a:ln>
                  <a:noFill/>
                </a:ln>
                <a:solidFill>
                  <a:srgbClr val="000000"/>
                </a:solidFill>
                <a:effectLst/>
                <a:uLnTx/>
                <a:uFillTx/>
                <a:latin typeface="EYInterstate" panose="02000503020000020004" pitchFamily="2" charset="0"/>
                <a:cs typeface="Arial" charset="0"/>
              </a:rPr>
              <a:t>Roungkarn Sriprasertsuk</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998" b="0" i="0" u="none" strike="noStrike" kern="1200" cap="none" spc="0" normalizeH="0" baseline="0" noProof="0">
                <a:ln>
                  <a:noFill/>
                </a:ln>
                <a:solidFill>
                  <a:srgbClr val="000000"/>
                </a:solidFill>
                <a:effectLst/>
                <a:uLnTx/>
                <a:uFillTx/>
                <a:latin typeface="EYInterstate Light" pitchFamily="2" charset="0"/>
                <a:cs typeface="Arial" charset="0"/>
              </a:rPr>
              <a:t>Co - Engagement Partner</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998" b="0" i="0" u="none" strike="noStrike" kern="0" cap="none" spc="0" normalizeH="0" baseline="0" noProof="0">
                <a:ln>
                  <a:noFill/>
                </a:ln>
                <a:solidFill>
                  <a:srgbClr val="000000"/>
                </a:solidFill>
                <a:effectLst/>
                <a:uLnTx/>
                <a:uFillTx/>
                <a:latin typeface="EYInterstate Light" pitchFamily="2" charset="0"/>
                <a:cs typeface="Arial" charset="0"/>
              </a:rPr>
              <a:t>EY Thailand, Business Consulting lead</a:t>
            </a:r>
          </a:p>
        </p:txBody>
      </p:sp>
      <p:sp>
        <p:nvSpPr>
          <p:cNvPr id="128" name="Text Placeholder 4">
            <a:extLst>
              <a:ext uri="{FF2B5EF4-FFF2-40B4-BE49-F238E27FC236}">
                <a16:creationId xmlns:a16="http://schemas.microsoft.com/office/drawing/2014/main" id="{CC6B5204-E488-438C-B6CB-A281D1D3C11F}"/>
              </a:ext>
            </a:extLst>
          </p:cNvPr>
          <p:cNvSpPr txBox="1">
            <a:spLocks/>
          </p:cNvSpPr>
          <p:nvPr/>
        </p:nvSpPr>
        <p:spPr>
          <a:xfrm>
            <a:off x="867388" y="2888933"/>
            <a:ext cx="3400169" cy="2812899"/>
          </a:xfrm>
          <a:prstGeom prst="rect">
            <a:avLst/>
          </a:prstGeom>
        </p:spPr>
        <p:txBody>
          <a:bodyPr lIns="0" tIns="0" rIns="0" bIns="0"/>
          <a:lstStyle/>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US" sz="800" b="1" i="1" u="none" strike="noStrike" kern="1200" cap="none" spc="0" normalizeH="0" baseline="0" noProof="0">
                <a:ln>
                  <a:noFill/>
                </a:ln>
                <a:solidFill>
                  <a:srgbClr val="000000"/>
                </a:solidFill>
                <a:effectLst/>
                <a:uLnTx/>
                <a:uFillTx/>
                <a:latin typeface="EYInterstate Light" pitchFamily="2" charset="0"/>
                <a:cs typeface="Arial" charset="0"/>
              </a:rPr>
              <a:t>Relevant experience</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and designed Data Governance Framework for leading life insurance company and bank in Thailand </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IFRS 17 implementation for leading life insurance companies in Thailand </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the strategic transformation and implementation of Operations and IT for leading banks and insurance companies in Thailand​</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advisory work for insurance regulator in strategic planning, product development, business plan, enterprise risk management/ ORSA, regulatory changed </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agency transformation and development of service excellence initiatives for a leading Thai life insurer​</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implementation of Guidewire (GW) Claim Center to improve the speed and efficiency of claims processing for leading MNC Insurer​</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Designed and conducted targeted, online consumer research to generate needs-based consumer segmentation using machine learning technology for leading MNC insurer​</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implementation CRM system to improve sale and services of corporate and retail banking for a leading Thai bank</a:t>
            </a:r>
          </a:p>
        </p:txBody>
      </p:sp>
      <p:sp>
        <p:nvSpPr>
          <p:cNvPr id="129" name="Oval 128">
            <a:extLst>
              <a:ext uri="{FF2B5EF4-FFF2-40B4-BE49-F238E27FC236}">
                <a16:creationId xmlns:a16="http://schemas.microsoft.com/office/drawing/2014/main" id="{A3D848BB-8A0B-446E-B61F-B93BB1F49DBB}"/>
              </a:ext>
            </a:extLst>
          </p:cNvPr>
          <p:cNvSpPr>
            <a:spLocks/>
          </p:cNvSpPr>
          <p:nvPr/>
        </p:nvSpPr>
        <p:spPr>
          <a:xfrm>
            <a:off x="859536" y="1005840"/>
            <a:ext cx="640080" cy="640080"/>
          </a:xfrm>
          <a:prstGeom prst="ellipse">
            <a:avLst/>
          </a:prstGeom>
          <a:blipFill>
            <a:blip r:embed="rId8"/>
            <a:stretch>
              <a:fillRect l="1" r="5570" b="-13772"/>
            </a:stretch>
          </a:blipFill>
          <a:ln w="3810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a:ea typeface="+mn-ea"/>
              <a:cs typeface="+mn-cs"/>
            </a:endParaRPr>
          </a:p>
        </p:txBody>
      </p:sp>
      <p:pic>
        <p:nvPicPr>
          <p:cNvPr id="131" name="Picture 130">
            <a:extLst>
              <a:ext uri="{FF2B5EF4-FFF2-40B4-BE49-F238E27FC236}">
                <a16:creationId xmlns:a16="http://schemas.microsoft.com/office/drawing/2014/main" id="{F9F4F8BC-89E6-4182-8E63-97BC701B77E8}"/>
              </a:ext>
            </a:extLst>
          </p:cNvPr>
          <p:cNvPicPr>
            <a:picLocks/>
          </p:cNvPicPr>
          <p:nvPr/>
        </p:nvPicPr>
        <p:blipFill rotWithShape="1">
          <a:blip r:embed="rId9">
            <a:extLst>
              <a:ext uri="{BEBA8EAE-BF5A-486C-A8C5-ECC9F3942E4B}">
                <a14:imgProps xmlns:a14="http://schemas.microsoft.com/office/drawing/2010/main">
                  <a14:imgLayer r:embed="rId10">
                    <a14:imgEffect>
                      <a14:brightnessContrast bright="20000"/>
                    </a14:imgEffect>
                  </a14:imgLayer>
                </a14:imgProps>
              </a:ext>
            </a:extLst>
          </a:blip>
          <a:srcRect t="12968" b="8475"/>
          <a:stretch/>
        </p:blipFill>
        <p:spPr>
          <a:xfrm>
            <a:off x="4256734" y="1005840"/>
            <a:ext cx="640080" cy="640080"/>
          </a:xfrm>
          <a:prstGeom prst="ellipse">
            <a:avLst/>
          </a:prstGeom>
          <a:blipFill>
            <a:blip r:embed="rId8"/>
            <a:stretch>
              <a:fillRect l="1" r="5570" b="-13772"/>
            </a:stretch>
          </a:blipFill>
          <a:ln w="38100">
            <a:solidFill>
              <a:srgbClr val="FFE600"/>
            </a:solidFill>
          </a:ln>
        </p:spPr>
      </p:pic>
      <p:sp>
        <p:nvSpPr>
          <p:cNvPr id="132" name="Rectangle 131">
            <a:extLst>
              <a:ext uri="{FF2B5EF4-FFF2-40B4-BE49-F238E27FC236}">
                <a16:creationId xmlns:a16="http://schemas.microsoft.com/office/drawing/2014/main" id="{D958AE2E-DA6A-42A0-B29C-BCEAC1D29F33}"/>
              </a:ext>
            </a:extLst>
          </p:cNvPr>
          <p:cNvSpPr/>
          <p:nvPr/>
        </p:nvSpPr>
        <p:spPr>
          <a:xfrm>
            <a:off x="8211547" y="1953947"/>
            <a:ext cx="3755272" cy="3806170"/>
          </a:xfrm>
          <a:prstGeom prst="rect">
            <a:avLst/>
          </a:prstGeom>
        </p:spPr>
        <p:txBody>
          <a:bodyPr wrap="square">
            <a:spAutoFit/>
          </a:bodyPr>
          <a:lstStyle/>
          <a:p>
            <a:pPr marL="0" marR="0" lvl="3" indent="0" algn="just" defTabSz="681014" rtl="0" eaLnBrk="0" fontAlgn="base" latinLnBrk="0" hangingPunct="0">
              <a:lnSpc>
                <a:spcPct val="100000"/>
              </a:lnSpc>
              <a:spcBef>
                <a:spcPct val="0"/>
              </a:spcBef>
              <a:spcAft>
                <a:spcPts val="374"/>
              </a:spcAft>
              <a:buClr>
                <a:srgbClr val="808080"/>
              </a:buClr>
              <a:buSzPct val="70000"/>
              <a:buFontTx/>
              <a:buNone/>
              <a:tabLst>
                <a:tab pos="2108180" algn="l"/>
                <a:tab pos="3047387" algn="r"/>
              </a:tabLst>
              <a:defRPr/>
            </a:pPr>
            <a:r>
              <a:rPr kumimoji="0" lang="en-GB"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sym typeface="Arial Unicode MS"/>
              </a:rPr>
              <a:t>Background</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Pakpoom is an Associate Director in EY Thailand Advisory Practice. He has over 17 years of experience in technology related consultant services, e.g., business and IT assessment, business process improvement, IT audit, IT project management in  various industries, e.g., bank, insurance, financial services, telecommunication and manufacturing etc. </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Pakpoom has Bachelor of Business Administration in Business  Administration (International program) with second class honors, Chulalongkorn University and  Master of Science in Business Information Systems, Utah State University, Utah, USA.</a:t>
            </a:r>
          </a:p>
          <a:p>
            <a:pPr lvl="0" algn="just" defTabSz="681014">
              <a:spcAft>
                <a:spcPts val="374"/>
              </a:spcAft>
              <a:buClr>
                <a:srgbClr val="646464"/>
              </a:buClr>
              <a:buSzPct val="70000"/>
              <a:tabLst>
                <a:tab pos="2108180" algn="l"/>
                <a:tab pos="3047387" algn="r"/>
              </a:tabLst>
              <a:defRPr/>
            </a:pPr>
            <a:endParaRPr lang="en-US" sz="800">
              <a:solidFill>
                <a:srgbClr val="000000"/>
              </a:solidFill>
              <a:latin typeface="EYInterstate Light" panose="02000506000000020004" pitchFamily="2" charset="0"/>
            </a:endParaRP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rPr>
              <a:t>Relevant experience</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data governance assessment and pilot rollout for leading life insurance and Thai Bank.</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designed DG operating model, policy, standard and procedures including roadmap for implementation</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data management tool assessment for leading life insurer in Thailand </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data and process workstream for IFRS 17 implementation for leading life insurance in Thailand </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gap assessment on target business processes and IT systems comparing with regulatory requirements, leading practices and standard including recommendations for leading financial institutions</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and performed business process improvement, relevant system implementation and RPA implementation in various companies in Thailand ; project managed business and IT  assessment for multiple industries, e.g., manufacturing, insurance, financial institutions, etc.</a:t>
            </a:r>
          </a:p>
        </p:txBody>
      </p:sp>
      <p:pic>
        <p:nvPicPr>
          <p:cNvPr id="18" name="Picture 17" descr="PTS_Pic2.JPG">
            <a:extLst>
              <a:ext uri="{FF2B5EF4-FFF2-40B4-BE49-F238E27FC236}">
                <a16:creationId xmlns:a16="http://schemas.microsoft.com/office/drawing/2014/main" id="{DCBEA766-8D05-4A15-AB34-FA5870BE2085}"/>
              </a:ext>
            </a:extLst>
          </p:cNvPr>
          <p:cNvPicPr>
            <a:picLocks/>
          </p:cNvPicPr>
          <p:nvPr/>
        </p:nvPicPr>
        <p:blipFill>
          <a:blip r:embed="rId11" cstate="print">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8247888" y="1005840"/>
            <a:ext cx="640080" cy="640080"/>
          </a:xfrm>
          <a:prstGeom prst="ellipse">
            <a:avLst/>
          </a:prstGeom>
          <a:ln w="38100">
            <a:solidFill>
              <a:srgbClr val="FFE600"/>
            </a:solidFill>
          </a:ln>
        </p:spPr>
      </p:pic>
    </p:spTree>
    <p:extLst>
      <p:ext uri="{BB962C8B-B14F-4D97-AF65-F5344CB8AC3E}">
        <p14:creationId xmlns:p14="http://schemas.microsoft.com/office/powerpoint/2010/main" val="20653931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69321"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a:t>Subject Matter Advisors (SMAs)</a:t>
            </a:r>
            <a:endParaRPr lang="en-US" sz="2180"/>
          </a:p>
        </p:txBody>
      </p:sp>
      <p:cxnSp>
        <p:nvCxnSpPr>
          <p:cNvPr id="103" name="Straight Connector 102">
            <a:extLst>
              <a:ext uri="{FF2B5EF4-FFF2-40B4-BE49-F238E27FC236}">
                <a16:creationId xmlns:a16="http://schemas.microsoft.com/office/drawing/2014/main" id="{D11DC0E3-9E54-48FB-B179-F1F328871706}"/>
              </a:ext>
            </a:extLst>
          </p:cNvPr>
          <p:cNvCxnSpPr>
            <a:cxnSpLocks/>
          </p:cNvCxnSpPr>
          <p:nvPr/>
        </p:nvCxnSpPr>
        <p:spPr>
          <a:xfrm>
            <a:off x="866327" y="1792886"/>
            <a:ext cx="10789920" cy="0"/>
          </a:xfrm>
          <a:prstGeom prst="line">
            <a:avLst/>
          </a:prstGeom>
          <a:ln w="28575">
            <a:solidFill>
              <a:srgbClr val="FFD200"/>
            </a:solidFill>
          </a:ln>
        </p:spPr>
        <p:style>
          <a:lnRef idx="1">
            <a:schemeClr val="accent2"/>
          </a:lnRef>
          <a:fillRef idx="0">
            <a:schemeClr val="accent2"/>
          </a:fillRef>
          <a:effectRef idx="0">
            <a:schemeClr val="accent2"/>
          </a:effectRef>
          <a:fontRef idx="minor">
            <a:schemeClr val="tx1"/>
          </a:fontRef>
        </p:style>
      </p:cxnSp>
      <p:sp>
        <p:nvSpPr>
          <p:cNvPr id="110" name="Text Placeholder 4">
            <a:extLst>
              <a:ext uri="{FF2B5EF4-FFF2-40B4-BE49-F238E27FC236}">
                <a16:creationId xmlns:a16="http://schemas.microsoft.com/office/drawing/2014/main" id="{EBAEA519-A5DC-4119-8A53-9C6B68503EEE}"/>
              </a:ext>
            </a:extLst>
          </p:cNvPr>
          <p:cNvSpPr txBox="1">
            <a:spLocks/>
          </p:cNvSpPr>
          <p:nvPr/>
        </p:nvSpPr>
        <p:spPr>
          <a:xfrm>
            <a:off x="8234322" y="1612537"/>
            <a:ext cx="2690975" cy="2827073"/>
          </a:xfrm>
          <a:prstGeom prst="rect">
            <a:avLst/>
          </a:prstGeom>
        </p:spPr>
        <p:txBody>
          <a:bodyPr lIns="0" tIns="0" rIns="0" bIns="0"/>
          <a:lstStyle/>
          <a:p>
            <a:pPr marL="120806" marR="0" lvl="0" indent="-120806" algn="l" defTabSz="681014" rtl="0" eaLnBrk="0" fontAlgn="base" latinLnBrk="0" hangingPunct="0">
              <a:lnSpc>
                <a:spcPct val="100000"/>
              </a:lnSpc>
              <a:spcBef>
                <a:spcPct val="0"/>
              </a:spcBef>
              <a:spcAft>
                <a:spcPts val="374"/>
              </a:spcAft>
              <a:buClr>
                <a:srgbClr val="808080"/>
              </a:buClr>
              <a:buSzPct val="70000"/>
              <a:buFont typeface="Arial" charset="0"/>
              <a:buChar char="►"/>
              <a:tabLst/>
              <a:defRPr/>
            </a:pPr>
            <a:endParaRPr kumimoji="0" lang="en-US" sz="671"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111" name="Text Placeholder 7">
            <a:extLst>
              <a:ext uri="{FF2B5EF4-FFF2-40B4-BE49-F238E27FC236}">
                <a16:creationId xmlns:a16="http://schemas.microsoft.com/office/drawing/2014/main" id="{73D4D6BD-49BF-4120-8FBB-AFFCF2C4105D}"/>
              </a:ext>
            </a:extLst>
          </p:cNvPr>
          <p:cNvSpPr txBox="1">
            <a:spLocks/>
          </p:cNvSpPr>
          <p:nvPr/>
        </p:nvSpPr>
        <p:spPr bwMode="auto">
          <a:xfrm>
            <a:off x="9016681" y="1050033"/>
            <a:ext cx="2243851" cy="569941"/>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1090" b="1" i="0" u="none" strike="noStrike" kern="1200" cap="none" spc="0" normalizeH="0" baseline="0" noProof="0">
                <a:ln>
                  <a:noFill/>
                </a:ln>
                <a:solidFill>
                  <a:srgbClr val="000000"/>
                </a:solidFill>
                <a:effectLst/>
                <a:uLnTx/>
                <a:uFillTx/>
                <a:latin typeface="EYInterstate" panose="02000503020000020004" pitchFamily="2" charset="0"/>
                <a:cs typeface="Arial" charset="0"/>
              </a:rPr>
              <a:t>Steve </a:t>
            </a:r>
            <a:r>
              <a:rPr kumimoji="0" lang="en-US" sz="1090" b="1" i="0" u="none" strike="noStrike" kern="1200" cap="none" spc="0" normalizeH="0" baseline="0" noProof="0" err="1">
                <a:ln>
                  <a:noFill/>
                </a:ln>
                <a:solidFill>
                  <a:srgbClr val="000000"/>
                </a:solidFill>
                <a:effectLst/>
                <a:uLnTx/>
                <a:uFillTx/>
                <a:latin typeface="EYInterstate" panose="02000503020000020004" pitchFamily="2" charset="0"/>
                <a:cs typeface="Arial" charset="0"/>
              </a:rPr>
              <a:t>Hamil</a:t>
            </a:r>
            <a:endParaRPr kumimoji="0" lang="en-IN" sz="1090" b="1" i="0" u="none" strike="noStrike" kern="1200" cap="none" spc="0" normalizeH="0" baseline="0" noProof="0">
              <a:ln>
                <a:noFill/>
              </a:ln>
              <a:solidFill>
                <a:srgbClr val="000000"/>
              </a:solidFill>
              <a:effectLst/>
              <a:uLnTx/>
              <a:uFillTx/>
              <a:latin typeface="EYInterstate" panose="02000503020000020004" pitchFamily="2" charset="0"/>
              <a:cs typeface="Arial" charset="0"/>
            </a:endParaRP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1000" b="0" i="0" u="none" strike="noStrike" kern="1200" cap="none" spc="0" normalizeH="0" baseline="0" noProof="0">
                <a:ln>
                  <a:noFill/>
                </a:ln>
                <a:solidFill>
                  <a:srgbClr val="000000"/>
                </a:solidFill>
                <a:effectLst/>
                <a:uLnTx/>
                <a:uFillTx/>
                <a:latin typeface="EYInterstate Light" pitchFamily="2" charset="0"/>
                <a:cs typeface="Arial" charset="0"/>
              </a:rPr>
              <a:t>Data &amp; Analytics SMA</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1000" b="0" i="0" u="none" strike="noStrike" kern="0" cap="none" spc="0" normalizeH="0" baseline="0" noProof="0">
                <a:ln>
                  <a:noFill/>
                </a:ln>
                <a:solidFill>
                  <a:srgbClr val="000000"/>
                </a:solidFill>
                <a:effectLst/>
                <a:uLnTx/>
                <a:uFillTx/>
                <a:latin typeface="EYInterstate Light" pitchFamily="2" charset="0"/>
                <a:cs typeface="Arial" charset="0"/>
              </a:rPr>
              <a:t>EY Hong Kong, Director</a:t>
            </a:r>
          </a:p>
        </p:txBody>
      </p:sp>
      <p:sp>
        <p:nvSpPr>
          <p:cNvPr id="112" name="Text Placeholder 7">
            <a:extLst>
              <a:ext uri="{FF2B5EF4-FFF2-40B4-BE49-F238E27FC236}">
                <a16:creationId xmlns:a16="http://schemas.microsoft.com/office/drawing/2014/main" id="{F97A5A25-DC64-4B89-B5F6-C0FD297A9324}"/>
              </a:ext>
            </a:extLst>
          </p:cNvPr>
          <p:cNvSpPr txBox="1">
            <a:spLocks/>
          </p:cNvSpPr>
          <p:nvPr/>
        </p:nvSpPr>
        <p:spPr bwMode="auto">
          <a:xfrm>
            <a:off x="5058267" y="1050033"/>
            <a:ext cx="2690975" cy="569941"/>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IN" sz="1088" b="1" i="0" u="none" strike="noStrike" kern="1200" cap="none" spc="0" normalizeH="0" baseline="0" noProof="0">
                <a:ln>
                  <a:noFill/>
                </a:ln>
                <a:solidFill>
                  <a:srgbClr val="000000"/>
                </a:solidFill>
                <a:effectLst/>
                <a:uLnTx/>
                <a:uFillTx/>
                <a:latin typeface="EYInterstate" panose="02000503020000020004" pitchFamily="2" charset="0"/>
                <a:cs typeface="Arial" charset="0"/>
              </a:rPr>
              <a:t>Chris Barford</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998" b="0" i="0" u="none" strike="noStrike" kern="1200" cap="none" spc="0" normalizeH="0" baseline="0" noProof="0">
                <a:ln>
                  <a:noFill/>
                </a:ln>
                <a:solidFill>
                  <a:srgbClr val="000000"/>
                </a:solidFill>
                <a:effectLst/>
                <a:uLnTx/>
                <a:uFillTx/>
                <a:latin typeface="EYInterstate Light" pitchFamily="2" charset="0"/>
                <a:cs typeface="Arial" charset="0"/>
              </a:rPr>
              <a:t>Data &amp; Analytics SMA</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998" b="0" i="0" u="none" strike="noStrike" kern="0" cap="none" spc="0" normalizeH="0" baseline="0" noProof="0">
                <a:ln>
                  <a:noFill/>
                </a:ln>
                <a:solidFill>
                  <a:srgbClr val="000000"/>
                </a:solidFill>
                <a:effectLst/>
                <a:uLnTx/>
                <a:uFillTx/>
                <a:latin typeface="EYInterstate Light" pitchFamily="2" charset="0"/>
                <a:cs typeface="Arial" charset="0"/>
              </a:rPr>
              <a:t>EY Hong Kong, Director</a:t>
            </a:r>
          </a:p>
        </p:txBody>
      </p:sp>
      <p:sp>
        <p:nvSpPr>
          <p:cNvPr id="113" name="Rectangle 112">
            <a:extLst>
              <a:ext uri="{FF2B5EF4-FFF2-40B4-BE49-F238E27FC236}">
                <a16:creationId xmlns:a16="http://schemas.microsoft.com/office/drawing/2014/main" id="{B8C20885-85BA-450B-A1CF-D42C2582AE06}"/>
              </a:ext>
            </a:extLst>
          </p:cNvPr>
          <p:cNvSpPr/>
          <p:nvPr/>
        </p:nvSpPr>
        <p:spPr>
          <a:xfrm>
            <a:off x="4505140" y="1946923"/>
            <a:ext cx="3599365" cy="5037276"/>
          </a:xfrm>
          <a:prstGeom prst="rect">
            <a:avLst/>
          </a:prstGeom>
        </p:spPr>
        <p:txBody>
          <a:bodyPr wrap="square">
            <a:spAutoFit/>
          </a:bodyPr>
          <a:lstStyle/>
          <a:p>
            <a:pPr marL="0" marR="0" lvl="3" indent="0" algn="just" defTabSz="681014" rtl="0" eaLnBrk="0" fontAlgn="base" latinLnBrk="0" hangingPunct="0">
              <a:lnSpc>
                <a:spcPct val="100000"/>
              </a:lnSpc>
              <a:spcBef>
                <a:spcPct val="0"/>
              </a:spcBef>
              <a:spcAft>
                <a:spcPts val="374"/>
              </a:spcAft>
              <a:buClr>
                <a:srgbClr val="808080"/>
              </a:buClr>
              <a:buSzPct val="70000"/>
              <a:buFontTx/>
              <a:buNone/>
              <a:tabLst>
                <a:tab pos="2108180" algn="l"/>
                <a:tab pos="3047387" algn="r"/>
              </a:tabLst>
              <a:defRPr/>
            </a:pPr>
            <a:r>
              <a:rPr kumimoji="0" lang="en-GB"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sym typeface="Arial Unicode MS"/>
              </a:rPr>
              <a:t>Background</a:t>
            </a:r>
          </a:p>
          <a:p>
            <a:pPr lvl="0"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Chris is a Director in EY’s Data and Analytics practice, specializing in in Financial Services. He worked for five years at EY London and moved to EY Hong Kong in 2016. He has over fourteen years financial services consulting experience with a focus on data and analytics. He is typically responsible for  end-to-end delivery of complex architectures and platforms, with a functional focus on risk, finance and regulatory analytics.</a:t>
            </a: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endPar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endParaRP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rPr>
              <a:t>Relevant experience</a:t>
            </a:r>
            <a:endPar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endParaRP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Led the creation of the AIA Azure ODS platform, one of AIA’s first cloud based platforms. Developed an Azure based architecture (after an Azure and AWS </a:t>
            </a:r>
            <a:r>
              <a:rPr lang="en-US" sz="800" kern="0" err="1">
                <a:solidFill>
                  <a:srgbClr val="000000"/>
                </a:solidFill>
                <a:latin typeface="EYInterstate Light" panose="02000506000000020004" pitchFamily="2" charset="0"/>
              </a:rPr>
              <a:t>PoC</a:t>
            </a:r>
            <a:r>
              <a:rPr lang="en-US" sz="800" kern="0">
                <a:solidFill>
                  <a:srgbClr val="000000"/>
                </a:solidFill>
                <a:latin typeface="EYInterstate Light" panose="02000506000000020004" pitchFamily="2" charset="0"/>
              </a:rPr>
              <a:t>) and has subsequently continued to expand the platform since 2018. The platform has ingested billions of records and been running constantly ingesting data since 2019. It now supports AIA Vitality as well as related ecosystem items such as App ratings and API ingestion</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Led the development of an AIA Group Healthcare reporting solution (Analytica) to allow multinationals to oversee and manage their health costs regionally</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Led the data strategy and Azure big data prototype for two financial services regulator. Included data management, data governance and operating model definition for a an open source architecture and five year roadmap</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Asian insurer, maturity assessment lead for on-site IT and data delivery capabilities across 13 Asian entities for the regional CIO for two years</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Global insurer, digital visualization led a team to prototype and embed a new board level dashboards</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Global Universal Bank, Data Transformation as the infrastructure and then business architect in a significant program aimed at radically simplifying their Finance, Risk and Treasury operation</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Global Universal Bank, big data strategy developing a design and sourcing approach for big data based risk and finance infrastructure using innovative new technologies</a:t>
            </a:r>
          </a:p>
        </p:txBody>
      </p:sp>
      <p:sp>
        <p:nvSpPr>
          <p:cNvPr id="114" name="Text Placeholder 4">
            <a:extLst>
              <a:ext uri="{FF2B5EF4-FFF2-40B4-BE49-F238E27FC236}">
                <a16:creationId xmlns:a16="http://schemas.microsoft.com/office/drawing/2014/main" id="{E1BB19F1-AF19-49D1-B922-608A62341AE1}"/>
              </a:ext>
            </a:extLst>
          </p:cNvPr>
          <p:cNvSpPr txBox="1">
            <a:spLocks/>
          </p:cNvSpPr>
          <p:nvPr/>
        </p:nvSpPr>
        <p:spPr>
          <a:xfrm>
            <a:off x="888754" y="1976824"/>
            <a:ext cx="3400169" cy="3101354"/>
          </a:xfrm>
          <a:prstGeom prst="rect">
            <a:avLst/>
          </a:prstGeom>
        </p:spPr>
        <p:txBody>
          <a:bodyPr lIns="0" tIns="0" rIns="0" bIns="0"/>
          <a:lstStyle/>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GB" sz="800" b="1" i="1" u="none" strike="noStrike" kern="1200" cap="none" spc="0" normalizeH="0" baseline="0" noProof="0">
                <a:ln>
                  <a:noFill/>
                </a:ln>
                <a:solidFill>
                  <a:srgbClr val="000000"/>
                </a:solidFill>
                <a:effectLst/>
                <a:uLnTx/>
                <a:uFillTx/>
                <a:latin typeface="EYInterstate Light" pitchFamily="2" charset="0"/>
                <a:cs typeface="Arial" charset="0"/>
                <a:sym typeface="Arial Unicode MS"/>
              </a:rPr>
              <a:t>Background</a:t>
            </a:r>
          </a:p>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US" sz="800" b="0" i="0" u="none" strike="noStrike" kern="1200" cap="none" spc="0" normalizeH="0" baseline="0" noProof="0">
                <a:ln>
                  <a:noFill/>
                </a:ln>
                <a:solidFill>
                  <a:srgbClr val="000000"/>
                </a:solidFill>
                <a:effectLst/>
                <a:uLnTx/>
                <a:uFillTx/>
                <a:latin typeface="EYInterstate Light" pitchFamily="2" charset="0"/>
                <a:cs typeface="Arial" charset="0"/>
              </a:rPr>
              <a:t>David Chen is a Partner in EY’s Advisory Practice, specializing in Performance Improvement IT Advisory. He has over years advisory 17 experience with a focus on complex IT transformation programs. He has an executive MBA, a Master in Information Technology, a Computer Science Degree and a Commerce Degree majoring in Accounting and Finance.</a:t>
            </a:r>
          </a:p>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endParaRPr kumimoji="0" lang="en-US" sz="800" b="0" i="0" u="none" strike="noStrike" kern="1200" cap="none" spc="0" normalizeH="0" baseline="0" noProof="0">
              <a:ln>
                <a:noFill/>
              </a:ln>
              <a:solidFill>
                <a:srgbClr val="000000"/>
              </a:solidFill>
              <a:effectLst/>
              <a:uLnTx/>
              <a:uFillTx/>
              <a:latin typeface="EYInterstate Light" pitchFamily="2" charset="0"/>
              <a:cs typeface="Arial" charset="0"/>
            </a:endParaRPr>
          </a:p>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endParaRPr kumimoji="0" lang="en-US" sz="800"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127" name="Text Placeholder 7">
            <a:extLst>
              <a:ext uri="{FF2B5EF4-FFF2-40B4-BE49-F238E27FC236}">
                <a16:creationId xmlns:a16="http://schemas.microsoft.com/office/drawing/2014/main" id="{A6DF2CCD-D919-4E8B-B6E0-0E9238F3F4DC}"/>
              </a:ext>
            </a:extLst>
          </p:cNvPr>
          <p:cNvSpPr txBox="1">
            <a:spLocks/>
          </p:cNvSpPr>
          <p:nvPr/>
        </p:nvSpPr>
        <p:spPr bwMode="auto">
          <a:xfrm>
            <a:off x="1652967" y="1019173"/>
            <a:ext cx="2473950" cy="62838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1088" b="1" i="0" u="none" strike="noStrike" kern="1200" cap="none" spc="0" normalizeH="0" baseline="0" noProof="0">
                <a:ln>
                  <a:noFill/>
                </a:ln>
                <a:solidFill>
                  <a:srgbClr val="000000"/>
                </a:solidFill>
                <a:effectLst/>
                <a:uLnTx/>
                <a:uFillTx/>
                <a:latin typeface="EYInterstate" panose="02000503020000020004" pitchFamily="2" charset="0"/>
                <a:cs typeface="Arial" charset="0"/>
              </a:rPr>
              <a:t>David Chen</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998" b="0" i="0" u="none" strike="noStrike" kern="1200" cap="none" spc="0" normalizeH="0" baseline="0" noProof="0">
                <a:ln>
                  <a:noFill/>
                </a:ln>
                <a:solidFill>
                  <a:srgbClr val="000000"/>
                </a:solidFill>
                <a:effectLst/>
                <a:uLnTx/>
                <a:uFillTx/>
                <a:latin typeface="EYInterstate Light" pitchFamily="2" charset="0"/>
                <a:cs typeface="Arial" charset="0"/>
              </a:rPr>
              <a:t>Digital SMA</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998" b="0" i="0" u="none" strike="noStrike" kern="0" cap="none" spc="0" normalizeH="0" baseline="0" noProof="0">
                <a:ln>
                  <a:noFill/>
                </a:ln>
                <a:solidFill>
                  <a:srgbClr val="000000"/>
                </a:solidFill>
                <a:effectLst/>
                <a:uLnTx/>
                <a:uFillTx/>
                <a:latin typeface="EYInterstate Light" pitchFamily="2" charset="0"/>
                <a:cs typeface="Arial" charset="0"/>
              </a:rPr>
              <a:t>EY Hong Kong, Partner</a:t>
            </a:r>
          </a:p>
        </p:txBody>
      </p:sp>
      <p:sp>
        <p:nvSpPr>
          <p:cNvPr id="128" name="Text Placeholder 4">
            <a:extLst>
              <a:ext uri="{FF2B5EF4-FFF2-40B4-BE49-F238E27FC236}">
                <a16:creationId xmlns:a16="http://schemas.microsoft.com/office/drawing/2014/main" id="{CC6B5204-E488-438C-B6CB-A281D1D3C11F}"/>
              </a:ext>
            </a:extLst>
          </p:cNvPr>
          <p:cNvSpPr txBox="1">
            <a:spLocks/>
          </p:cNvSpPr>
          <p:nvPr/>
        </p:nvSpPr>
        <p:spPr>
          <a:xfrm>
            <a:off x="867388" y="3127469"/>
            <a:ext cx="3400169" cy="2812899"/>
          </a:xfrm>
          <a:prstGeom prst="rect">
            <a:avLst/>
          </a:prstGeom>
        </p:spPr>
        <p:txBody>
          <a:bodyPr lIns="0" tIns="0" rIns="0" bIns="0"/>
          <a:lstStyle/>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US" sz="800" b="1" i="1" u="none" strike="noStrike" kern="1200" cap="none" spc="0" normalizeH="0" baseline="0" noProof="0">
                <a:ln>
                  <a:noFill/>
                </a:ln>
                <a:solidFill>
                  <a:srgbClr val="000000"/>
                </a:solidFill>
                <a:effectLst/>
                <a:uLnTx/>
                <a:uFillTx/>
                <a:latin typeface="EYInterstate Light" pitchFamily="2" charset="0"/>
                <a:cs typeface="Arial" charset="0"/>
              </a:rPr>
              <a:t>Relevant experience</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Adviser to the APAC CIO on IT governance setup for a large claims transformation program and the setup of IT operational governance framework for a key local country</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Program manager for a mobile point-of-sales solution rollout for bancassurance Partner and Agents</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Program manager for a new Incentive Compensation Solution that improved agent onboarding process, agent training and compensation calculation</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Mobilization lead for a claims transformation program which looked at driving down claims loss ratio, improve operational efficiency and reduce time to roll out products</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Service manager responsible for setting up an offshore delivery center to support application maintenance of 20+ applications driving major consolidation and cost reductions</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Delivery lead of a core banking platform in China for a major bank. This bank wanted to capitalize on growth opportunities in China and David helped deliver end to end a core banking platform.</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Delivery lead of an internet banking platform for this major bank. Responsible as overall solution architect (application, security, integration, data) and in managing the various technology teams across front end, middleware and backend in delivery</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Account lead on transformation program which David assisted the bank in delivering a core banking and CRM platform to various countries in the APAC region including HK, Singapore, and India</a:t>
            </a:r>
          </a:p>
        </p:txBody>
      </p:sp>
      <p:sp>
        <p:nvSpPr>
          <p:cNvPr id="132" name="Rectangle 131">
            <a:extLst>
              <a:ext uri="{FF2B5EF4-FFF2-40B4-BE49-F238E27FC236}">
                <a16:creationId xmlns:a16="http://schemas.microsoft.com/office/drawing/2014/main" id="{D958AE2E-DA6A-42A0-B29C-BCEAC1D29F33}"/>
              </a:ext>
            </a:extLst>
          </p:cNvPr>
          <p:cNvSpPr/>
          <p:nvPr/>
        </p:nvSpPr>
        <p:spPr>
          <a:xfrm>
            <a:off x="8211547" y="1953947"/>
            <a:ext cx="3599365" cy="4708981"/>
          </a:xfrm>
          <a:prstGeom prst="rect">
            <a:avLst/>
          </a:prstGeom>
        </p:spPr>
        <p:txBody>
          <a:bodyPr wrap="square">
            <a:spAutoFit/>
          </a:bodyPr>
          <a:lstStyle/>
          <a:p>
            <a:pPr marL="0" marR="0" lvl="3" indent="0" algn="just" defTabSz="681014" rtl="0" eaLnBrk="0" fontAlgn="base" latinLnBrk="0" hangingPunct="0">
              <a:lnSpc>
                <a:spcPct val="100000"/>
              </a:lnSpc>
              <a:spcBef>
                <a:spcPct val="0"/>
              </a:spcBef>
              <a:spcAft>
                <a:spcPts val="374"/>
              </a:spcAft>
              <a:buClr>
                <a:srgbClr val="808080"/>
              </a:buClr>
              <a:buSzPct val="70000"/>
              <a:buFontTx/>
              <a:buNone/>
              <a:tabLst>
                <a:tab pos="2108180" algn="l"/>
                <a:tab pos="3047387" algn="r"/>
              </a:tabLst>
              <a:defRPr/>
            </a:pPr>
            <a:r>
              <a:rPr kumimoji="0" lang="en-GB"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sym typeface="Arial Unicode MS"/>
              </a:rPr>
              <a:t>Background</a:t>
            </a:r>
          </a:p>
          <a:p>
            <a:pPr marL="0" marR="0" lvl="0" indent="0" algn="l"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rPr>
              <a:t>Steve is a Senior Manager in EY Data &amp; Analytics practice in Hong Kong. He is a highly experienced Agile </a:t>
            </a:r>
            <a:r>
              <a:rPr kumimoji="0" lang="en-US" sz="800" b="0" i="0" u="none" strike="noStrike" kern="1200" cap="none" spc="0" normalizeH="0" baseline="0" noProof="0" err="1">
                <a:ln>
                  <a:noFill/>
                </a:ln>
                <a:solidFill>
                  <a:srgbClr val="000000"/>
                </a:solidFill>
                <a:effectLst/>
                <a:uLnTx/>
                <a:uFillTx/>
                <a:latin typeface="EYInterstate Light" panose="02000506000000020004" pitchFamily="2" charset="0"/>
                <a:cs typeface="Arial" charset="0"/>
              </a:rPr>
              <a:t>SAFe</a:t>
            </a:r>
            <a:r>
              <a:rPr kumimoji="0" lang="en-US"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rPr>
              <a:t> certified, TOGAF 9, AWS certified Solution Architect specializing in Data &amp; Analytics with 20 years professional experience of Enterprise &amp; Solution Architecture encompassing the whole project lifecycle. Steve has architected solutions for Retail/Business Banking, Higher Education, Retail (FMCG), Government, Institutional Banking, Retail Finance, Private Banking and e-Commerce industries.</a:t>
            </a:r>
            <a:br>
              <a:rPr kumimoji="0" lang="en-US"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rPr>
            </a:br>
            <a:endParaRPr kumimoji="0" lang="en-US"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endParaRP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rPr>
              <a:t>Relevant experience</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the D&amp;A Architecture team and is a highly experienced Agile </a:t>
            </a:r>
            <a:r>
              <a:rPr kumimoji="0" lang="en-US" sz="800" b="0" i="0" u="none" strike="noStrike" kern="0" cap="none" spc="0" normalizeH="0" baseline="0" noProof="0" err="1">
                <a:ln>
                  <a:noFill/>
                </a:ln>
                <a:solidFill>
                  <a:srgbClr val="000000"/>
                </a:solidFill>
                <a:effectLst/>
                <a:uLnTx/>
                <a:uFillTx/>
                <a:latin typeface="EYInterstate Light" pitchFamily="2" charset="0"/>
                <a:cs typeface="Arial" charset="0"/>
              </a:rPr>
              <a:t>SAFe</a:t>
            </a: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 certified, TOGAF 9, Hadoop certified, AWS/Azure certified Solution Architect specializing in Data &amp; Analytics with 20+ years professional experience of Enterprise &amp; Solution Architecture encompassing the whole project lifecycle. Steve has architected solutions for the Insurance sector, Retail/Business Banking, Higher Education, Retail (FMCG), Government, Institutional Banking, Retail Finance, Private Banking, Insurance and e-Commerce industries.</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ad Architect to design the Data Foundation platform. The platform was intended to support the Digital transformation of their business and provide a new Advanced Analytics capability for the insurer. The solution was built using streaming technologies such as Apache Kafka and NIFI which extracted data from source systems and landed them into an Enterprise Data Lake. The Data Lake was used to provide the data for Microservice applications and as a source of data for Advanced Analytics using the DOMINO  data science SaaS service. </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Engaged as the Solution Architect for a Global Institutional Banking MDM project which sought to achieve a single customer view of data across the bank. This involved Architecting an end-to-end MDM Solution integrating 15 source systems in real-time using IBM’s Infosphere MDM Server v9.0 coupled with Information Server 8.1 for ETL, IBM </a:t>
            </a:r>
            <a:r>
              <a:rPr kumimoji="0" lang="en-US" sz="800" b="0" i="0" u="none" strike="noStrike" kern="0" cap="none" spc="0" normalizeH="0" baseline="0" noProof="0" err="1">
                <a:ln>
                  <a:noFill/>
                </a:ln>
                <a:solidFill>
                  <a:srgbClr val="000000"/>
                </a:solidFill>
                <a:effectLst/>
                <a:uLnTx/>
                <a:uFillTx/>
                <a:latin typeface="EYInterstate Light" pitchFamily="2" charset="0"/>
                <a:cs typeface="Arial" charset="0"/>
              </a:rPr>
              <a:t>Qualitystage</a:t>
            </a: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 for business rules and customer matching and service integration using IFW via MQ Series.</a:t>
            </a:r>
          </a:p>
        </p:txBody>
      </p:sp>
      <p:pic>
        <p:nvPicPr>
          <p:cNvPr id="18" name="Picture 17">
            <a:extLst>
              <a:ext uri="{FF2B5EF4-FFF2-40B4-BE49-F238E27FC236}">
                <a16:creationId xmlns:a16="http://schemas.microsoft.com/office/drawing/2014/main" id="{AE977006-3684-4B8E-A454-CEBA5CAFFF28}"/>
              </a:ext>
            </a:extLst>
          </p:cNvPr>
          <p:cNvPicPr>
            <a:picLocks/>
          </p:cNvPicPr>
          <p:nvPr/>
        </p:nvPicPr>
        <p:blipFill rotWithShape="1">
          <a:blip r:embed="rId8">
            <a:grayscl/>
          </a:blip>
          <a:srcRect l="713" t="962" r="4663" b="24590"/>
          <a:stretch/>
        </p:blipFill>
        <p:spPr>
          <a:xfrm>
            <a:off x="859536" y="1005840"/>
            <a:ext cx="637092" cy="640080"/>
          </a:xfrm>
          <a:prstGeom prst="ellipse">
            <a:avLst/>
          </a:prstGeom>
          <a:ln w="38100">
            <a:solidFill>
              <a:srgbClr val="FFE600"/>
            </a:solidFill>
          </a:ln>
        </p:spPr>
      </p:pic>
      <p:pic>
        <p:nvPicPr>
          <p:cNvPr id="19" name="Picture 18">
            <a:extLst>
              <a:ext uri="{FF2B5EF4-FFF2-40B4-BE49-F238E27FC236}">
                <a16:creationId xmlns:a16="http://schemas.microsoft.com/office/drawing/2014/main" id="{997152B7-DA5E-4CB2-983E-F32969F40411}"/>
              </a:ext>
            </a:extLst>
          </p:cNvPr>
          <p:cNvPicPr>
            <a:picLocks/>
          </p:cNvPicPr>
          <p:nvPr/>
        </p:nvPicPr>
        <p:blipFill rotWithShape="1">
          <a:blip r:embed="rId9" cstate="print">
            <a:grayscl/>
            <a:extLst>
              <a:ext uri="{28A0092B-C50C-407E-A947-70E740481C1C}">
                <a14:useLocalDpi xmlns:a14="http://schemas.microsoft.com/office/drawing/2010/main" val="0"/>
              </a:ext>
            </a:extLst>
          </a:blip>
          <a:srcRect/>
          <a:stretch/>
        </p:blipFill>
        <p:spPr>
          <a:xfrm>
            <a:off x="4261104" y="1005840"/>
            <a:ext cx="640080" cy="640080"/>
          </a:xfrm>
          <a:prstGeom prst="ellipse">
            <a:avLst/>
          </a:prstGeom>
          <a:ln w="38100">
            <a:solidFill>
              <a:srgbClr val="FFE600"/>
            </a:solidFill>
          </a:ln>
        </p:spPr>
      </p:pic>
      <p:pic>
        <p:nvPicPr>
          <p:cNvPr id="20" name="Picture 19">
            <a:extLst>
              <a:ext uri="{FF2B5EF4-FFF2-40B4-BE49-F238E27FC236}">
                <a16:creationId xmlns:a16="http://schemas.microsoft.com/office/drawing/2014/main" id="{EBF5EE0A-D4EE-4147-8F41-F222769FC203}"/>
              </a:ext>
            </a:extLst>
          </p:cNvPr>
          <p:cNvPicPr>
            <a:picLocks/>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l="6184" r="12535"/>
          <a:stretch/>
        </p:blipFill>
        <p:spPr>
          <a:xfrm>
            <a:off x="8247888" y="1005840"/>
            <a:ext cx="640080" cy="640080"/>
          </a:xfrm>
          <a:prstGeom prst="ellipse">
            <a:avLst/>
          </a:prstGeom>
          <a:blipFill>
            <a:blip r:embed="rId12"/>
            <a:stretch>
              <a:fillRect l="1" r="5570" b="-13772"/>
            </a:stretch>
          </a:blipFill>
          <a:ln w="38100">
            <a:solidFill>
              <a:srgbClr val="FFE600"/>
            </a:solidFill>
          </a:ln>
        </p:spPr>
      </p:pic>
    </p:spTree>
    <p:extLst>
      <p:ext uri="{BB962C8B-B14F-4D97-AF65-F5344CB8AC3E}">
        <p14:creationId xmlns:p14="http://schemas.microsoft.com/office/powerpoint/2010/main" val="37060915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71369"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sz="2180"/>
              <a:t>Project Team Member</a:t>
            </a:r>
          </a:p>
        </p:txBody>
      </p:sp>
      <p:cxnSp>
        <p:nvCxnSpPr>
          <p:cNvPr id="19" name="Straight Connector 18">
            <a:extLst>
              <a:ext uri="{FF2B5EF4-FFF2-40B4-BE49-F238E27FC236}">
                <a16:creationId xmlns:a16="http://schemas.microsoft.com/office/drawing/2014/main" id="{C336D3B4-28B3-4BF2-811B-1D702D36C411}"/>
              </a:ext>
            </a:extLst>
          </p:cNvPr>
          <p:cNvCxnSpPr>
            <a:cxnSpLocks/>
          </p:cNvCxnSpPr>
          <p:nvPr/>
        </p:nvCxnSpPr>
        <p:spPr>
          <a:xfrm>
            <a:off x="863111" y="1792886"/>
            <a:ext cx="11247565" cy="0"/>
          </a:xfrm>
          <a:prstGeom prst="line">
            <a:avLst/>
          </a:prstGeom>
          <a:ln w="28575">
            <a:solidFill>
              <a:srgbClr val="FFD200"/>
            </a:solidFill>
          </a:ln>
        </p:spPr>
        <p:style>
          <a:lnRef idx="1">
            <a:schemeClr val="accent2"/>
          </a:lnRef>
          <a:fillRef idx="0">
            <a:schemeClr val="accent2"/>
          </a:fillRef>
          <a:effectRef idx="0">
            <a:schemeClr val="accent2"/>
          </a:effectRef>
          <a:fontRef idx="minor">
            <a:schemeClr val="tx1"/>
          </a:fontRef>
        </p:style>
      </p:cxnSp>
      <p:sp>
        <p:nvSpPr>
          <p:cNvPr id="20" name="Text Placeholder 4">
            <a:extLst>
              <a:ext uri="{FF2B5EF4-FFF2-40B4-BE49-F238E27FC236}">
                <a16:creationId xmlns:a16="http://schemas.microsoft.com/office/drawing/2014/main" id="{ACCEF010-828A-4099-A61D-31527BB0087D}"/>
              </a:ext>
            </a:extLst>
          </p:cNvPr>
          <p:cNvSpPr txBox="1">
            <a:spLocks/>
          </p:cNvSpPr>
          <p:nvPr/>
        </p:nvSpPr>
        <p:spPr>
          <a:xfrm>
            <a:off x="8231106" y="1612537"/>
            <a:ext cx="2690975" cy="2827073"/>
          </a:xfrm>
          <a:prstGeom prst="rect">
            <a:avLst/>
          </a:prstGeom>
        </p:spPr>
        <p:txBody>
          <a:bodyPr lIns="0" tIns="0" rIns="0" bIns="0"/>
          <a:lstStyle/>
          <a:p>
            <a:pPr marL="120806" marR="0" lvl="0" indent="-120806" algn="l" defTabSz="681014" rtl="0" eaLnBrk="0" fontAlgn="base" latinLnBrk="0" hangingPunct="0">
              <a:lnSpc>
                <a:spcPct val="100000"/>
              </a:lnSpc>
              <a:spcBef>
                <a:spcPct val="0"/>
              </a:spcBef>
              <a:spcAft>
                <a:spcPts val="374"/>
              </a:spcAft>
              <a:buClr>
                <a:srgbClr val="808080"/>
              </a:buClr>
              <a:buSzPct val="70000"/>
              <a:buFont typeface="Arial" charset="0"/>
              <a:buChar char="►"/>
              <a:tabLst/>
              <a:defRPr/>
            </a:pPr>
            <a:endParaRPr kumimoji="0" lang="en-US" sz="671"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21" name="Text Placeholder 7">
            <a:extLst>
              <a:ext uri="{FF2B5EF4-FFF2-40B4-BE49-F238E27FC236}">
                <a16:creationId xmlns:a16="http://schemas.microsoft.com/office/drawing/2014/main" id="{7CA20E1F-A49F-4A60-9FF8-9751504B406E}"/>
              </a:ext>
            </a:extLst>
          </p:cNvPr>
          <p:cNvSpPr txBox="1">
            <a:spLocks/>
          </p:cNvSpPr>
          <p:nvPr/>
        </p:nvSpPr>
        <p:spPr bwMode="auto">
          <a:xfrm>
            <a:off x="9013465" y="1080893"/>
            <a:ext cx="2941743" cy="569941"/>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l" defTabSz="568498" rtl="0" eaLnBrk="0" fontAlgn="base" latinLnBrk="0" hangingPunct="0">
              <a:lnSpc>
                <a:spcPct val="100000"/>
              </a:lnSpc>
              <a:spcBef>
                <a:spcPct val="0"/>
              </a:spcBef>
              <a:spcAft>
                <a:spcPts val="493"/>
              </a:spcAft>
              <a:buClr>
                <a:srgbClr val="FFD200"/>
              </a:buClr>
              <a:buSzPct val="80000"/>
              <a:buFontTx/>
              <a:buNone/>
              <a:tabLst/>
              <a:defRPr/>
            </a:pPr>
            <a:r>
              <a:rPr lang="en-US" sz="987" b="1">
                <a:solidFill>
                  <a:srgbClr val="000000"/>
                </a:solidFill>
                <a:latin typeface="EYInterstate" panose="02000503020000020004" pitchFamily="2" charset="0"/>
              </a:rPr>
              <a:t>Mahendra Soni</a:t>
            </a:r>
            <a:endParaRPr kumimoji="0" lang="en-US" sz="987" b="1" i="0" u="none" strike="noStrike" kern="1200" cap="none" spc="0" normalizeH="0" baseline="0" noProof="0">
              <a:ln>
                <a:noFill/>
              </a:ln>
              <a:solidFill>
                <a:srgbClr val="000000"/>
              </a:solidFill>
              <a:effectLst/>
              <a:uLnTx/>
              <a:uFillTx/>
              <a:latin typeface="EYInterstate" panose="02000503020000020004" pitchFamily="2" charset="0"/>
              <a:cs typeface="Arial" charset="0"/>
            </a:endParaRPr>
          </a:p>
          <a:p>
            <a:pPr lvl="0" defTabSz="626789">
              <a:spcAft>
                <a:spcPts val="544"/>
              </a:spcAft>
              <a:buClr>
                <a:srgbClr val="FFD200"/>
              </a:buClr>
              <a:buSzPct val="80000"/>
              <a:defRPr/>
            </a:pPr>
            <a:r>
              <a:rPr lang="en-US" sz="998">
                <a:solidFill>
                  <a:srgbClr val="000000"/>
                </a:solidFill>
                <a:latin typeface="EYInterstate Light" pitchFamily="2" charset="0"/>
              </a:rPr>
              <a:t>Data Platform Architecture Workstream Lead</a:t>
            </a:r>
          </a:p>
          <a:p>
            <a:pPr lvl="0" defTabSz="626789">
              <a:spcAft>
                <a:spcPts val="544"/>
              </a:spcAft>
              <a:buClr>
                <a:srgbClr val="FFD200"/>
              </a:buClr>
              <a:buSzPct val="80000"/>
              <a:defRPr/>
            </a:pPr>
            <a:r>
              <a:rPr lang="en-US" sz="998">
                <a:solidFill>
                  <a:srgbClr val="000000"/>
                </a:solidFill>
                <a:latin typeface="EYInterstate Light" pitchFamily="2" charset="0"/>
              </a:rPr>
              <a:t>EY Singapore, Senior Azure Data Architect</a:t>
            </a:r>
          </a:p>
        </p:txBody>
      </p:sp>
      <p:sp>
        <p:nvSpPr>
          <p:cNvPr id="22" name="Text Placeholder 7">
            <a:extLst>
              <a:ext uri="{FF2B5EF4-FFF2-40B4-BE49-F238E27FC236}">
                <a16:creationId xmlns:a16="http://schemas.microsoft.com/office/drawing/2014/main" id="{7FDE5895-1254-45C7-B589-F2B2F798738E}"/>
              </a:ext>
            </a:extLst>
          </p:cNvPr>
          <p:cNvSpPr txBox="1">
            <a:spLocks/>
          </p:cNvSpPr>
          <p:nvPr/>
        </p:nvSpPr>
        <p:spPr bwMode="auto">
          <a:xfrm>
            <a:off x="5055051" y="1045014"/>
            <a:ext cx="3176055" cy="569941"/>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defTabSz="626789">
              <a:spcAft>
                <a:spcPts val="544"/>
              </a:spcAft>
              <a:buClr>
                <a:srgbClr val="FFD200"/>
              </a:buClr>
              <a:buSzPct val="80000"/>
              <a:defRPr/>
            </a:pPr>
            <a:r>
              <a:rPr lang="en-IN" sz="1088" b="1">
                <a:solidFill>
                  <a:srgbClr val="000000"/>
                </a:solidFill>
                <a:latin typeface="EYInterstate" panose="02000503020000020004" pitchFamily="2" charset="0"/>
              </a:rPr>
              <a:t>Apistha Theerarungsikul</a:t>
            </a:r>
          </a:p>
          <a:p>
            <a:pPr lvl="0" defTabSz="626789">
              <a:spcAft>
                <a:spcPts val="544"/>
              </a:spcAft>
              <a:buClr>
                <a:srgbClr val="FFD200"/>
              </a:buClr>
              <a:buSzPct val="80000"/>
              <a:defRPr/>
            </a:pPr>
            <a:r>
              <a:rPr lang="en-US" sz="998">
                <a:solidFill>
                  <a:srgbClr val="000000"/>
                </a:solidFill>
                <a:latin typeface="EYInterstate Light" pitchFamily="2" charset="0"/>
              </a:rPr>
              <a:t>Data-related Use Case Identification and Prioritization</a:t>
            </a:r>
            <a:br>
              <a:rPr lang="en-US" sz="998">
                <a:solidFill>
                  <a:srgbClr val="000000"/>
                </a:solidFill>
                <a:latin typeface="EYInterstate Light" pitchFamily="2" charset="0"/>
              </a:rPr>
            </a:br>
            <a:r>
              <a:rPr lang="en-US" sz="998">
                <a:solidFill>
                  <a:srgbClr val="000000"/>
                </a:solidFill>
                <a:latin typeface="EYInterstate Light" pitchFamily="2" charset="0"/>
              </a:rPr>
              <a:t>Workstream Lead</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IN" sz="998" b="0" i="0" u="none" strike="noStrike" kern="1200" cap="none" spc="0" normalizeH="0" baseline="0" noProof="0">
                <a:ln>
                  <a:noFill/>
                </a:ln>
                <a:solidFill>
                  <a:srgbClr val="000000"/>
                </a:solidFill>
                <a:effectLst/>
                <a:uLnTx/>
                <a:uFillTx/>
                <a:latin typeface="EYInterstate Light" pitchFamily="2" charset="0"/>
                <a:cs typeface="Arial" charset="0"/>
              </a:rPr>
              <a:t>EY Thailand, Associate Director</a:t>
            </a:r>
            <a:endParaRPr kumimoji="0" lang="en-US" sz="998"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23" name="Rectangle 22">
            <a:extLst>
              <a:ext uri="{FF2B5EF4-FFF2-40B4-BE49-F238E27FC236}">
                <a16:creationId xmlns:a16="http://schemas.microsoft.com/office/drawing/2014/main" id="{1CE38C5F-80B9-4F8D-B91C-A219A7A47FB0}"/>
              </a:ext>
            </a:extLst>
          </p:cNvPr>
          <p:cNvSpPr/>
          <p:nvPr/>
        </p:nvSpPr>
        <p:spPr>
          <a:xfrm>
            <a:off x="4501924" y="1946923"/>
            <a:ext cx="3599365" cy="4944943"/>
          </a:xfrm>
          <a:prstGeom prst="rect">
            <a:avLst/>
          </a:prstGeom>
        </p:spPr>
        <p:txBody>
          <a:bodyPr wrap="square">
            <a:spAutoFit/>
          </a:bodyPr>
          <a:lstStyle/>
          <a:p>
            <a:pPr marL="0" marR="0" lvl="3" indent="0" algn="just" defTabSz="681014" rtl="0" eaLnBrk="0" fontAlgn="base" latinLnBrk="0" hangingPunct="0">
              <a:lnSpc>
                <a:spcPct val="100000"/>
              </a:lnSpc>
              <a:spcBef>
                <a:spcPct val="0"/>
              </a:spcBef>
              <a:spcAft>
                <a:spcPts val="374"/>
              </a:spcAft>
              <a:buClr>
                <a:srgbClr val="808080"/>
              </a:buClr>
              <a:buSzPct val="70000"/>
              <a:buFontTx/>
              <a:buNone/>
              <a:tabLst>
                <a:tab pos="2108180" algn="l"/>
                <a:tab pos="3047387" algn="r"/>
              </a:tabLst>
              <a:defRPr/>
            </a:pPr>
            <a:r>
              <a:rPr kumimoji="0" lang="en-GB"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sym typeface="Arial Unicode MS"/>
              </a:rPr>
              <a:t>Background</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Apistha is an associate director in EY Business Advisory Practice, specializing in insurance  </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She has over 16 years with industry and consulting experience focus on underwriting, claim, policy owner services, sale &amp; distribution, premium billing , collection, accounting and group insurance for life insurance and non life insurance </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Her experience range from business analyst, process improvement, e business , system implementation, project management  and change Management</a:t>
            </a: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rPr>
              <a:t>Relevant experience</a:t>
            </a:r>
            <a:endPar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endParaRP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Led the use case identification and prioritization workstream to identify the use cases of data governance implementation for a leading insurer in Thailand</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Supported the establishment of framework, operating model and roadmap for the health transformation </a:t>
            </a:r>
            <a:r>
              <a:rPr lang="en-US" sz="800" kern="0" err="1">
                <a:solidFill>
                  <a:srgbClr val="000000"/>
                </a:solidFill>
                <a:latin typeface="EYInterstate Light" panose="02000506000000020004" pitchFamily="2" charset="0"/>
              </a:rPr>
              <a:t>programme</a:t>
            </a:r>
            <a:r>
              <a:rPr lang="en-US" sz="800" kern="0">
                <a:solidFill>
                  <a:srgbClr val="000000"/>
                </a:solidFill>
                <a:latin typeface="EYInterstate Light" panose="02000506000000020004" pitchFamily="2" charset="0"/>
              </a:rPr>
              <a:t> for AIA Thailand</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Led the closed file review for AIA health claim to identify potential leakages caused by excessive length of stay, unnecessary medical treatment, fraud, etc. and recommend initiatives to overcome such leakages</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Developed  business and functional requirements of group insurance module on core insurance system  for leading life insurer  in Thailand  </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Designed  functional requirements for e business portal such as privilege customer and agent  website for leading multinational life insurer</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Led business analyst , system design and system testing for Policy Servicing Area for Multi-currency Unit linked product for leading multinational life insurer in Japan</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Led business team to develop test script and  plan for core insurance system for leading life insurer  in Thailand </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Implement the data warehouse, MIS and Dashboard system for regional office of multinational insurance company</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anose="02000506000000020004" pitchFamily="2" charset="0"/>
              </a:rPr>
              <a:t>Experienced in dealing with management and lead business units in number of implementation  projects </a:t>
            </a:r>
          </a:p>
        </p:txBody>
      </p:sp>
      <p:sp>
        <p:nvSpPr>
          <p:cNvPr id="24" name="Text Placeholder 4">
            <a:extLst>
              <a:ext uri="{FF2B5EF4-FFF2-40B4-BE49-F238E27FC236}">
                <a16:creationId xmlns:a16="http://schemas.microsoft.com/office/drawing/2014/main" id="{18729AB3-F519-4538-B0E4-2F4DF7D6B9E0}"/>
              </a:ext>
            </a:extLst>
          </p:cNvPr>
          <p:cNvSpPr txBox="1">
            <a:spLocks/>
          </p:cNvSpPr>
          <p:nvPr/>
        </p:nvSpPr>
        <p:spPr>
          <a:xfrm>
            <a:off x="885538" y="1976824"/>
            <a:ext cx="3400169" cy="719026"/>
          </a:xfrm>
          <a:prstGeom prst="rect">
            <a:avLst/>
          </a:prstGeom>
        </p:spPr>
        <p:txBody>
          <a:bodyPr lIns="0" tIns="0" rIns="0" bIns="0"/>
          <a:lstStyle/>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GB" sz="800" b="1" i="1" u="none" strike="noStrike" kern="1200" cap="none" spc="0" normalizeH="0" baseline="0" noProof="0">
                <a:ln>
                  <a:noFill/>
                </a:ln>
                <a:solidFill>
                  <a:srgbClr val="000000"/>
                </a:solidFill>
                <a:effectLst/>
                <a:uLnTx/>
                <a:uFillTx/>
                <a:latin typeface="EYInterstate Light" pitchFamily="2" charset="0"/>
                <a:cs typeface="Arial" charset="0"/>
                <a:sym typeface="Arial Unicode MS"/>
              </a:rPr>
              <a:t>Background</a:t>
            </a:r>
          </a:p>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US" sz="800" b="0" i="0" u="none" strike="noStrike" kern="1200" cap="none" spc="0" normalizeH="0" baseline="0" noProof="0">
                <a:ln>
                  <a:noFill/>
                </a:ln>
                <a:solidFill>
                  <a:srgbClr val="000000"/>
                </a:solidFill>
                <a:effectLst/>
                <a:uLnTx/>
                <a:uFillTx/>
                <a:latin typeface="EYInterstate Light" pitchFamily="2" charset="0"/>
                <a:cs typeface="Arial" charset="0"/>
              </a:rPr>
              <a:t>Arindom has 12+ years of experience in managing, designing, development,  implementation and delivery of enterprise solutions and large scale distributed Hadoop systems.</a:t>
            </a:r>
          </a:p>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US" sz="800" b="0" i="0" u="none" strike="noStrike" kern="1200" cap="none" spc="0" normalizeH="0" baseline="0" noProof="0">
                <a:ln>
                  <a:noFill/>
                </a:ln>
                <a:solidFill>
                  <a:srgbClr val="000000"/>
                </a:solidFill>
                <a:effectLst/>
                <a:uLnTx/>
                <a:uFillTx/>
                <a:latin typeface="EYInterstate Light" pitchFamily="2" charset="0"/>
                <a:cs typeface="Arial" charset="0"/>
              </a:rPr>
              <a:t>He has played key roles like Technical Project Manager &amp; Data Engineering Lead and worked across various areas such as technical solution designing, development and deployment of multiple projects that range from enterprise level Data Lake creation to various use case specific Data Marts for leading international banking and insurance clients. </a:t>
            </a:r>
          </a:p>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US" sz="800" b="0" i="0" u="none" strike="noStrike" kern="1200" cap="none" spc="0" normalizeH="0" baseline="0" noProof="0">
                <a:ln>
                  <a:noFill/>
                </a:ln>
                <a:solidFill>
                  <a:srgbClr val="000000"/>
                </a:solidFill>
                <a:effectLst/>
                <a:uLnTx/>
                <a:uFillTx/>
                <a:latin typeface="EYInterstate Light" pitchFamily="2" charset="0"/>
                <a:cs typeface="Arial" charset="0"/>
              </a:rPr>
              <a:t>Prior to Big Data technologies, Arindom was associated with various large scale projects in the financial domain like Core Banking, Wealth Management, Corporate &amp; Institutional banking and CRM.</a:t>
            </a:r>
          </a:p>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endParaRPr kumimoji="0" lang="en-US" sz="800"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25" name="Text Placeholder 7">
            <a:extLst>
              <a:ext uri="{FF2B5EF4-FFF2-40B4-BE49-F238E27FC236}">
                <a16:creationId xmlns:a16="http://schemas.microsoft.com/office/drawing/2014/main" id="{A7D3C7A6-72EC-4892-BACD-94F8842ECDD5}"/>
              </a:ext>
            </a:extLst>
          </p:cNvPr>
          <p:cNvSpPr txBox="1">
            <a:spLocks/>
          </p:cNvSpPr>
          <p:nvPr/>
        </p:nvSpPr>
        <p:spPr bwMode="auto">
          <a:xfrm>
            <a:off x="1649751" y="1019173"/>
            <a:ext cx="2473950" cy="62838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1088" b="1" i="0" u="none" strike="noStrike" kern="1200" cap="none" spc="0" normalizeH="0" baseline="0" noProof="0">
                <a:ln>
                  <a:noFill/>
                </a:ln>
                <a:solidFill>
                  <a:srgbClr val="000000"/>
                </a:solidFill>
                <a:effectLst/>
                <a:uLnTx/>
                <a:uFillTx/>
                <a:latin typeface="EYInterstate" panose="02000503020000020004" pitchFamily="2" charset="0"/>
                <a:cs typeface="Arial" charset="0"/>
              </a:rPr>
              <a:t>Arindom Bhattacharjee</a:t>
            </a:r>
          </a:p>
          <a:p>
            <a:pPr lvl="0" defTabSz="626789">
              <a:spcAft>
                <a:spcPts val="544"/>
              </a:spcAft>
              <a:buClr>
                <a:srgbClr val="FFD200"/>
              </a:buClr>
              <a:buSzPct val="80000"/>
              <a:defRPr/>
            </a:pPr>
            <a:r>
              <a:rPr lang="en-US" sz="998">
                <a:solidFill>
                  <a:srgbClr val="000000"/>
                </a:solidFill>
                <a:latin typeface="EYInterstate Light" pitchFamily="2" charset="0"/>
              </a:rPr>
              <a:t>Data Platform Capability Workstream Lead</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998" b="0" i="0" u="none" strike="noStrike" kern="0" cap="none" spc="0" normalizeH="0" baseline="0" noProof="0">
                <a:ln>
                  <a:noFill/>
                </a:ln>
                <a:solidFill>
                  <a:srgbClr val="000000"/>
                </a:solidFill>
                <a:effectLst/>
                <a:uLnTx/>
                <a:uFillTx/>
                <a:latin typeface="EYInterstate Light" pitchFamily="2" charset="0"/>
                <a:cs typeface="Arial" charset="0"/>
              </a:rPr>
              <a:t>EY Singapore, Senior Data Architect</a:t>
            </a:r>
          </a:p>
        </p:txBody>
      </p:sp>
      <p:sp>
        <p:nvSpPr>
          <p:cNvPr id="26" name="Text Placeholder 4">
            <a:extLst>
              <a:ext uri="{FF2B5EF4-FFF2-40B4-BE49-F238E27FC236}">
                <a16:creationId xmlns:a16="http://schemas.microsoft.com/office/drawing/2014/main" id="{EDBFF9CF-21EF-488E-B62B-6F7B2C1FE353}"/>
              </a:ext>
            </a:extLst>
          </p:cNvPr>
          <p:cNvSpPr txBox="1">
            <a:spLocks/>
          </p:cNvSpPr>
          <p:nvPr/>
        </p:nvSpPr>
        <p:spPr>
          <a:xfrm>
            <a:off x="864172" y="3857758"/>
            <a:ext cx="3400169" cy="2812899"/>
          </a:xfrm>
          <a:prstGeom prst="rect">
            <a:avLst/>
          </a:prstGeom>
        </p:spPr>
        <p:txBody>
          <a:bodyPr lIns="0" tIns="0" rIns="0" bIns="0"/>
          <a:lstStyle/>
          <a:p>
            <a:pPr marL="0" marR="0" lvl="0" indent="0" algn="just" defTabSz="750842" rtl="0" eaLnBrk="0" fontAlgn="base" latinLnBrk="0" hangingPunct="0">
              <a:lnSpc>
                <a:spcPct val="100000"/>
              </a:lnSpc>
              <a:spcBef>
                <a:spcPct val="0"/>
              </a:spcBef>
              <a:spcAft>
                <a:spcPts val="412"/>
              </a:spcAft>
              <a:buClr>
                <a:srgbClr val="808080"/>
              </a:buClr>
              <a:buSzPct val="70000"/>
              <a:buFontTx/>
              <a:buNone/>
              <a:tabLst>
                <a:tab pos="2324344" algn="l"/>
                <a:tab pos="3359853" algn="r"/>
              </a:tabLst>
              <a:defRPr/>
            </a:pPr>
            <a:r>
              <a:rPr kumimoji="0" lang="en-US" sz="800" b="1" i="1" u="none" strike="noStrike" kern="1200" cap="none" spc="0" normalizeH="0" baseline="0" noProof="0">
                <a:ln>
                  <a:noFill/>
                </a:ln>
                <a:solidFill>
                  <a:srgbClr val="000000"/>
                </a:solidFill>
                <a:effectLst/>
                <a:uLnTx/>
                <a:uFillTx/>
                <a:latin typeface="EYInterstate Light" pitchFamily="2" charset="0"/>
                <a:cs typeface="Arial" charset="0"/>
              </a:rPr>
              <a:t>Relevant experience</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the migration of data analytics platform from on-premise to cloud (Azure) as a part of digital transformation initiative for a global PE firm</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Designed and built a flexible data ingestion system on AWS cloud platform to ingest, cleanse &amp; transform a variety of data formats like structured, semi-structured and unstructured to augment a data science project for a global investment firm</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Implemented data lake migration from Teradata platform to Hadoop platform for a leading international bank</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the data engineering team who designed and implemented scalable system to ingest and process very large amounts of data (structured and unstructured) into an enterprise level data lake</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Led the Data Engineering team for IFRS17 data ingestion project into Hadoop Data Lake from disparate source systems using Oracle and DB2 databases</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Designed and developed a Data Quality Assessment system with SAS </a:t>
            </a:r>
            <a:r>
              <a:rPr kumimoji="0" lang="en-US" sz="800" b="0" i="0" u="none" strike="noStrike" kern="0" cap="none" spc="0" normalizeH="0" baseline="0" noProof="0" err="1">
                <a:ln>
                  <a:noFill/>
                </a:ln>
                <a:solidFill>
                  <a:srgbClr val="000000"/>
                </a:solidFill>
                <a:effectLst/>
                <a:uLnTx/>
                <a:uFillTx/>
                <a:latin typeface="EYInterstate Light" pitchFamily="2" charset="0"/>
                <a:cs typeface="Arial" charset="0"/>
              </a:rPr>
              <a:t>Viya</a:t>
            </a: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 &amp; SAS Visual Analytics dashboard, which provided both high-level and detailed view on the quality of data across using Propensity to Buy Machine Learning Model for a leading Insurance firm in Asia</a:t>
            </a:r>
          </a:p>
        </p:txBody>
      </p:sp>
      <p:pic>
        <p:nvPicPr>
          <p:cNvPr id="27" name="Picture 26">
            <a:extLst>
              <a:ext uri="{FF2B5EF4-FFF2-40B4-BE49-F238E27FC236}">
                <a16:creationId xmlns:a16="http://schemas.microsoft.com/office/drawing/2014/main" id="{91FCBF57-B4FF-471A-A655-BA9B7976F52A}"/>
              </a:ext>
            </a:extLst>
          </p:cNvPr>
          <p:cNvPicPr>
            <a:picLocks/>
          </p:cNvPicPr>
          <p:nvPr/>
        </p:nvPicPr>
        <p:blipFill rotWithShape="1">
          <a:blip r:embed="rId8">
            <a:extLst>
              <a:ext uri="{BEBA8EAE-BF5A-486C-A8C5-ECC9F3942E4B}">
                <a14:imgProps xmlns:a14="http://schemas.microsoft.com/office/drawing/2010/main">
                  <a14:imgLayer r:embed="rId9">
                    <a14:imgEffect>
                      <a14:saturation sat="0"/>
                    </a14:imgEffect>
                  </a14:imgLayer>
                </a14:imgProps>
              </a:ext>
            </a:extLst>
          </a:blip>
          <a:srcRect b="8581"/>
          <a:stretch/>
        </p:blipFill>
        <p:spPr>
          <a:xfrm>
            <a:off x="8286262" y="1005840"/>
            <a:ext cx="640080" cy="640080"/>
          </a:xfrm>
          <a:prstGeom prst="ellipse">
            <a:avLst/>
          </a:prstGeom>
          <a:ln w="38100">
            <a:solidFill>
              <a:srgbClr val="FFE600"/>
            </a:solidFill>
          </a:ln>
        </p:spPr>
      </p:pic>
      <p:sp>
        <p:nvSpPr>
          <p:cNvPr id="29" name="Rectangle 28">
            <a:extLst>
              <a:ext uri="{FF2B5EF4-FFF2-40B4-BE49-F238E27FC236}">
                <a16:creationId xmlns:a16="http://schemas.microsoft.com/office/drawing/2014/main" id="{0E0F378E-6FE5-4FD7-87CB-85ACD27B9AB1}"/>
              </a:ext>
            </a:extLst>
          </p:cNvPr>
          <p:cNvSpPr/>
          <p:nvPr/>
        </p:nvSpPr>
        <p:spPr>
          <a:xfrm>
            <a:off x="8208331" y="1953947"/>
            <a:ext cx="3599365" cy="4103688"/>
          </a:xfrm>
          <a:prstGeom prst="rect">
            <a:avLst/>
          </a:prstGeom>
        </p:spPr>
        <p:txBody>
          <a:bodyPr wrap="square">
            <a:spAutoFit/>
          </a:bodyPr>
          <a:lstStyle/>
          <a:p>
            <a:pPr marL="0" marR="0" lvl="3" indent="0" algn="just" defTabSz="681014" rtl="0" eaLnBrk="0" fontAlgn="base" latinLnBrk="0" hangingPunct="0">
              <a:lnSpc>
                <a:spcPct val="100000"/>
              </a:lnSpc>
              <a:spcBef>
                <a:spcPct val="0"/>
              </a:spcBef>
              <a:spcAft>
                <a:spcPts val="374"/>
              </a:spcAft>
              <a:buClr>
                <a:srgbClr val="808080"/>
              </a:buClr>
              <a:buSzPct val="70000"/>
              <a:buFontTx/>
              <a:buNone/>
              <a:tabLst>
                <a:tab pos="2108180" algn="l"/>
                <a:tab pos="3047387" algn="r"/>
              </a:tabLst>
              <a:defRPr/>
            </a:pPr>
            <a:r>
              <a:rPr kumimoji="0" lang="en-GB"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sym typeface="Arial Unicode MS"/>
              </a:rPr>
              <a:t>Background</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Mahendra is a Data &amp; Cloud Architect in EY’s Technology Consulting Practice and he has 14+ years of consulting experience.</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He has lead multiple projects on Cloud Migration (Azure and AWS), Data Integration, Data migration and Data Management &amp; Big Data Analytics.</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He has worked with multiple clients in Banking &amp; Finance, Government &amp; Public sector, Port &amp; Shipping, Education, Agri Business,  Retail &amp; Life Sciences domains.</a:t>
            </a:r>
            <a:endParaRPr lang="en-US" sz="800" b="1" i="1">
              <a:solidFill>
                <a:srgbClr val="000000"/>
              </a:solidFill>
              <a:latin typeface="EYInterstate Light" panose="02000506000000020004" pitchFamily="2" charset="0"/>
            </a:endParaRPr>
          </a:p>
          <a:p>
            <a:pPr lvl="0" algn="just" defTabSz="681014">
              <a:spcAft>
                <a:spcPts val="374"/>
              </a:spcAft>
              <a:buClr>
                <a:srgbClr val="646464"/>
              </a:buClr>
              <a:buSzPct val="70000"/>
              <a:tabLst>
                <a:tab pos="2108180" algn="l"/>
                <a:tab pos="3047387" algn="r"/>
              </a:tabLst>
              <a:defRPr/>
            </a:pPr>
            <a:r>
              <a:rPr lang="en-US" sz="800" b="1" i="1">
                <a:solidFill>
                  <a:srgbClr val="000000"/>
                </a:solidFill>
                <a:latin typeface="EYInterstate Light" panose="02000506000000020004" pitchFamily="2" charset="0"/>
              </a:rPr>
              <a:t>Relevant experience</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migration program for core applications of AIA Singapore to Azure and oversee the project management, current state assessment for each application, target state design and migration including deployment and cutover and overall quality and testing management, which included infrastructure, functional, data and performance testing</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the cloud migration (on Microsoft Azure) for enterprise applications for leading agri-business client</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the end to end design of IFRS17 data mart solution for leading Insurance client on Microsoft Azure</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the cloud migration for a compliance reporting on cloud (AWS) for leading Bank in Singapore</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the a data migration project for a leading Financial Institution (in Singapore and revamped their management reporting from traditional technology stack to self service management reporting on Big Data (Hortonworks)</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the data ingestion project on Big Data Platform for leading insurance client in Singapore </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d the data migration project for a Government agency in Singapore</a:t>
            </a:r>
          </a:p>
        </p:txBody>
      </p:sp>
      <p:pic>
        <p:nvPicPr>
          <p:cNvPr id="30" name="Picture 29">
            <a:extLst>
              <a:ext uri="{FF2B5EF4-FFF2-40B4-BE49-F238E27FC236}">
                <a16:creationId xmlns:a16="http://schemas.microsoft.com/office/drawing/2014/main" id="{251DD040-855A-4CA3-8640-16EABCF83BA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9536" y="1007854"/>
            <a:ext cx="640080" cy="640080"/>
          </a:xfrm>
          <a:prstGeom prst="ellipse">
            <a:avLst/>
          </a:prstGeom>
          <a:blipFill>
            <a:blip r:embed="rId11"/>
            <a:stretch>
              <a:fillRect l="1" r="5570" b="-13772"/>
            </a:stretch>
          </a:blipFill>
          <a:ln w="38100">
            <a:solidFill>
              <a:srgbClr val="FFE600"/>
            </a:solidFill>
          </a:ln>
        </p:spPr>
      </p:pic>
      <p:pic>
        <p:nvPicPr>
          <p:cNvPr id="28" name="Picture 2" descr="C:\Users\PROEDP~1.KLU\AppData\Local\Temp\notesFFF692\IMG_7120.edited-crop.jpg">
            <a:extLst>
              <a:ext uri="{FF2B5EF4-FFF2-40B4-BE49-F238E27FC236}">
                <a16:creationId xmlns:a16="http://schemas.microsoft.com/office/drawing/2014/main" id="{5A3AA212-6A92-4A5F-A9D4-86FB6B9FCE3D}"/>
              </a:ext>
            </a:extLst>
          </p:cNvPr>
          <p:cNvPicPr>
            <a:picLocks noChangeArrowheads="1"/>
          </p:cNvPicPr>
          <p:nvPr/>
        </p:nvPicPr>
        <p:blipFill rotWithShape="1">
          <a:blip r:embed="rId12" cstate="email">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rcRect l="10213" t="4187" r="3741" b="38733"/>
          <a:stretch/>
        </p:blipFill>
        <p:spPr bwMode="auto">
          <a:xfrm>
            <a:off x="4251960" y="1005840"/>
            <a:ext cx="640080" cy="640080"/>
          </a:xfrm>
          <a:prstGeom prst="ellipse">
            <a:avLst/>
          </a:prstGeom>
          <a:ln w="38100">
            <a:solidFill>
              <a:srgbClr val="FFE60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39008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73417"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829361" rtl="0" eaLnBrk="1" fontAlgn="base" latinLnBrk="0" hangingPunct="1">
              <a:lnSpc>
                <a:spcPct val="100000"/>
              </a:lnSpc>
              <a:spcBef>
                <a:spcPct val="0"/>
              </a:spcBef>
              <a:spcAft>
                <a:spcPct val="50000"/>
              </a:spcAft>
              <a:buClr>
                <a:srgbClr val="FFE600"/>
              </a:buClr>
              <a:buSzPct val="80000"/>
              <a:buFontTx/>
              <a:buNone/>
              <a:tabLst/>
              <a:defRPr/>
            </a:pPr>
            <a:endParaRPr kumimoji="0" lang="en-US" sz="2177" b="1" i="0" u="none" strike="noStrike" kern="120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sz="2180"/>
              <a:t>Project Team Member</a:t>
            </a:r>
          </a:p>
        </p:txBody>
      </p:sp>
      <p:cxnSp>
        <p:nvCxnSpPr>
          <p:cNvPr id="19" name="Straight Connector 18">
            <a:extLst>
              <a:ext uri="{FF2B5EF4-FFF2-40B4-BE49-F238E27FC236}">
                <a16:creationId xmlns:a16="http://schemas.microsoft.com/office/drawing/2014/main" id="{C336D3B4-28B3-4BF2-811B-1D702D36C411}"/>
              </a:ext>
            </a:extLst>
          </p:cNvPr>
          <p:cNvCxnSpPr>
            <a:cxnSpLocks/>
          </p:cNvCxnSpPr>
          <p:nvPr/>
        </p:nvCxnSpPr>
        <p:spPr>
          <a:xfrm>
            <a:off x="863111" y="1792886"/>
            <a:ext cx="11247565" cy="0"/>
          </a:xfrm>
          <a:prstGeom prst="line">
            <a:avLst/>
          </a:prstGeom>
          <a:ln w="28575">
            <a:solidFill>
              <a:srgbClr val="FFD200"/>
            </a:solidFill>
          </a:ln>
        </p:spPr>
        <p:style>
          <a:lnRef idx="1">
            <a:schemeClr val="accent2"/>
          </a:lnRef>
          <a:fillRef idx="0">
            <a:schemeClr val="accent2"/>
          </a:fillRef>
          <a:effectRef idx="0">
            <a:schemeClr val="accent2"/>
          </a:effectRef>
          <a:fontRef idx="minor">
            <a:schemeClr val="tx1"/>
          </a:fontRef>
        </p:style>
      </p:cxnSp>
      <p:sp>
        <p:nvSpPr>
          <p:cNvPr id="20" name="Text Placeholder 4">
            <a:extLst>
              <a:ext uri="{FF2B5EF4-FFF2-40B4-BE49-F238E27FC236}">
                <a16:creationId xmlns:a16="http://schemas.microsoft.com/office/drawing/2014/main" id="{ACCEF010-828A-4099-A61D-31527BB0087D}"/>
              </a:ext>
            </a:extLst>
          </p:cNvPr>
          <p:cNvSpPr txBox="1">
            <a:spLocks/>
          </p:cNvSpPr>
          <p:nvPr/>
        </p:nvSpPr>
        <p:spPr>
          <a:xfrm>
            <a:off x="8231106" y="1612537"/>
            <a:ext cx="2690975" cy="2827073"/>
          </a:xfrm>
          <a:prstGeom prst="rect">
            <a:avLst/>
          </a:prstGeom>
        </p:spPr>
        <p:txBody>
          <a:bodyPr lIns="0" tIns="0" rIns="0" bIns="0"/>
          <a:lstStyle/>
          <a:p>
            <a:pPr marL="120806" marR="0" lvl="0" indent="-120806" algn="l" defTabSz="681014" rtl="0" eaLnBrk="0" fontAlgn="base" latinLnBrk="0" hangingPunct="0">
              <a:lnSpc>
                <a:spcPct val="100000"/>
              </a:lnSpc>
              <a:spcBef>
                <a:spcPct val="0"/>
              </a:spcBef>
              <a:spcAft>
                <a:spcPts val="374"/>
              </a:spcAft>
              <a:buClr>
                <a:srgbClr val="808080"/>
              </a:buClr>
              <a:buSzPct val="70000"/>
              <a:buFont typeface="Arial" charset="0"/>
              <a:buChar char="►"/>
              <a:tabLst/>
              <a:defRPr/>
            </a:pPr>
            <a:endParaRPr kumimoji="0" lang="en-US" sz="671" b="0" i="0" u="none" strike="noStrike" kern="1200" cap="none" spc="0" normalizeH="0" baseline="0" noProof="0">
              <a:ln>
                <a:noFill/>
              </a:ln>
              <a:solidFill>
                <a:srgbClr val="000000"/>
              </a:solidFill>
              <a:effectLst/>
              <a:uLnTx/>
              <a:uFillTx/>
              <a:latin typeface="EYInterstate Light" pitchFamily="2" charset="0"/>
              <a:cs typeface="Arial" charset="0"/>
            </a:endParaRPr>
          </a:p>
        </p:txBody>
      </p:sp>
      <p:grpSp>
        <p:nvGrpSpPr>
          <p:cNvPr id="6" name="Group 5">
            <a:extLst>
              <a:ext uri="{FF2B5EF4-FFF2-40B4-BE49-F238E27FC236}">
                <a16:creationId xmlns:a16="http://schemas.microsoft.com/office/drawing/2014/main" id="{DE383077-D04C-4E40-A7B0-819AFCE99D3B}"/>
              </a:ext>
            </a:extLst>
          </p:cNvPr>
          <p:cNvGrpSpPr/>
          <p:nvPr/>
        </p:nvGrpSpPr>
        <p:grpSpPr>
          <a:xfrm>
            <a:off x="859536" y="1005840"/>
            <a:ext cx="3626797" cy="5729542"/>
            <a:chOff x="4251960" y="1005840"/>
            <a:chExt cx="3626797" cy="5729542"/>
          </a:xfrm>
        </p:grpSpPr>
        <p:sp>
          <p:nvSpPr>
            <p:cNvPr id="22" name="Text Placeholder 7">
              <a:extLst>
                <a:ext uri="{FF2B5EF4-FFF2-40B4-BE49-F238E27FC236}">
                  <a16:creationId xmlns:a16="http://schemas.microsoft.com/office/drawing/2014/main" id="{7FDE5895-1254-45C7-B589-F2B2F798738E}"/>
                </a:ext>
              </a:extLst>
            </p:cNvPr>
            <p:cNvSpPr txBox="1">
              <a:spLocks/>
            </p:cNvSpPr>
            <p:nvPr/>
          </p:nvSpPr>
          <p:spPr bwMode="auto">
            <a:xfrm>
              <a:off x="5055051" y="1045014"/>
              <a:ext cx="2690975" cy="569941"/>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IN" sz="1088" b="1" i="0" u="none" strike="noStrike" kern="1200" cap="none" spc="0" normalizeH="0" baseline="0" noProof="0">
                  <a:ln>
                    <a:noFill/>
                  </a:ln>
                  <a:solidFill>
                    <a:srgbClr val="000000"/>
                  </a:solidFill>
                  <a:effectLst/>
                  <a:uLnTx/>
                  <a:uFillTx/>
                  <a:latin typeface="EYInterstate" panose="02000503020000020004" pitchFamily="2" charset="0"/>
                  <a:cs typeface="Arial" charset="0"/>
                </a:rPr>
                <a:t>Sunil Sharma</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US" sz="998" b="0" i="0" u="none" strike="noStrike" kern="1200" cap="none" spc="0" normalizeH="0" baseline="0" noProof="0">
                  <a:ln>
                    <a:noFill/>
                  </a:ln>
                  <a:solidFill>
                    <a:srgbClr val="000000"/>
                  </a:solidFill>
                  <a:effectLst/>
                  <a:uLnTx/>
                  <a:uFillTx/>
                  <a:latin typeface="EYInterstate Light" pitchFamily="2" charset="0"/>
                  <a:cs typeface="Arial" charset="0"/>
                </a:rPr>
                <a:t>Senior Data Engineer</a:t>
              </a:r>
            </a:p>
            <a:p>
              <a:pPr marL="0" marR="0" lvl="0" indent="0" algn="l" defTabSz="626789" rtl="0" eaLnBrk="0" fontAlgn="base" latinLnBrk="0" hangingPunct="0">
                <a:lnSpc>
                  <a:spcPct val="100000"/>
                </a:lnSpc>
                <a:spcBef>
                  <a:spcPct val="0"/>
                </a:spcBef>
                <a:spcAft>
                  <a:spcPts val="544"/>
                </a:spcAft>
                <a:buClr>
                  <a:srgbClr val="FFD200"/>
                </a:buClr>
                <a:buSzPct val="80000"/>
                <a:buFontTx/>
                <a:buNone/>
                <a:tabLst/>
                <a:defRPr/>
              </a:pPr>
              <a:r>
                <a:rPr kumimoji="0" lang="en-IN" sz="998" b="0" i="0" u="none" strike="noStrike" kern="1200" cap="none" spc="0" normalizeH="0" baseline="0" noProof="0">
                  <a:ln>
                    <a:noFill/>
                  </a:ln>
                  <a:solidFill>
                    <a:srgbClr val="000000"/>
                  </a:solidFill>
                  <a:effectLst/>
                  <a:uLnTx/>
                  <a:uFillTx/>
                  <a:latin typeface="EYInterstate Light" pitchFamily="2" charset="0"/>
                  <a:cs typeface="Arial" charset="0"/>
                </a:rPr>
                <a:t>EY Singapore, FSO Data &amp; Analytics</a:t>
              </a:r>
              <a:endParaRPr kumimoji="0" lang="en-US" sz="998"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23" name="Rectangle 22">
              <a:extLst>
                <a:ext uri="{FF2B5EF4-FFF2-40B4-BE49-F238E27FC236}">
                  <a16:creationId xmlns:a16="http://schemas.microsoft.com/office/drawing/2014/main" id="{1CE38C5F-80B9-4F8D-B91C-A219A7A47FB0}"/>
                </a:ext>
              </a:extLst>
            </p:cNvPr>
            <p:cNvSpPr/>
            <p:nvPr/>
          </p:nvSpPr>
          <p:spPr>
            <a:xfrm>
              <a:off x="4279392" y="1975104"/>
              <a:ext cx="3599365" cy="4760278"/>
            </a:xfrm>
            <a:prstGeom prst="rect">
              <a:avLst/>
            </a:prstGeom>
          </p:spPr>
          <p:txBody>
            <a:bodyPr wrap="square">
              <a:spAutoFit/>
            </a:bodyPr>
            <a:lstStyle/>
            <a:p>
              <a:pPr marL="0" marR="0" lvl="3" indent="0" algn="just" defTabSz="681014" rtl="0" eaLnBrk="0" fontAlgn="base" latinLnBrk="0" hangingPunct="0">
                <a:lnSpc>
                  <a:spcPct val="100000"/>
                </a:lnSpc>
                <a:spcBef>
                  <a:spcPct val="0"/>
                </a:spcBef>
                <a:spcAft>
                  <a:spcPts val="374"/>
                </a:spcAft>
                <a:buClr>
                  <a:srgbClr val="808080"/>
                </a:buClr>
                <a:buSzPct val="70000"/>
                <a:buFontTx/>
                <a:buNone/>
                <a:tabLst>
                  <a:tab pos="2108180" algn="l"/>
                  <a:tab pos="3047387" algn="r"/>
                </a:tabLst>
                <a:defRPr/>
              </a:pPr>
              <a:r>
                <a:rPr kumimoji="0" lang="en-GB"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sym typeface="Arial Unicode MS"/>
                </a:rPr>
                <a:t>Background</a:t>
              </a: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rPr>
                <a:t>Sunil is a Manager in EY’s Data &amp; Analytics Practice, focusing on Bank &amp; Financial Services. He has 12+ years of technology experience with a focus on data warehousing, data analytics and data governance engagements.</a:t>
              </a:r>
              <a:endPar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endParaRP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rPr>
                <a:t>Relevant experience</a:t>
              </a:r>
              <a:endPar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endParaRP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Implemented of MAS 610 regulatory reporting for a regional bank in Singapore. Worked on requirements gathering, identification of the data gaps, built dimensional data model for the underly data mart as per the </a:t>
              </a:r>
              <a:r>
                <a:rPr kumimoji="0" lang="en-US" sz="800" b="0" i="0" u="none" strike="noStrike" kern="0" cap="none" spc="0" normalizeH="0" baseline="0" noProof="0" err="1">
                  <a:ln>
                    <a:noFill/>
                  </a:ln>
                  <a:solidFill>
                    <a:srgbClr val="000000"/>
                  </a:solidFill>
                  <a:effectLst/>
                  <a:uLnTx/>
                  <a:uFillTx/>
                  <a:latin typeface="EYInterstate Light" pitchFamily="2" charset="0"/>
                  <a:cs typeface="Arial" charset="0"/>
                </a:rPr>
                <a:t>Vermeg</a:t>
              </a: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 data requirements, designed the data quality framework and ETL design to be implemented on AWS Cloud</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Worked as Technical Consultant for major Insurance companies in APAC region to meet their IFRS 17 requirements. His role in these assignments include gathering the data requirements of IFRS 17 solutions (Aptitude, SAS) &amp; Prophet, building data models and building data mart on big data platform using enterprise ETL tool (Talend, SSIS) to meet the IFRS 17 data requirements. Defined data governance &amp; quality guidelines as agreed with client</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Worked on implementing the data governance and data quality standards as a part of CRM data migration project for a key financial agency of Singapore Government. Helped the organization by providing Data classification recommendations to ensure EU’s GDPR and Singapore’s PDPA compliance, performed data discovery exercise on key tables to categorize the data in based on its confidentiality levels; and helped them define of data governance rules and metadata</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Worked with a leading Insurance company in Indonesia to develop analytics dashboard for their financial data using Power BI. This helped the business users to have more valuable insights of their data</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itchFamily="2" charset="0"/>
                  <a:cs typeface="Arial" charset="0"/>
                </a:rPr>
                <a:t>Performed data quality analysis and delivered a data quality dashboard on customers’ data of a leading Insurance company in Singapore. This helped the business to understand the value of the existing data and also how to enhance &amp; improve it. Performed assessment of existing data governance framework and helped them improve and define the data standards, data control rules and data extraction processes</a:t>
              </a:r>
            </a:p>
          </p:txBody>
        </p:sp>
        <p:pic>
          <p:nvPicPr>
            <p:cNvPr id="31" name="Picture 30">
              <a:extLst>
                <a:ext uri="{FF2B5EF4-FFF2-40B4-BE49-F238E27FC236}">
                  <a16:creationId xmlns:a16="http://schemas.microsoft.com/office/drawing/2014/main" id="{33670D40-A507-4B1B-A190-2F5F94127849}"/>
                </a:ext>
              </a:extLst>
            </p:cNvPr>
            <p:cNvPicPr/>
            <p:nvPr/>
          </p:nvPicPr>
          <p:blipFill rotWithShape="1">
            <a:blip r:embed="rId8" cstate="print">
              <a:extLst>
                <a:ext uri="{BEBA8EAE-BF5A-486C-A8C5-ECC9F3942E4B}">
                  <a14:imgProps xmlns:a14="http://schemas.microsoft.com/office/drawing/2010/main">
                    <a14:imgLayer r:embed="rId9">
                      <a14:imgEffect>
                        <a14:brightnessContrast bright="35000" contrast="5000"/>
                      </a14:imgEffect>
                    </a14:imgLayer>
                  </a14:imgProps>
                </a:ext>
                <a:ext uri="{28A0092B-C50C-407E-A947-70E740481C1C}">
                  <a14:useLocalDpi xmlns:a14="http://schemas.microsoft.com/office/drawing/2010/main" val="0"/>
                </a:ext>
              </a:extLst>
            </a:blip>
            <a:srcRect b="13466"/>
            <a:stretch/>
          </p:blipFill>
          <p:spPr bwMode="auto">
            <a:xfrm>
              <a:off x="4251960" y="1005840"/>
              <a:ext cx="640080" cy="640080"/>
            </a:xfrm>
            <a:prstGeom prst="ellipse">
              <a:avLst/>
            </a:prstGeom>
            <a:blipFill>
              <a:blip r:embed="rId10"/>
              <a:stretch>
                <a:fillRect l="1" r="5570" b="-13772"/>
              </a:stretch>
            </a:blipFill>
            <a:ln w="38100">
              <a:solidFill>
                <a:srgbClr val="FFE600"/>
              </a:solidFill>
            </a:ln>
          </p:spPr>
        </p:pic>
      </p:grpSp>
      <p:pic>
        <p:nvPicPr>
          <p:cNvPr id="13" name="Picture 12">
            <a:extLst>
              <a:ext uri="{FF2B5EF4-FFF2-40B4-BE49-F238E27FC236}">
                <a16:creationId xmlns:a16="http://schemas.microsoft.com/office/drawing/2014/main" id="{B9F3930D-4F1D-4F62-AD6D-666EF5DAE61D}"/>
              </a:ext>
            </a:extLst>
          </p:cNvPr>
          <p:cNvPicPr/>
          <p:nvPr/>
        </p:nvPicPr>
        <p:blipFill>
          <a:blip r:embed="rId11" cstate="print">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tretch>
            <a:fillRect/>
          </a:stretch>
        </p:blipFill>
        <p:spPr bwMode="auto">
          <a:xfrm>
            <a:off x="8229600" y="1005840"/>
            <a:ext cx="640080" cy="640080"/>
          </a:xfrm>
          <a:prstGeom prst="ellipse">
            <a:avLst/>
          </a:prstGeom>
          <a:ln w="38100">
            <a:solidFill>
              <a:srgbClr val="FFE600"/>
            </a:solidFill>
          </a:ln>
        </p:spPr>
      </p:pic>
      <p:sp>
        <p:nvSpPr>
          <p:cNvPr id="14" name="Text Placeholder 4">
            <a:extLst>
              <a:ext uri="{FF2B5EF4-FFF2-40B4-BE49-F238E27FC236}">
                <a16:creationId xmlns:a16="http://schemas.microsoft.com/office/drawing/2014/main" id="{A177CA06-96B5-40B0-9CE9-1CF02C50B384}"/>
              </a:ext>
            </a:extLst>
          </p:cNvPr>
          <p:cNvSpPr txBox="1">
            <a:spLocks/>
          </p:cNvSpPr>
          <p:nvPr/>
        </p:nvSpPr>
        <p:spPr>
          <a:xfrm>
            <a:off x="8231106" y="1612537"/>
            <a:ext cx="2690975" cy="2827073"/>
          </a:xfrm>
          <a:prstGeom prst="rect">
            <a:avLst/>
          </a:prstGeom>
        </p:spPr>
        <p:txBody>
          <a:bodyPr lIns="0" tIns="0" rIns="0" bIns="0"/>
          <a:lstStyle/>
          <a:p>
            <a:pPr marL="120806" marR="0" lvl="0" indent="-120806" algn="l" defTabSz="681014" rtl="0" eaLnBrk="0" fontAlgn="base" latinLnBrk="0" hangingPunct="0">
              <a:lnSpc>
                <a:spcPct val="100000"/>
              </a:lnSpc>
              <a:spcBef>
                <a:spcPct val="0"/>
              </a:spcBef>
              <a:spcAft>
                <a:spcPts val="374"/>
              </a:spcAft>
              <a:buClr>
                <a:srgbClr val="808080"/>
              </a:buClr>
              <a:buSzPct val="70000"/>
              <a:buFont typeface="Arial" charset="0"/>
              <a:buChar char="►"/>
              <a:tabLst/>
              <a:defRPr/>
            </a:pPr>
            <a:endParaRPr kumimoji="0" lang="en-US" sz="671" b="0" i="0" u="none" strike="noStrike" kern="1200" cap="none" spc="0" normalizeH="0" baseline="0" noProof="0">
              <a:ln>
                <a:noFill/>
              </a:ln>
              <a:solidFill>
                <a:srgbClr val="000000"/>
              </a:solidFill>
              <a:effectLst/>
              <a:uLnTx/>
              <a:uFillTx/>
              <a:latin typeface="EYInterstate Light" pitchFamily="2" charset="0"/>
              <a:cs typeface="Arial" charset="0"/>
            </a:endParaRPr>
          </a:p>
        </p:txBody>
      </p:sp>
      <p:sp>
        <p:nvSpPr>
          <p:cNvPr id="15" name="Text Placeholder 7">
            <a:extLst>
              <a:ext uri="{FF2B5EF4-FFF2-40B4-BE49-F238E27FC236}">
                <a16:creationId xmlns:a16="http://schemas.microsoft.com/office/drawing/2014/main" id="{DE03B25B-EC66-4513-BF61-4C6288C55EF4}"/>
              </a:ext>
            </a:extLst>
          </p:cNvPr>
          <p:cNvSpPr txBox="1">
            <a:spLocks/>
          </p:cNvSpPr>
          <p:nvPr/>
        </p:nvSpPr>
        <p:spPr bwMode="auto">
          <a:xfrm>
            <a:off x="9013465" y="1080893"/>
            <a:ext cx="2941743" cy="569941"/>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marR="0" lvl="0" indent="0" algn="l" defTabSz="568498" rtl="0" eaLnBrk="0" fontAlgn="base" latinLnBrk="0" hangingPunct="0">
              <a:lnSpc>
                <a:spcPct val="100000"/>
              </a:lnSpc>
              <a:spcBef>
                <a:spcPct val="0"/>
              </a:spcBef>
              <a:spcAft>
                <a:spcPts val="493"/>
              </a:spcAft>
              <a:buClr>
                <a:srgbClr val="FFD200"/>
              </a:buClr>
              <a:buSzPct val="80000"/>
              <a:buFontTx/>
              <a:buNone/>
              <a:tabLst/>
              <a:defRPr/>
            </a:pPr>
            <a:r>
              <a:rPr lang="en-US" sz="987" b="1">
                <a:solidFill>
                  <a:srgbClr val="000000"/>
                </a:solidFill>
                <a:latin typeface="EYInterstate" panose="02000503020000020004" pitchFamily="2" charset="0"/>
              </a:rPr>
              <a:t>Aaron Lim</a:t>
            </a:r>
            <a:endParaRPr kumimoji="0" lang="en-US" sz="987" b="1" i="0" u="none" strike="noStrike" kern="1200" cap="none" spc="0" normalizeH="0" baseline="0" noProof="0">
              <a:ln>
                <a:noFill/>
              </a:ln>
              <a:solidFill>
                <a:srgbClr val="000000"/>
              </a:solidFill>
              <a:effectLst/>
              <a:uLnTx/>
              <a:uFillTx/>
              <a:latin typeface="EYInterstate" panose="02000503020000020004" pitchFamily="2" charset="0"/>
              <a:cs typeface="Arial" charset="0"/>
            </a:endParaRPr>
          </a:p>
          <a:p>
            <a:pPr lvl="0" defTabSz="626789">
              <a:spcAft>
                <a:spcPts val="544"/>
              </a:spcAft>
              <a:buClr>
                <a:srgbClr val="FFD200"/>
              </a:buClr>
              <a:buSzPct val="80000"/>
              <a:defRPr/>
            </a:pPr>
            <a:r>
              <a:rPr lang="en-US" sz="998">
                <a:solidFill>
                  <a:srgbClr val="000000"/>
                </a:solidFill>
                <a:latin typeface="EYInterstate Light" pitchFamily="2" charset="0"/>
              </a:rPr>
              <a:t>DevOps and security support</a:t>
            </a:r>
          </a:p>
          <a:p>
            <a:pPr lvl="0" defTabSz="626789">
              <a:spcAft>
                <a:spcPts val="544"/>
              </a:spcAft>
              <a:buClr>
                <a:srgbClr val="FFD200"/>
              </a:buClr>
              <a:buSzPct val="80000"/>
              <a:defRPr/>
            </a:pPr>
            <a:r>
              <a:rPr lang="en-US" sz="998">
                <a:solidFill>
                  <a:srgbClr val="000000"/>
                </a:solidFill>
                <a:latin typeface="EYInterstate Light" pitchFamily="2" charset="0"/>
              </a:rPr>
              <a:t>EY Singapore, DevOps Engineer</a:t>
            </a:r>
          </a:p>
        </p:txBody>
      </p:sp>
      <p:sp>
        <p:nvSpPr>
          <p:cNvPr id="17" name="Rectangle 16">
            <a:extLst>
              <a:ext uri="{FF2B5EF4-FFF2-40B4-BE49-F238E27FC236}">
                <a16:creationId xmlns:a16="http://schemas.microsoft.com/office/drawing/2014/main" id="{00C40222-9569-43A7-AA03-C14A6602EDB1}"/>
              </a:ext>
            </a:extLst>
          </p:cNvPr>
          <p:cNvSpPr/>
          <p:nvPr/>
        </p:nvSpPr>
        <p:spPr>
          <a:xfrm>
            <a:off x="8208331" y="1953947"/>
            <a:ext cx="3599365" cy="4719241"/>
          </a:xfrm>
          <a:prstGeom prst="rect">
            <a:avLst/>
          </a:prstGeom>
        </p:spPr>
        <p:txBody>
          <a:bodyPr wrap="square">
            <a:spAutoFit/>
          </a:bodyPr>
          <a:lstStyle/>
          <a:p>
            <a:pPr marL="0" marR="0" lvl="3" indent="0" algn="just" defTabSz="681014" rtl="0" eaLnBrk="0" fontAlgn="base" latinLnBrk="0" hangingPunct="0">
              <a:lnSpc>
                <a:spcPct val="100000"/>
              </a:lnSpc>
              <a:spcBef>
                <a:spcPct val="0"/>
              </a:spcBef>
              <a:spcAft>
                <a:spcPts val="374"/>
              </a:spcAft>
              <a:buClr>
                <a:srgbClr val="808080"/>
              </a:buClr>
              <a:buSzPct val="70000"/>
              <a:buFontTx/>
              <a:buNone/>
              <a:tabLst>
                <a:tab pos="2108180" algn="l"/>
                <a:tab pos="3047387" algn="r"/>
              </a:tabLst>
              <a:defRPr/>
            </a:pPr>
            <a:r>
              <a:rPr kumimoji="0" lang="en-GB"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sym typeface="Arial Unicode MS"/>
              </a:rPr>
              <a:t>Background</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Aaron </a:t>
            </a:r>
            <a:r>
              <a:rPr lang="en-US" sz="800" err="1">
                <a:solidFill>
                  <a:srgbClr val="000000"/>
                </a:solidFill>
                <a:latin typeface="EYInterstate Light" panose="02000506000000020004" pitchFamily="2" charset="0"/>
              </a:rPr>
              <a:t>specialises</a:t>
            </a:r>
            <a:r>
              <a:rPr lang="en-US" sz="800">
                <a:solidFill>
                  <a:srgbClr val="000000"/>
                </a:solidFill>
                <a:latin typeface="EYInterstate Light" panose="02000506000000020004" pitchFamily="2" charset="0"/>
              </a:rPr>
              <a:t> in front-end development, UX designs, agile methodologies, DevOps and data analytics. </a:t>
            </a:r>
          </a:p>
          <a:p>
            <a:pPr lvl="0" algn="just" defTabSz="681014">
              <a:spcAft>
                <a:spcPts val="374"/>
              </a:spcAft>
              <a:buClr>
                <a:srgbClr val="646464"/>
              </a:buClr>
              <a:buSzPct val="70000"/>
              <a:tabLst>
                <a:tab pos="2108180" algn="l"/>
                <a:tab pos="3047387" algn="r"/>
              </a:tabLst>
              <a:defRPr/>
            </a:pPr>
            <a:r>
              <a:rPr lang="en-US" sz="800">
                <a:solidFill>
                  <a:srgbClr val="000000"/>
                </a:solidFill>
                <a:latin typeface="EYInterstate Light" panose="02000506000000020004" pitchFamily="2" charset="0"/>
              </a:rPr>
              <a:t>He is experience in DevOps offers in-depth understanding of software development and information-technology operations within the SDLC.</a:t>
            </a:r>
          </a:p>
          <a:p>
            <a:pPr lvl="0" algn="just" defTabSz="681014">
              <a:spcAft>
                <a:spcPts val="374"/>
              </a:spcAft>
              <a:buClr>
                <a:srgbClr val="646464"/>
              </a:buClr>
              <a:buSzPct val="70000"/>
              <a:tabLst>
                <a:tab pos="2108180" algn="l"/>
                <a:tab pos="3047387" algn="r"/>
              </a:tabLst>
              <a:defRPr/>
            </a:pPr>
            <a:r>
              <a:rPr lang="en-US" sz="800" b="1" i="1">
                <a:solidFill>
                  <a:srgbClr val="000000"/>
                </a:solidFill>
                <a:latin typeface="EYInterstate Light" panose="02000506000000020004" pitchFamily="2" charset="0"/>
              </a:rPr>
              <a:t>Relevant experience</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Experienced working in agile scrum project leveraging software development management tools such as Jira, Confluence and </a:t>
            </a:r>
            <a:r>
              <a:rPr lang="en-US" sz="800" kern="0" err="1">
                <a:solidFill>
                  <a:srgbClr val="000000"/>
                </a:solidFill>
                <a:latin typeface="EYInterstate Light" pitchFamily="2" charset="0"/>
              </a:rPr>
              <a:t>BitBucket</a:t>
            </a:r>
            <a:endParaRPr lang="en-US" sz="800" kern="0">
              <a:solidFill>
                <a:srgbClr val="000000"/>
              </a:solidFill>
              <a:latin typeface="EYInterstate Light" pitchFamily="2" charset="0"/>
            </a:endParaRP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Performed current state assessments on DevOps technology tool stack and recommended target state initiatives and new SDLC governance controls for one of the largest large local Bank in Singapore</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Lead and establish a CI/CD transformation program at a global insurance company in Singapore to adopt new ways of working.  The program encompass a new target operating model for CI/CD and establishing an end-to-end CI/CD pipeline</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Worked with an insurance company in Thailand to build a dashboard that assist in the visualization of data retrieved from the Hybrid Deep Learning Model to better allow management to identify possibly misused of insurance benefits and derive segments in which there is most risky customers</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Worked with a multinational insurance company in Singapore to redesign their user journey for agents to manage clients and for customers to track their existing policies. This included designing and building a prototype insurance application for customers and agents</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Designed and build a prototype DevOps dashboard for one of the largest large local Bank in Singapore</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Worked with a large multinational bank in Singapore to build a culture and conduct dashboard that monitors the bank’s internal conduct risk environment</a:t>
            </a:r>
          </a:p>
          <a:p>
            <a:pPr marL="155488" lvl="0" indent="-155488" algn="just" defTabSz="659699">
              <a:spcAft>
                <a:spcPts val="444"/>
              </a:spcAft>
              <a:buClr>
                <a:srgbClr val="646464"/>
              </a:buClr>
              <a:buSzPct val="100000"/>
              <a:buFont typeface="Arial" panose="020B0604020202020204" pitchFamily="34" charset="0"/>
              <a:buChar char="•"/>
              <a:tabLst>
                <a:tab pos="2324344" algn="l"/>
                <a:tab pos="3359853" algn="r"/>
              </a:tabLst>
              <a:defRPr/>
            </a:pPr>
            <a:r>
              <a:rPr lang="en-US" sz="800" kern="0">
                <a:solidFill>
                  <a:srgbClr val="000000"/>
                </a:solidFill>
                <a:latin typeface="EYInterstate Light" pitchFamily="2" charset="0"/>
              </a:rPr>
              <a:t>Conducted Agile and DevOps workshops for multiple banks and insurance company in Singapore, Malaysia and Thailand</a:t>
            </a:r>
          </a:p>
        </p:txBody>
      </p:sp>
      <p:grpSp>
        <p:nvGrpSpPr>
          <p:cNvPr id="21" name="Group 20">
            <a:extLst>
              <a:ext uri="{FF2B5EF4-FFF2-40B4-BE49-F238E27FC236}">
                <a16:creationId xmlns:a16="http://schemas.microsoft.com/office/drawing/2014/main" id="{8F2C63A6-AC62-4F88-8A1A-0B45B3E71990}"/>
              </a:ext>
            </a:extLst>
          </p:cNvPr>
          <p:cNvGrpSpPr/>
          <p:nvPr/>
        </p:nvGrpSpPr>
        <p:grpSpPr>
          <a:xfrm>
            <a:off x="4251960" y="1005840"/>
            <a:ext cx="3846253" cy="4624143"/>
            <a:chOff x="859536" y="1005840"/>
            <a:chExt cx="3846253" cy="4624143"/>
          </a:xfrm>
        </p:grpSpPr>
        <p:sp>
          <p:nvSpPr>
            <p:cNvPr id="24" name="Text Placeholder 7">
              <a:extLst>
                <a:ext uri="{FF2B5EF4-FFF2-40B4-BE49-F238E27FC236}">
                  <a16:creationId xmlns:a16="http://schemas.microsoft.com/office/drawing/2014/main" id="{6176EE1A-A6C2-4CCE-AC10-73FAB5F0D49B}"/>
                </a:ext>
              </a:extLst>
            </p:cNvPr>
            <p:cNvSpPr txBox="1">
              <a:spLocks/>
            </p:cNvSpPr>
            <p:nvPr/>
          </p:nvSpPr>
          <p:spPr bwMode="auto">
            <a:xfrm>
              <a:off x="1649751" y="1019173"/>
              <a:ext cx="2473950" cy="62838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defTabSz="626789">
                <a:spcAft>
                  <a:spcPts val="544"/>
                </a:spcAft>
                <a:buClr>
                  <a:srgbClr val="FFD200"/>
                </a:buClr>
                <a:buSzPct val="80000"/>
                <a:defRPr/>
              </a:pPr>
              <a:r>
                <a:rPr lang="en-US" sz="1088" b="1" err="1">
                  <a:solidFill>
                    <a:srgbClr val="000000"/>
                  </a:solidFill>
                  <a:latin typeface="EYInterstate" panose="02000503020000020004" pitchFamily="2" charset="0"/>
                </a:rPr>
                <a:t>Attaphon</a:t>
              </a:r>
              <a:r>
                <a:rPr lang="en-US" sz="1088" b="1">
                  <a:solidFill>
                    <a:srgbClr val="000000"/>
                  </a:solidFill>
                  <a:latin typeface="EYInterstate" panose="02000503020000020004" pitchFamily="2" charset="0"/>
                </a:rPr>
                <a:t> </a:t>
              </a:r>
              <a:r>
                <a:rPr lang="en-US" sz="1088" b="1" err="1">
                  <a:solidFill>
                    <a:srgbClr val="000000"/>
                  </a:solidFill>
                  <a:latin typeface="EYInterstate" panose="02000503020000020004" pitchFamily="2" charset="0"/>
                </a:rPr>
                <a:t>Predaboon</a:t>
              </a:r>
              <a:endParaRPr lang="en-US" sz="1088" b="1">
                <a:solidFill>
                  <a:srgbClr val="000000"/>
                </a:solidFill>
                <a:latin typeface="EYInterstate" panose="02000503020000020004" pitchFamily="2" charset="0"/>
              </a:endParaRPr>
            </a:p>
            <a:p>
              <a:pPr lvl="0" defTabSz="626789">
                <a:spcAft>
                  <a:spcPts val="544"/>
                </a:spcAft>
                <a:buClr>
                  <a:srgbClr val="FFD200"/>
                </a:buClr>
                <a:buSzPct val="80000"/>
                <a:defRPr/>
              </a:pPr>
              <a:r>
                <a:rPr lang="en-US" sz="998">
                  <a:solidFill>
                    <a:srgbClr val="000000"/>
                  </a:solidFill>
                  <a:latin typeface="EYInterstate Light" pitchFamily="2" charset="0"/>
                </a:rPr>
                <a:t>Target Operating Model &amp;</a:t>
              </a:r>
              <a:br>
                <a:rPr lang="en-US" sz="998">
                  <a:solidFill>
                    <a:srgbClr val="000000"/>
                  </a:solidFill>
                  <a:latin typeface="EYInterstate Light" pitchFamily="2" charset="0"/>
                </a:rPr>
              </a:br>
              <a:r>
                <a:rPr lang="en-US" sz="998">
                  <a:solidFill>
                    <a:srgbClr val="000000"/>
                  </a:solidFill>
                  <a:latin typeface="EYInterstate Light" pitchFamily="2" charset="0"/>
                </a:rPr>
                <a:t> IT Strategic Roadmap support</a:t>
              </a:r>
            </a:p>
            <a:p>
              <a:pPr lvl="0" defTabSz="626789">
                <a:spcAft>
                  <a:spcPts val="544"/>
                </a:spcAft>
                <a:buClr>
                  <a:srgbClr val="FFD200"/>
                </a:buClr>
                <a:buSzPct val="80000"/>
                <a:defRPr/>
              </a:pPr>
              <a:r>
                <a:rPr lang="en-US" sz="998" kern="0">
                  <a:solidFill>
                    <a:srgbClr val="000000"/>
                  </a:solidFill>
                  <a:latin typeface="EYInterstate Light" pitchFamily="2" charset="0"/>
                </a:rPr>
                <a:t>EY Thailand, Data &amp; Analytics</a:t>
              </a:r>
            </a:p>
          </p:txBody>
        </p:sp>
        <p:sp>
          <p:nvSpPr>
            <p:cNvPr id="26" name="Rectangle 25">
              <a:extLst>
                <a:ext uri="{FF2B5EF4-FFF2-40B4-BE49-F238E27FC236}">
                  <a16:creationId xmlns:a16="http://schemas.microsoft.com/office/drawing/2014/main" id="{06D5AFF7-AB9E-42FE-896B-64093E40116E}"/>
                </a:ext>
              </a:extLst>
            </p:cNvPr>
            <p:cNvSpPr/>
            <p:nvPr/>
          </p:nvSpPr>
          <p:spPr>
            <a:xfrm>
              <a:off x="1106424" y="1946923"/>
              <a:ext cx="3599365" cy="3683060"/>
            </a:xfrm>
            <a:prstGeom prst="rect">
              <a:avLst/>
            </a:prstGeom>
          </p:spPr>
          <p:txBody>
            <a:bodyPr wrap="square">
              <a:spAutoFit/>
            </a:bodyPr>
            <a:lstStyle/>
            <a:p>
              <a:pPr marL="0" marR="0" lvl="3" indent="0" algn="just" defTabSz="681014" rtl="0" eaLnBrk="0" fontAlgn="base" latinLnBrk="0" hangingPunct="0">
                <a:lnSpc>
                  <a:spcPct val="100000"/>
                </a:lnSpc>
                <a:spcBef>
                  <a:spcPct val="0"/>
                </a:spcBef>
                <a:spcAft>
                  <a:spcPts val="374"/>
                </a:spcAft>
                <a:buClr>
                  <a:srgbClr val="808080"/>
                </a:buClr>
                <a:buSzPct val="70000"/>
                <a:buFontTx/>
                <a:buNone/>
                <a:tabLst>
                  <a:tab pos="2108180" algn="l"/>
                  <a:tab pos="3047387" algn="r"/>
                </a:tabLst>
                <a:defRPr/>
              </a:pPr>
              <a:r>
                <a:rPr kumimoji="0" lang="en-GB"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sym typeface="Arial Unicode MS"/>
                </a:rPr>
                <a:t>Background</a:t>
              </a: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0" i="0" u="none" strike="noStrike" kern="1200" cap="none" spc="0" normalizeH="0" baseline="0" noProof="0" err="1">
                  <a:ln>
                    <a:noFill/>
                  </a:ln>
                  <a:solidFill>
                    <a:srgbClr val="000000"/>
                  </a:solidFill>
                  <a:effectLst/>
                  <a:uLnTx/>
                  <a:uFillTx/>
                  <a:latin typeface="EYInterstate Light" panose="02000506000000020004" pitchFamily="2" charset="0"/>
                  <a:cs typeface="Arial" charset="0"/>
                </a:rPr>
                <a:t>Attaphon</a:t>
              </a:r>
              <a:r>
                <a:rPr kumimoji="0" lang="en-US"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rPr>
                <a:t> is a Manager in EY’s IT Advisory​ . He as 6 years of experience in a multinational corporation and consulting firm with a history of working in Oil &amp; Gas, Manufacturing and Beverage industries in Bangkok and overseas (e.g. USA, Korea, China, Cambodia) ​</a:t>
              </a: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0" i="0" u="none" strike="noStrike" kern="1200" cap="none" spc="0" normalizeH="0" baseline="0" noProof="0" err="1">
                  <a:ln>
                    <a:noFill/>
                  </a:ln>
                  <a:solidFill>
                    <a:srgbClr val="000000"/>
                  </a:solidFill>
                  <a:effectLst/>
                  <a:uLnTx/>
                  <a:uFillTx/>
                  <a:latin typeface="EYInterstate Light" panose="02000506000000020004" pitchFamily="2" charset="0"/>
                  <a:cs typeface="Arial" charset="0"/>
                </a:rPr>
                <a:t>Attaphon</a:t>
              </a:r>
              <a:r>
                <a:rPr kumimoji="0" lang="en-US" sz="800" b="0" i="0" u="none" strike="noStrike" kern="1200" cap="none" spc="0" normalizeH="0" baseline="0" noProof="0">
                  <a:ln>
                    <a:noFill/>
                  </a:ln>
                  <a:solidFill>
                    <a:srgbClr val="000000"/>
                  </a:solidFill>
                  <a:effectLst/>
                  <a:uLnTx/>
                  <a:uFillTx/>
                  <a:latin typeface="EYInterstate Light" panose="02000506000000020004" pitchFamily="2" charset="0"/>
                  <a:cs typeface="Arial" charset="0"/>
                </a:rPr>
                <a:t> has hands-on experience in data lake design and implementation, data warehouse migration, value chain data analytics in his professional and educational background​</a:t>
              </a: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endPar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endParaRPr>
            </a:p>
            <a:p>
              <a:pPr marL="0" marR="0" lvl="0" indent="0" algn="just" defTabSz="681014" rtl="0" eaLnBrk="0" fontAlgn="base" latinLnBrk="0" hangingPunct="0">
                <a:lnSpc>
                  <a:spcPct val="100000"/>
                </a:lnSpc>
                <a:spcBef>
                  <a:spcPct val="0"/>
                </a:spcBef>
                <a:spcAft>
                  <a:spcPts val="374"/>
                </a:spcAft>
                <a:buClr>
                  <a:srgbClr val="646464"/>
                </a:buClr>
                <a:buSzPct val="70000"/>
                <a:buFontTx/>
                <a:buNone/>
                <a:tabLst>
                  <a:tab pos="2108180" algn="l"/>
                  <a:tab pos="3047387" algn="r"/>
                </a:tabLst>
                <a:defRPr/>
              </a:pPr>
              <a:r>
                <a:rPr kumimoji="0" lang="en-US" sz="800" b="1" i="1" u="none" strike="noStrike" kern="1200" cap="none" spc="0" normalizeH="0" baseline="0" noProof="0">
                  <a:ln>
                    <a:noFill/>
                  </a:ln>
                  <a:solidFill>
                    <a:srgbClr val="000000"/>
                  </a:solidFill>
                  <a:effectLst/>
                  <a:uLnTx/>
                  <a:uFillTx/>
                  <a:latin typeface="EYInterstate Light" panose="02000506000000020004" pitchFamily="2" charset="0"/>
                  <a:cs typeface="Arial" charset="0"/>
                </a:rPr>
                <a:t>Relevant experience</a:t>
              </a:r>
              <a:endPar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endParaRP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Data Warehouse Proof of Concept, Design and Development​</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Proof of Concept SAP HANA 2.0 on XSA architecture, define ETL technology recommendation and setup up the corporate data lake platform on SAP HANA XSA integrated with SAP BW and MSSQL​</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Develop high-level recommendation of data governance and data management process​</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Design and implement SAP BW financial report and data model based on COPA and PCA data sources, enhance complex financial consolidation application using on ABAP routine, for </a:t>
              </a:r>
              <a:r>
                <a:rPr kumimoji="0" lang="en-US" sz="800" b="0" i="0" u="none" strike="noStrike" kern="0" cap="none" spc="0" normalizeH="0" baseline="0" noProof="0" err="1">
                  <a:ln>
                    <a:noFill/>
                  </a:ln>
                  <a:solidFill>
                    <a:srgbClr val="000000"/>
                  </a:solidFill>
                  <a:effectLst/>
                  <a:uLnTx/>
                  <a:uFillTx/>
                  <a:latin typeface="EYInterstate Light" panose="02000506000000020004" pitchFamily="2" charset="0"/>
                  <a:cs typeface="Arial" charset="0"/>
                </a:rPr>
                <a:t>SoPAC</a:t>
              </a: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 and North Asia countries of the MNC Oil &amp; Gas company ​</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Design and implement logistics optimization model based on standard 2LIS and various customized extractors to determine optimal transportation mode, and optimize truckload utilization​</a:t>
              </a:r>
            </a:p>
            <a:p>
              <a:pPr marL="155488" marR="0" lvl="0" indent="-155488" algn="just" defTabSz="659699" rtl="0" eaLnBrk="0" fontAlgn="base" latinLnBrk="0" hangingPunct="0">
                <a:lnSpc>
                  <a:spcPct val="100000"/>
                </a:lnSpc>
                <a:spcBef>
                  <a:spcPct val="0"/>
                </a:spcBef>
                <a:spcAft>
                  <a:spcPts val="444"/>
                </a:spcAft>
                <a:buClr>
                  <a:srgbClr val="646464"/>
                </a:buClr>
                <a:buSzPct val="100000"/>
                <a:buFont typeface="Arial" panose="020B0604020202020204" pitchFamily="34" charset="0"/>
                <a:buChar char="•"/>
                <a:tabLst>
                  <a:tab pos="2324344" algn="l"/>
                  <a:tab pos="3359853" algn="r"/>
                </a:tabLst>
                <a:defRPr/>
              </a:pPr>
              <a:r>
                <a:rPr kumimoji="0" lang="en-US" sz="800" b="0" i="0" u="none" strike="noStrike" kern="0" cap="none" spc="0" normalizeH="0" baseline="0" noProof="0">
                  <a:ln>
                    <a:noFill/>
                  </a:ln>
                  <a:solidFill>
                    <a:srgbClr val="000000"/>
                  </a:solidFill>
                  <a:effectLst/>
                  <a:uLnTx/>
                  <a:uFillTx/>
                  <a:latin typeface="EYInterstate Light" panose="02000506000000020004" pitchFamily="2" charset="0"/>
                  <a:cs typeface="Arial" charset="0"/>
                </a:rPr>
                <a:t>Manage application support team for overseas stakeholders. Perform technical review of the data model developed by offshore team​</a:t>
              </a:r>
            </a:p>
          </p:txBody>
        </p:sp>
        <p:pic>
          <p:nvPicPr>
            <p:cNvPr id="27" name="Picture 26">
              <a:extLst>
                <a:ext uri="{FF2B5EF4-FFF2-40B4-BE49-F238E27FC236}">
                  <a16:creationId xmlns:a16="http://schemas.microsoft.com/office/drawing/2014/main" id="{8DA40222-817C-48B0-8813-1EB0A6549810}"/>
                </a:ext>
              </a:extLst>
            </p:cNvPr>
            <p:cNvPicPr>
              <a:picLocks/>
            </p:cNvPicPr>
            <p:nvPr/>
          </p:nvPicPr>
          <p:blipFill rotWithShape="1">
            <a:blip r:embed="rId13" cstate="print">
              <a:extLst>
                <a:ext uri="{BEBA8EAE-BF5A-486C-A8C5-ECC9F3942E4B}">
                  <a14:imgProps xmlns:a14="http://schemas.microsoft.com/office/drawing/2010/main">
                    <a14:imgLayer r:embed="rId14">
                      <a14:imgEffect>
                        <a14:saturation sat="0"/>
                      </a14:imgEffect>
                      <a14:imgEffect>
                        <a14:brightnessContrast bright="20000"/>
                      </a14:imgEffect>
                    </a14:imgLayer>
                  </a14:imgProps>
                </a:ext>
                <a:ext uri="{28A0092B-C50C-407E-A947-70E740481C1C}">
                  <a14:useLocalDpi xmlns:a14="http://schemas.microsoft.com/office/drawing/2010/main" val="0"/>
                </a:ext>
              </a:extLst>
            </a:blip>
            <a:srcRect l="6128" t="13588" r="7728" b="24080"/>
            <a:stretch/>
          </p:blipFill>
          <p:spPr>
            <a:xfrm>
              <a:off x="859536" y="1005840"/>
              <a:ext cx="640080" cy="640080"/>
            </a:xfrm>
            <a:prstGeom prst="ellipse">
              <a:avLst/>
            </a:prstGeom>
            <a:ln w="38100">
              <a:solidFill>
                <a:srgbClr val="FFE600"/>
              </a:solidFill>
            </a:ln>
          </p:spPr>
        </p:pic>
      </p:grpSp>
    </p:spTree>
    <p:extLst>
      <p:ext uri="{BB962C8B-B14F-4D97-AF65-F5344CB8AC3E}">
        <p14:creationId xmlns:p14="http://schemas.microsoft.com/office/powerpoint/2010/main" val="10603133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26C4713-91DD-440D-AFE1-2DD0CB84E95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708" b="11958"/>
          <a:stretch/>
        </p:blipFill>
        <p:spPr>
          <a:xfrm flipH="1">
            <a:off x="0" y="3176"/>
            <a:ext cx="13442950" cy="7558088"/>
          </a:xfrm>
          <a:prstGeom prst="rect">
            <a:avLst/>
          </a:prstGeom>
        </p:spPr>
      </p:pic>
      <p:sp>
        <p:nvSpPr>
          <p:cNvPr id="8" name="Freeform 12">
            <a:extLst>
              <a:ext uri="{FF2B5EF4-FFF2-40B4-BE49-F238E27FC236}">
                <a16:creationId xmlns:a16="http://schemas.microsoft.com/office/drawing/2014/main" id="{5D46DDCB-3BE1-4B71-BA08-5E44DE5C46BD}"/>
              </a:ext>
            </a:extLst>
          </p:cNvPr>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marL="0" marR="0" lvl="0" indent="0" algn="ctr" defTabSz="634556" rtl="0" eaLnBrk="1" fontAlgn="base" latinLnBrk="0" hangingPunct="1">
              <a:lnSpc>
                <a:spcPct val="100000"/>
              </a:lnSpc>
              <a:spcBef>
                <a:spcPct val="0"/>
              </a:spcBef>
              <a:spcAft>
                <a:spcPct val="50000"/>
              </a:spcAft>
              <a:buClr>
                <a:srgbClr val="FFE600"/>
              </a:buClr>
              <a:buSzPct val="80000"/>
              <a:buFontTx/>
              <a:buNone/>
              <a:tabLst/>
              <a:defRPr/>
            </a:pPr>
            <a:endParaRPr kumimoji="0" lang="en-US" sz="637"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 name="Text Placeholder 9">
            <a:extLst>
              <a:ext uri="{FF2B5EF4-FFF2-40B4-BE49-F238E27FC236}">
                <a16:creationId xmlns:a16="http://schemas.microsoft.com/office/drawing/2014/main" id="{188B850A-DD0C-40EC-BF0B-9E263EC88DC9}"/>
              </a:ext>
            </a:extLst>
          </p:cNvPr>
          <p:cNvSpPr txBox="1">
            <a:spLocks/>
          </p:cNvSpPr>
          <p:nvPr/>
        </p:nvSpPr>
        <p:spPr bwMode="gray">
          <a:xfrm>
            <a:off x="2856" y="1865549"/>
            <a:ext cx="4992526"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2000" b="1" i="0" u="none" strike="noStrike" kern="1200" cap="none" spc="0" normalizeH="0" baseline="0" noProof="0">
                <a:ln>
                  <a:noFill/>
                </a:ln>
                <a:solidFill>
                  <a:srgbClr val="000000"/>
                </a:solidFill>
                <a:effectLst/>
                <a:uLnTx/>
                <a:uFillTx/>
                <a:latin typeface="EYInterstate" panose="02000503020000020004" pitchFamily="2" charset="0"/>
                <a:ea typeface="+mn-ea"/>
                <a:cs typeface="Arial" charset="0"/>
              </a:rPr>
              <a:t>   7| </a:t>
            </a:r>
            <a:r>
              <a:rPr kumimoji="0" lang="en-US" sz="2000" b="1" i="0" u="none" strike="noStrike" kern="1200" cap="none" spc="0" normalizeH="0" baseline="0" noProof="0">
                <a:ln>
                  <a:noFill/>
                </a:ln>
                <a:solidFill>
                  <a:srgbClr val="000000"/>
                </a:solidFill>
                <a:effectLst/>
                <a:uLnTx/>
                <a:uFillTx/>
                <a:latin typeface="EYInterstate" panose="02000503020000020004" pitchFamily="2" charset="0"/>
                <a:ea typeface="+mn-ea"/>
                <a:cs typeface="Calibri" panose="020F0502020204030204" pitchFamily="34" charset="0"/>
              </a:rPr>
              <a:t>Our Credentials</a:t>
            </a:r>
          </a:p>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endParaRPr kumimoji="0" lang="en-US" sz="1814" b="1" i="0" u="none" strike="noStrike" kern="1200" cap="none" spc="0" normalizeH="0" baseline="0" noProof="0">
              <a:ln>
                <a:noFill/>
              </a:ln>
              <a:solidFill>
                <a:srgbClr val="000000"/>
              </a:solidFill>
              <a:effectLst/>
              <a:uLnTx/>
              <a:uFillTx/>
              <a:latin typeface="EYInterstate" panose="02000503020000020004" pitchFamily="2" charset="0"/>
              <a:ea typeface="+mn-ea"/>
              <a:cs typeface="Calibri" panose="020F0502020204030204" pitchFamily="34" charset="0"/>
            </a:endParaRPr>
          </a:p>
        </p:txBody>
      </p:sp>
      <p:sp>
        <p:nvSpPr>
          <p:cNvPr id="10" name="Rectangle 9">
            <a:extLst>
              <a:ext uri="{FF2B5EF4-FFF2-40B4-BE49-F238E27FC236}">
                <a16:creationId xmlns:a16="http://schemas.microsoft.com/office/drawing/2014/main" id="{36766414-5C78-4E7E-B2EC-3AC0DC969E62}"/>
              </a:ext>
            </a:extLst>
          </p:cNvPr>
          <p:cNvSpPr/>
          <p:nvPr/>
        </p:nvSpPr>
        <p:spPr>
          <a:xfrm>
            <a:off x="8583616" y="-213122"/>
            <a:ext cx="3312045" cy="7359419"/>
          </a:xfrm>
          <a:prstGeom prst="rect">
            <a:avLst/>
          </a:prstGeom>
          <a:noFill/>
        </p:spPr>
        <p:txBody>
          <a:bodyPr wrap="square" lIns="72742" tIns="36370" rIns="72742" bIns="36370">
            <a:spAutoFit/>
          </a:bodyPr>
          <a:lstStyle/>
          <a:p>
            <a:pPr marL="0" marR="0" lvl="0" indent="0" algn="ctr" defTabSz="945990" rtl="0" eaLnBrk="1" fontAlgn="auto" latinLnBrk="0" hangingPunct="1">
              <a:lnSpc>
                <a:spcPct val="100000"/>
              </a:lnSpc>
              <a:spcBef>
                <a:spcPts val="0"/>
              </a:spcBef>
              <a:spcAft>
                <a:spcPts val="0"/>
              </a:spcAft>
              <a:buClrTx/>
              <a:buSzTx/>
              <a:buFontTx/>
              <a:buNone/>
              <a:tabLst/>
              <a:defRPr/>
            </a:pPr>
            <a:r>
              <a:rPr kumimoji="0" lang="en-US" sz="47346" b="1" i="0" u="none" strike="noStrike" kern="1200" cap="none" spc="0" normalizeH="0" baseline="0" noProof="0">
                <a:ln w="22225">
                  <a:solidFill>
                    <a:srgbClr val="FFE600"/>
                  </a:solidFill>
                  <a:prstDash val="solid"/>
                </a:ln>
                <a:solidFill>
                  <a:srgbClr val="FFE600"/>
                </a:solidFill>
                <a:effectLst/>
                <a:uLnTx/>
                <a:uFillTx/>
                <a:latin typeface="EYInterstate" panose="02000503020000020004" pitchFamily="2" charset="0"/>
                <a:ea typeface="+mn-ea"/>
                <a:cs typeface="Calibri" panose="020F0502020204030204" pitchFamily="34" charset="0"/>
              </a:rPr>
              <a:t>7</a:t>
            </a:r>
          </a:p>
        </p:txBody>
      </p:sp>
    </p:spTree>
    <p:extLst>
      <p:ext uri="{BB962C8B-B14F-4D97-AF65-F5344CB8AC3E}">
        <p14:creationId xmlns:p14="http://schemas.microsoft.com/office/powerpoint/2010/main" val="127260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03785"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361" eaLnBrk="1" hangingPunct="1">
              <a:spcAft>
                <a:spcPct val="50000"/>
              </a:spcAft>
              <a:buClr>
                <a:srgbClr val="FFE600"/>
              </a:buClr>
              <a:buSzPct val="80000"/>
              <a:defRPr/>
            </a:pPr>
            <a:endParaRPr lang="en-US" sz="2177" b="1" dirty="0">
              <a:solidFill>
                <a:srgbClr val="000000"/>
              </a:solidFill>
              <a:latin typeface="EYInterstate" panose="02000503020000020004" pitchFamily="2" charset="0"/>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sz="2180" dirty="0"/>
              <a:t>Our understanding of your needs</a:t>
            </a:r>
          </a:p>
        </p:txBody>
      </p:sp>
      <p:sp>
        <p:nvSpPr>
          <p:cNvPr id="38" name="Text Placeholder 103">
            <a:extLst>
              <a:ext uri="{FF2B5EF4-FFF2-40B4-BE49-F238E27FC236}">
                <a16:creationId xmlns:a16="http://schemas.microsoft.com/office/drawing/2014/main" id="{DC5FAAD9-17BB-45EC-B07A-13C67143B68E}"/>
              </a:ext>
            </a:extLst>
          </p:cNvPr>
          <p:cNvSpPr txBox="1">
            <a:spLocks/>
          </p:cNvSpPr>
          <p:nvPr/>
        </p:nvSpPr>
        <p:spPr>
          <a:xfrm>
            <a:off x="860108" y="1065984"/>
            <a:ext cx="5632285" cy="1606723"/>
          </a:xfrm>
          <a:prstGeom prst="rect">
            <a:avLst/>
          </a:prstGeom>
        </p:spPr>
        <p:txBody>
          <a:bodyPr lIns="41468" rIns="41468"/>
          <a:lstStyle>
            <a:lvl1pPr marL="494029" indent="-494029" algn="l" defTabSz="1266737"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8054" indent="-494029" algn="l" defTabSz="1266737"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2083" indent="-494029" algn="l" defTabSz="1266737" rtl="0" eaLnBrk="1" latinLnBrk="0" hangingPunct="1">
              <a:spcBef>
                <a:spcPct val="20000"/>
              </a:spcBef>
              <a:buClr>
                <a:schemeClr val="tx1"/>
              </a:buClr>
              <a:buSzPct val="70000"/>
              <a:buFont typeface="Arial" pitchFamily="34" charset="0"/>
              <a:buChar char="►"/>
              <a:defRPr sz="1800" b="0" i="0" kern="1200">
                <a:solidFill>
                  <a:schemeClr val="bg1"/>
                </a:solidFill>
                <a:latin typeface="EYInterstate Light" panose="02000506000000020004" pitchFamily="2" charset="0"/>
                <a:ea typeface="+mn-ea"/>
                <a:cs typeface="+mn-cs"/>
              </a:defRPr>
            </a:lvl3pPr>
            <a:lvl4pPr marL="1976110" indent="-494029" algn="l" defTabSz="1266737"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70136" indent="-494029" algn="l" defTabSz="1266737"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527"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89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5026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3632"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9pPr>
          </a:lstStyle>
          <a:p>
            <a:pPr marL="0" indent="0" defTabSz="1148930" fontAlgn="auto">
              <a:spcAft>
                <a:spcPts val="0"/>
              </a:spcAft>
              <a:buClr>
                <a:srgbClr val="000000"/>
              </a:buClr>
              <a:buNone/>
              <a:defRPr/>
            </a:pPr>
            <a:r>
              <a:rPr lang="en-US" sz="1451" kern="0" dirty="0">
                <a:solidFill>
                  <a:srgbClr val="000000"/>
                </a:solidFill>
              </a:rPr>
              <a:t>AIA Thailand (AIAT) is embarking on an aspirational journey to uplift capabilities in Technology, Digital and Analytics over the years. The program will require AIAT to deploy new systems, products and features into production. AIAT need to understand more the Data Platform Roadmap to be a principle while implementing the projects. </a:t>
            </a:r>
          </a:p>
          <a:p>
            <a:pPr marL="0" indent="0" defTabSz="1148930" fontAlgn="auto">
              <a:spcAft>
                <a:spcPts val="0"/>
              </a:spcAft>
              <a:buClr>
                <a:srgbClr val="000000"/>
              </a:buClr>
              <a:buNone/>
              <a:defRPr/>
            </a:pPr>
            <a:endParaRPr lang="en-US" sz="1451" kern="0" dirty="0">
              <a:solidFill>
                <a:srgbClr val="000000"/>
              </a:solidFill>
            </a:endParaRPr>
          </a:p>
          <a:p>
            <a:pPr marL="0" indent="0" defTabSz="1148930" fontAlgn="auto">
              <a:spcAft>
                <a:spcPts val="0"/>
              </a:spcAft>
              <a:buClr>
                <a:srgbClr val="000000"/>
              </a:buClr>
              <a:buNone/>
              <a:defRPr/>
            </a:pPr>
            <a:r>
              <a:rPr lang="en-US" sz="1451" dirty="0">
                <a:solidFill>
                  <a:srgbClr val="00A3AE"/>
                </a:solidFill>
                <a:latin typeface="EYInterstate"/>
              </a:rPr>
              <a:t>Key outcomes delivered by the program:</a:t>
            </a:r>
            <a:endParaRPr lang="en-US" sz="1451" kern="0" dirty="0">
              <a:solidFill>
                <a:srgbClr val="000000"/>
              </a:solidFill>
            </a:endParaRPr>
          </a:p>
          <a:p>
            <a:pPr marL="0" indent="0" defTabSz="1148930" fontAlgn="auto">
              <a:spcAft>
                <a:spcPts val="0"/>
              </a:spcAft>
              <a:buClr>
                <a:srgbClr val="000000"/>
              </a:buClr>
              <a:buNone/>
              <a:defRPr/>
            </a:pPr>
            <a:endParaRPr lang="en-US" sz="1451" dirty="0">
              <a:solidFill>
                <a:srgbClr val="404040"/>
              </a:solidFill>
              <a:latin typeface="EYInterstate"/>
            </a:endParaRPr>
          </a:p>
          <a:p>
            <a:pPr marL="0" indent="0" defTabSz="1148930" fontAlgn="auto">
              <a:spcAft>
                <a:spcPts val="0"/>
              </a:spcAft>
              <a:buClr>
                <a:srgbClr val="000000"/>
              </a:buClr>
              <a:buNone/>
              <a:defRPr/>
            </a:pPr>
            <a:endParaRPr lang="en-US" sz="1451" dirty="0">
              <a:solidFill>
                <a:srgbClr val="404040"/>
              </a:solidFill>
              <a:latin typeface="EYInterstate"/>
            </a:endParaRPr>
          </a:p>
          <a:p>
            <a:pPr marL="0" indent="0" defTabSz="1148930" fontAlgn="auto">
              <a:spcAft>
                <a:spcPts val="0"/>
              </a:spcAft>
              <a:buClr>
                <a:srgbClr val="000000"/>
              </a:buClr>
              <a:buNone/>
              <a:defRPr/>
            </a:pPr>
            <a:endParaRPr lang="en-US" sz="1451" dirty="0">
              <a:solidFill>
                <a:srgbClr val="404040"/>
              </a:solidFill>
              <a:latin typeface="EYInterstate"/>
            </a:endParaRPr>
          </a:p>
        </p:txBody>
      </p:sp>
      <p:sp>
        <p:nvSpPr>
          <p:cNvPr id="39" name="Rectangle 38">
            <a:extLst>
              <a:ext uri="{FF2B5EF4-FFF2-40B4-BE49-F238E27FC236}">
                <a16:creationId xmlns:a16="http://schemas.microsoft.com/office/drawing/2014/main" id="{5F7BF4E5-377A-4B44-8B9E-AEF5B95DA893}"/>
              </a:ext>
            </a:extLst>
          </p:cNvPr>
          <p:cNvSpPr/>
          <p:nvPr/>
        </p:nvSpPr>
        <p:spPr>
          <a:xfrm>
            <a:off x="6744317" y="1416702"/>
            <a:ext cx="5080398" cy="538865"/>
          </a:xfrm>
          <a:prstGeom prst="rect">
            <a:avLst/>
          </a:prstGeom>
        </p:spPr>
        <p:txBody>
          <a:bodyPr wrap="square">
            <a:spAutoFit/>
          </a:bodyPr>
          <a:lstStyle/>
          <a:p>
            <a:pPr defTabSz="829361" eaLnBrk="1" hangingPunct="1">
              <a:spcAft>
                <a:spcPct val="50000"/>
              </a:spcAft>
              <a:buClr>
                <a:srgbClr val="FFE600"/>
              </a:buClr>
              <a:buSzPct val="80000"/>
            </a:pPr>
            <a:r>
              <a:rPr lang="en-US" sz="1451" dirty="0">
                <a:solidFill>
                  <a:srgbClr val="00A3AE"/>
                </a:solidFill>
                <a:latin typeface="EYInterstate"/>
                <a:ea typeface="+mn-ea"/>
                <a:cs typeface="+mn-cs"/>
              </a:rPr>
              <a:t>Perform assessment study on AIAT environment on following areas:</a:t>
            </a:r>
          </a:p>
        </p:txBody>
      </p:sp>
      <p:graphicFrame>
        <p:nvGraphicFramePr>
          <p:cNvPr id="40" name="Table 32">
            <a:extLst>
              <a:ext uri="{FF2B5EF4-FFF2-40B4-BE49-F238E27FC236}">
                <a16:creationId xmlns:a16="http://schemas.microsoft.com/office/drawing/2014/main" id="{71A36DBE-2825-4C81-B7DD-DC15DF6110C2}"/>
              </a:ext>
            </a:extLst>
          </p:cNvPr>
          <p:cNvGraphicFramePr>
            <a:graphicFrameLocks noGrp="1"/>
          </p:cNvGraphicFramePr>
          <p:nvPr>
            <p:extLst>
              <p:ext uri="{D42A27DB-BD31-4B8C-83A1-F6EECF244321}">
                <p14:modId xmlns:p14="http://schemas.microsoft.com/office/powerpoint/2010/main" val="3492616667"/>
              </p:ext>
            </p:extLst>
          </p:nvPr>
        </p:nvGraphicFramePr>
        <p:xfrm>
          <a:off x="1361036" y="3044005"/>
          <a:ext cx="4738139" cy="2955579"/>
        </p:xfrm>
        <a:graphic>
          <a:graphicData uri="http://schemas.openxmlformats.org/drawingml/2006/table">
            <a:tbl>
              <a:tblPr firstRow="1" bandRow="1">
                <a:tableStyleId>{2D5ABB26-0587-4C30-8999-92F81FD0307C}</a:tableStyleId>
              </a:tblPr>
              <a:tblGrid>
                <a:gridCol w="4738139">
                  <a:extLst>
                    <a:ext uri="{9D8B030D-6E8A-4147-A177-3AD203B41FA5}">
                      <a16:colId xmlns:a16="http://schemas.microsoft.com/office/drawing/2014/main" val="2051140259"/>
                    </a:ext>
                  </a:extLst>
                </a:gridCol>
              </a:tblGrid>
              <a:tr h="436313">
                <a:tc>
                  <a:txBody>
                    <a:bodyPr/>
                    <a:lstStyle/>
                    <a:p>
                      <a:pPr marL="0" marR="0" lvl="0" indent="0" algn="l" defTabSz="914400" rtl="0" eaLnBrk="1" fontAlgn="auto" latinLnBrk="0" hangingPunct="1">
                        <a:lnSpc>
                          <a:spcPct val="100000"/>
                        </a:lnSpc>
                        <a:spcBef>
                          <a:spcPct val="0"/>
                        </a:spcBef>
                        <a:spcAft>
                          <a:spcPts val="0"/>
                        </a:spcAft>
                        <a:buClr>
                          <a:srgbClr val="000000"/>
                        </a:buClr>
                        <a:buSzPct val="80000"/>
                        <a:buFont typeface="Arial" charset="0"/>
                        <a:buNone/>
                        <a:tabLst/>
                        <a:defRPr/>
                      </a:pPr>
                      <a:r>
                        <a:rPr kumimoji="0" lang="en-US" sz="1500" b="1" i="0" u="none" strike="noStrike" kern="0" cap="none" spc="0" normalizeH="0" baseline="0" dirty="0">
                          <a:ln>
                            <a:noFill/>
                          </a:ln>
                          <a:solidFill>
                            <a:srgbClr val="000000"/>
                          </a:solidFill>
                          <a:effectLst/>
                          <a:uLnTx/>
                          <a:uFillTx/>
                          <a:latin typeface="EYInterstate Light" pitchFamily="2" charset="0"/>
                          <a:ea typeface="+mn-ea"/>
                          <a:cs typeface="+mn-cs"/>
                        </a:rPr>
                        <a:t>Data Platform capability gaps report</a:t>
                      </a:r>
                      <a:endParaRPr kumimoji="0" lang="en-GB" sz="1500" b="0" i="0" u="none" strike="noStrike" kern="0" cap="none" spc="0" normalizeH="0" baseline="0" dirty="0">
                        <a:ln>
                          <a:noFill/>
                        </a:ln>
                        <a:solidFill>
                          <a:srgbClr val="000000"/>
                        </a:solidFill>
                        <a:effectLst/>
                        <a:uLnTx/>
                        <a:uFillTx/>
                        <a:latin typeface="EYInterstate Light" pitchFamily="2" charset="0"/>
                        <a:ea typeface="+mn-ea"/>
                        <a:cs typeface="+mn-cs"/>
                      </a:endParaRPr>
                    </a:p>
                  </a:txBody>
                  <a:tcPr marL="82935" marR="82935" marT="41468" marB="41468"/>
                </a:tc>
                <a:extLst>
                  <a:ext uri="{0D108BD9-81ED-4DB2-BD59-A6C34878D82A}">
                    <a16:rowId xmlns:a16="http://schemas.microsoft.com/office/drawing/2014/main" val="192842777"/>
                  </a:ext>
                </a:extLst>
              </a:tr>
              <a:tr h="690466">
                <a:tc>
                  <a:txBody>
                    <a:bodyPr/>
                    <a:lstStyle/>
                    <a:p>
                      <a:pPr marL="0" marR="0" lvl="0" indent="0" algn="l" defTabSz="914400" rtl="0" eaLnBrk="1" fontAlgn="auto" latinLnBrk="0" hangingPunct="1">
                        <a:lnSpc>
                          <a:spcPct val="100000"/>
                        </a:lnSpc>
                        <a:spcBef>
                          <a:spcPct val="0"/>
                        </a:spcBef>
                        <a:spcAft>
                          <a:spcPts val="0"/>
                        </a:spcAft>
                        <a:buClr>
                          <a:srgbClr val="000000"/>
                        </a:buClr>
                        <a:buSzPct val="80000"/>
                        <a:buFont typeface="Arial" charset="0"/>
                        <a:buNone/>
                        <a:tabLst/>
                        <a:defRPr/>
                      </a:pPr>
                      <a:r>
                        <a:rPr kumimoji="0" lang="en-US" sz="1500" b="1" i="0" u="none" strike="noStrike" kern="0" cap="none" spc="0" normalizeH="0" baseline="0" dirty="0">
                          <a:ln>
                            <a:noFill/>
                          </a:ln>
                          <a:solidFill>
                            <a:srgbClr val="000000"/>
                          </a:solidFill>
                          <a:effectLst/>
                          <a:uLnTx/>
                          <a:uFillTx/>
                          <a:latin typeface="EYInterstate Light" pitchFamily="2" charset="0"/>
                          <a:ea typeface="+mn-ea"/>
                          <a:cs typeface="+mn-cs"/>
                        </a:rPr>
                        <a:t>Data related use cases identification &amp; prioritization report</a:t>
                      </a:r>
                    </a:p>
                  </a:txBody>
                  <a:tcPr marL="82935" marR="82935" marT="41468" marB="41468"/>
                </a:tc>
                <a:extLst>
                  <a:ext uri="{0D108BD9-81ED-4DB2-BD59-A6C34878D82A}">
                    <a16:rowId xmlns:a16="http://schemas.microsoft.com/office/drawing/2014/main" val="4049653501"/>
                  </a:ext>
                </a:extLst>
              </a:tr>
              <a:tr h="671804">
                <a:tc>
                  <a:txBody>
                    <a:bodyPr/>
                    <a:lstStyle/>
                    <a:p>
                      <a:pPr marL="0" marR="0" lvl="0" indent="0" algn="l" defTabSz="914400" rtl="0" eaLnBrk="1" fontAlgn="auto" latinLnBrk="0" hangingPunct="1">
                        <a:lnSpc>
                          <a:spcPct val="100000"/>
                        </a:lnSpc>
                        <a:spcBef>
                          <a:spcPct val="0"/>
                        </a:spcBef>
                        <a:spcAft>
                          <a:spcPts val="0"/>
                        </a:spcAft>
                        <a:buClr>
                          <a:srgbClr val="000000"/>
                        </a:buClr>
                        <a:buSzPct val="80000"/>
                        <a:buFont typeface="Arial" charset="0"/>
                        <a:buNone/>
                        <a:tabLst/>
                        <a:defRPr/>
                      </a:pPr>
                      <a:r>
                        <a:rPr kumimoji="0" lang="en-US" sz="1500" b="1" i="0" u="none" strike="noStrike" kern="0" cap="none" spc="0" normalizeH="0" baseline="0" dirty="0">
                          <a:ln>
                            <a:noFill/>
                          </a:ln>
                          <a:solidFill>
                            <a:srgbClr val="000000"/>
                          </a:solidFill>
                          <a:effectLst/>
                          <a:uLnTx/>
                          <a:uFillTx/>
                          <a:latin typeface="EYInterstate Light" pitchFamily="2" charset="0"/>
                          <a:ea typeface="+mn-ea"/>
                          <a:cs typeface="+mn-cs"/>
                        </a:rPr>
                        <a:t>High Level Data Platform Architecture Design including Azure’s module &amp; implementation cost</a:t>
                      </a:r>
                      <a:endParaRPr kumimoji="0" lang="en-GB" sz="1500" b="1" i="0" u="none" strike="noStrike" kern="0" cap="none" spc="0" normalizeH="0" baseline="0" dirty="0">
                        <a:ln>
                          <a:noFill/>
                        </a:ln>
                        <a:solidFill>
                          <a:srgbClr val="000000"/>
                        </a:solidFill>
                        <a:effectLst/>
                        <a:uLnTx/>
                        <a:uFillTx/>
                        <a:latin typeface="EYInterstate Light" pitchFamily="2" charset="0"/>
                        <a:ea typeface="+mn-ea"/>
                        <a:cs typeface="+mn-cs"/>
                      </a:endParaRPr>
                    </a:p>
                  </a:txBody>
                  <a:tcPr marL="82935" marR="82935" marT="41468" marB="41468"/>
                </a:tc>
                <a:extLst>
                  <a:ext uri="{0D108BD9-81ED-4DB2-BD59-A6C34878D82A}">
                    <a16:rowId xmlns:a16="http://schemas.microsoft.com/office/drawing/2014/main" val="185935989"/>
                  </a:ext>
                </a:extLst>
              </a:tr>
              <a:tr h="662473">
                <a:tc>
                  <a:txBody>
                    <a:bodyPr/>
                    <a:lstStyle/>
                    <a:p>
                      <a:pPr marL="0" marR="0" lvl="0" indent="0" algn="l" defTabSz="914400" rtl="0" eaLnBrk="1" fontAlgn="auto" latinLnBrk="0" hangingPunct="1">
                        <a:lnSpc>
                          <a:spcPct val="100000"/>
                        </a:lnSpc>
                        <a:spcBef>
                          <a:spcPct val="0"/>
                        </a:spcBef>
                        <a:spcAft>
                          <a:spcPts val="0"/>
                        </a:spcAft>
                        <a:buClr>
                          <a:srgbClr val="000000"/>
                        </a:buClr>
                        <a:buSzPct val="80000"/>
                        <a:buFont typeface="Arial" charset="0"/>
                        <a:buNone/>
                        <a:tabLst/>
                        <a:defRPr/>
                      </a:pPr>
                      <a:r>
                        <a:rPr kumimoji="0" lang="en-US" sz="1500" b="1" i="0" u="none" strike="noStrike" kern="0" cap="none" spc="0" normalizeH="0" baseline="0" dirty="0">
                          <a:ln>
                            <a:noFill/>
                          </a:ln>
                          <a:solidFill>
                            <a:srgbClr val="000000"/>
                          </a:solidFill>
                          <a:effectLst/>
                          <a:uLnTx/>
                          <a:uFillTx/>
                          <a:latin typeface="EYInterstate Light" pitchFamily="2" charset="0"/>
                          <a:ea typeface="+mn-ea"/>
                          <a:cs typeface="+mn-cs"/>
                        </a:rPr>
                        <a:t>Data platform high-level organization and operation model</a:t>
                      </a:r>
                      <a:endParaRPr kumimoji="0" lang="en-GB" sz="1500" b="1" i="0" u="none" strike="noStrike" kern="0" cap="none" spc="0" normalizeH="0" baseline="0" dirty="0">
                        <a:ln>
                          <a:noFill/>
                        </a:ln>
                        <a:solidFill>
                          <a:srgbClr val="000000"/>
                        </a:solidFill>
                        <a:effectLst/>
                        <a:uLnTx/>
                        <a:uFillTx/>
                        <a:latin typeface="EYInterstate Light" pitchFamily="2" charset="0"/>
                        <a:ea typeface="+mn-ea"/>
                        <a:cs typeface="+mn-cs"/>
                      </a:endParaRPr>
                    </a:p>
                  </a:txBody>
                  <a:tcPr marL="82935" marR="82935" marT="41468" marB="41468"/>
                </a:tc>
                <a:extLst>
                  <a:ext uri="{0D108BD9-81ED-4DB2-BD59-A6C34878D82A}">
                    <a16:rowId xmlns:a16="http://schemas.microsoft.com/office/drawing/2014/main" val="2958435733"/>
                  </a:ext>
                </a:extLst>
              </a:tr>
              <a:tr h="494523">
                <a:tc>
                  <a:txBody>
                    <a:bodyPr/>
                    <a:lstStyle/>
                    <a:p>
                      <a:pPr marL="0" marR="0" lvl="0" indent="0" algn="l" defTabSz="914400" rtl="0" eaLnBrk="1" fontAlgn="auto" latinLnBrk="0" hangingPunct="1">
                        <a:lnSpc>
                          <a:spcPct val="100000"/>
                        </a:lnSpc>
                        <a:spcBef>
                          <a:spcPct val="0"/>
                        </a:spcBef>
                        <a:spcAft>
                          <a:spcPts val="0"/>
                        </a:spcAft>
                        <a:buClr>
                          <a:srgbClr val="000000"/>
                        </a:buClr>
                        <a:buSzPct val="80000"/>
                        <a:buFont typeface="Arial" charset="0"/>
                        <a:buNone/>
                        <a:tabLst/>
                        <a:defRPr/>
                      </a:pPr>
                      <a:r>
                        <a:rPr kumimoji="0" lang="en-US" sz="1500" b="1" i="0" u="none" strike="noStrike" kern="0" cap="none" spc="0" normalizeH="0" baseline="0" dirty="0">
                          <a:ln>
                            <a:noFill/>
                          </a:ln>
                          <a:solidFill>
                            <a:srgbClr val="000000"/>
                          </a:solidFill>
                          <a:effectLst/>
                          <a:uLnTx/>
                          <a:uFillTx/>
                          <a:latin typeface="EYInterstate Light" pitchFamily="2" charset="0"/>
                          <a:ea typeface="+mn-ea"/>
                          <a:cs typeface="+mn-cs"/>
                        </a:rPr>
                        <a:t>Strategic IT Roadmap for Data platform area</a:t>
                      </a:r>
                      <a:endParaRPr kumimoji="0" lang="en-GB" sz="1500" b="1" i="0" u="none" strike="noStrike" kern="0" cap="none" spc="0" normalizeH="0" baseline="0" dirty="0">
                        <a:ln>
                          <a:noFill/>
                        </a:ln>
                        <a:solidFill>
                          <a:srgbClr val="000000"/>
                        </a:solidFill>
                        <a:effectLst/>
                        <a:uLnTx/>
                        <a:uFillTx/>
                        <a:latin typeface="EYInterstate Light" pitchFamily="2" charset="0"/>
                        <a:ea typeface="+mn-ea"/>
                        <a:cs typeface="+mn-cs"/>
                      </a:endParaRPr>
                    </a:p>
                  </a:txBody>
                  <a:tcPr marL="82935" marR="82935" marT="41468" marB="41468"/>
                </a:tc>
                <a:extLst>
                  <a:ext uri="{0D108BD9-81ED-4DB2-BD59-A6C34878D82A}">
                    <a16:rowId xmlns:a16="http://schemas.microsoft.com/office/drawing/2014/main" val="3096742799"/>
                  </a:ext>
                </a:extLst>
              </a:tr>
            </a:tbl>
          </a:graphicData>
        </a:graphic>
      </p:graphicFrame>
      <p:pic>
        <p:nvPicPr>
          <p:cNvPr id="42" name="Picture 41">
            <a:extLst>
              <a:ext uri="{FF2B5EF4-FFF2-40B4-BE49-F238E27FC236}">
                <a16:creationId xmlns:a16="http://schemas.microsoft.com/office/drawing/2014/main" id="{CFD7D535-ACDF-4251-8DB8-CC4370E63AA6}"/>
              </a:ext>
            </a:extLst>
          </p:cNvPr>
          <p:cNvPicPr>
            <a:picLocks noChangeAspect="1"/>
          </p:cNvPicPr>
          <p:nvPr/>
        </p:nvPicPr>
        <p:blipFill rotWithShape="1">
          <a:blip r:embed="rId8">
            <a:duotone>
              <a:schemeClr val="accent5">
                <a:shade val="45000"/>
                <a:satMod val="135000"/>
              </a:schemeClr>
              <a:prstClr val="white"/>
            </a:duotone>
          </a:blip>
          <a:srcRect l="33408" t="11657" r="58292" b="69965"/>
          <a:stretch/>
        </p:blipFill>
        <p:spPr>
          <a:xfrm>
            <a:off x="948328" y="3576730"/>
            <a:ext cx="416373" cy="413555"/>
          </a:xfrm>
          <a:prstGeom prst="rect">
            <a:avLst/>
          </a:prstGeom>
        </p:spPr>
      </p:pic>
      <p:pic>
        <p:nvPicPr>
          <p:cNvPr id="44" name="Picture 43">
            <a:extLst>
              <a:ext uri="{FF2B5EF4-FFF2-40B4-BE49-F238E27FC236}">
                <a16:creationId xmlns:a16="http://schemas.microsoft.com/office/drawing/2014/main" id="{8680E783-4CA7-4692-A5AC-BB45A0C97873}"/>
              </a:ext>
            </a:extLst>
          </p:cNvPr>
          <p:cNvPicPr>
            <a:picLocks noChangeAspect="1"/>
          </p:cNvPicPr>
          <p:nvPr/>
        </p:nvPicPr>
        <p:blipFill rotWithShape="1">
          <a:blip r:embed="rId8">
            <a:duotone>
              <a:schemeClr val="accent5">
                <a:shade val="45000"/>
                <a:satMod val="135000"/>
              </a:schemeClr>
              <a:prstClr val="white"/>
            </a:duotone>
          </a:blip>
          <a:srcRect l="85006" t="11329" r="8874" b="69110"/>
          <a:stretch/>
        </p:blipFill>
        <p:spPr>
          <a:xfrm>
            <a:off x="1012203" y="3028666"/>
            <a:ext cx="295963" cy="424374"/>
          </a:xfrm>
          <a:prstGeom prst="rect">
            <a:avLst/>
          </a:prstGeom>
        </p:spPr>
      </p:pic>
      <p:graphicFrame>
        <p:nvGraphicFramePr>
          <p:cNvPr id="45" name="Table 32">
            <a:extLst>
              <a:ext uri="{FF2B5EF4-FFF2-40B4-BE49-F238E27FC236}">
                <a16:creationId xmlns:a16="http://schemas.microsoft.com/office/drawing/2014/main" id="{A8AEE12D-99C1-4DE0-89C8-3F9AFD93A265}"/>
              </a:ext>
            </a:extLst>
          </p:cNvPr>
          <p:cNvGraphicFramePr>
            <a:graphicFrameLocks noGrp="1"/>
          </p:cNvGraphicFramePr>
          <p:nvPr>
            <p:extLst>
              <p:ext uri="{D42A27DB-BD31-4B8C-83A1-F6EECF244321}">
                <p14:modId xmlns:p14="http://schemas.microsoft.com/office/powerpoint/2010/main" val="4167299095"/>
              </p:ext>
            </p:extLst>
          </p:nvPr>
        </p:nvGraphicFramePr>
        <p:xfrm>
          <a:off x="7400826" y="2020382"/>
          <a:ext cx="4423890" cy="4105498"/>
        </p:xfrm>
        <a:graphic>
          <a:graphicData uri="http://schemas.openxmlformats.org/drawingml/2006/table">
            <a:tbl>
              <a:tblPr firstRow="1" bandRow="1">
                <a:tableStyleId>{2D5ABB26-0587-4C30-8999-92F81FD0307C}</a:tableStyleId>
              </a:tblPr>
              <a:tblGrid>
                <a:gridCol w="4423890">
                  <a:extLst>
                    <a:ext uri="{9D8B030D-6E8A-4147-A177-3AD203B41FA5}">
                      <a16:colId xmlns:a16="http://schemas.microsoft.com/office/drawing/2014/main" val="2051140259"/>
                    </a:ext>
                  </a:extLst>
                </a:gridCol>
              </a:tblGrid>
              <a:tr h="526875">
                <a:tc>
                  <a:txBody>
                    <a:bodyPr/>
                    <a:lstStyle/>
                    <a:p>
                      <a:pPr marL="0" marR="0" lvl="0" indent="0" algn="l" defTabSz="914400" rtl="0" eaLnBrk="1" fontAlgn="base" latinLnBrk="0" hangingPunct="1">
                        <a:lnSpc>
                          <a:spcPct val="100000"/>
                        </a:lnSpc>
                        <a:spcBef>
                          <a:spcPts val="0"/>
                        </a:spcBef>
                        <a:spcAft>
                          <a:spcPts val="1800"/>
                        </a:spcAft>
                        <a:buClr>
                          <a:srgbClr val="646464"/>
                        </a:buClr>
                        <a:buSzPct val="110000"/>
                        <a:buFont typeface="Arial" charset="0"/>
                        <a:buNone/>
                        <a:tabLst/>
                        <a:defRPr/>
                      </a:pPr>
                      <a:r>
                        <a:rPr lang="en-US" sz="1200" b="0" u="none" kern="1200" noProof="0" dirty="0">
                          <a:solidFill>
                            <a:schemeClr val="tx1"/>
                          </a:solidFill>
                          <a:latin typeface="EYInterstate Light" panose="02000506000000020004" pitchFamily="2" charset="0"/>
                          <a:ea typeface="+mn-ea"/>
                          <a:cs typeface="+mn-cs"/>
                        </a:rPr>
                        <a:t>As-is assessment of existing data platform architecture current Group IT / AIAT Roadmap Standard </a:t>
                      </a:r>
                    </a:p>
                  </a:txBody>
                  <a:tcPr marL="82935" marR="82935" marT="41468" marB="41468"/>
                </a:tc>
                <a:extLst>
                  <a:ext uri="{0D108BD9-81ED-4DB2-BD59-A6C34878D82A}">
                    <a16:rowId xmlns:a16="http://schemas.microsoft.com/office/drawing/2014/main" val="2383409161"/>
                  </a:ext>
                </a:extLst>
              </a:tr>
              <a:tr h="569167">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200" b="0" u="none" dirty="0">
                          <a:solidFill>
                            <a:schemeClr val="tx1"/>
                          </a:solidFill>
                          <a:latin typeface="EYInterstate Light" panose="02000506000000020004" pitchFamily="2" charset="0"/>
                        </a:rPr>
                        <a:t>Identification &amp; prioritization of data platform related use cases leveraging the target data platform</a:t>
                      </a:r>
                    </a:p>
                  </a:txBody>
                  <a:tcPr marL="82935" marR="82935" marT="41468" marB="41468"/>
                </a:tc>
                <a:extLst>
                  <a:ext uri="{0D108BD9-81ED-4DB2-BD59-A6C34878D82A}">
                    <a16:rowId xmlns:a16="http://schemas.microsoft.com/office/drawing/2014/main" val="192842777"/>
                  </a:ext>
                </a:extLst>
              </a:tr>
              <a:tr h="541176">
                <a:tc>
                  <a:txBody>
                    <a:bodyPr/>
                    <a:lstStyle/>
                    <a:p>
                      <a:pPr marL="0" marR="0" lvl="0" indent="0" algn="l" defTabSz="914400" rtl="0" eaLnBrk="1" fontAlgn="auto" latinLnBrk="0" hangingPunct="1">
                        <a:lnSpc>
                          <a:spcPct val="100000"/>
                        </a:lnSpc>
                        <a:spcBef>
                          <a:spcPct val="0"/>
                        </a:spcBef>
                        <a:spcAft>
                          <a:spcPts val="0"/>
                        </a:spcAft>
                        <a:buClr>
                          <a:srgbClr val="000000"/>
                        </a:buClr>
                        <a:buSzPct val="80000"/>
                        <a:buFont typeface="Arial" charset="0"/>
                        <a:buNone/>
                        <a:tabLst/>
                        <a:defRPr/>
                      </a:pPr>
                      <a:r>
                        <a:rPr kumimoji="0" lang="en-US" sz="1200" b="0" i="0" u="none" strike="noStrike" kern="0" cap="none" spc="0" normalizeH="0" baseline="0" dirty="0">
                          <a:ln>
                            <a:noFill/>
                          </a:ln>
                          <a:solidFill>
                            <a:srgbClr val="000000"/>
                          </a:solidFill>
                          <a:effectLst/>
                          <a:uLnTx/>
                          <a:uFillTx/>
                          <a:latin typeface="EYInterstate Light" pitchFamily="2" charset="0"/>
                          <a:ea typeface="+mn-ea"/>
                          <a:cs typeface="+mn-cs"/>
                        </a:rPr>
                        <a:t>Providing target architecture of data platform, &amp; platform integration with related systems</a:t>
                      </a:r>
                    </a:p>
                  </a:txBody>
                  <a:tcPr marL="82935" marR="82935" marT="41468" marB="41468"/>
                </a:tc>
                <a:extLst>
                  <a:ext uri="{0D108BD9-81ED-4DB2-BD59-A6C34878D82A}">
                    <a16:rowId xmlns:a16="http://schemas.microsoft.com/office/drawing/2014/main" val="4049653501"/>
                  </a:ext>
                </a:extLst>
              </a:tr>
              <a:tr h="503853">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EYInterstate Light" panose="02000506000000020004" pitchFamily="2" charset="0"/>
                        </a:rPr>
                        <a:t>Providing recommendation on Data Science Lab -VM vs the Azure ML</a:t>
                      </a:r>
                    </a:p>
                  </a:txBody>
                  <a:tcPr marL="82935" marR="82935" marT="41468" marB="41468">
                    <a:noFill/>
                  </a:tcPr>
                </a:tc>
                <a:extLst>
                  <a:ext uri="{0D108BD9-81ED-4DB2-BD59-A6C34878D82A}">
                    <a16:rowId xmlns:a16="http://schemas.microsoft.com/office/drawing/2014/main" val="3590269456"/>
                  </a:ext>
                </a:extLst>
              </a:tr>
              <a:tr h="541176">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200" kern="0" dirty="0">
                          <a:latin typeface="EYInterstate Light" panose="02000506000000020004" pitchFamily="2" charset="0"/>
                        </a:rPr>
                        <a:t>Estimation of cost &amp; resources to build &amp; maintain the data platform</a:t>
                      </a:r>
                    </a:p>
                  </a:txBody>
                  <a:tcPr marL="82935" marR="82935" marT="41468" marB="41468"/>
                </a:tc>
                <a:extLst>
                  <a:ext uri="{0D108BD9-81ED-4DB2-BD59-A6C34878D82A}">
                    <a16:rowId xmlns:a16="http://schemas.microsoft.com/office/drawing/2014/main" val="2422221778"/>
                  </a:ext>
                </a:extLst>
              </a:tr>
              <a:tr h="559836">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200" kern="0" dirty="0">
                          <a:latin typeface="EYInterstate Light" panose="02000506000000020004" pitchFamily="2" charset="0"/>
                        </a:rPr>
                        <a:t>Providing recommendation on Data platform high-level organization and operation model</a:t>
                      </a:r>
                    </a:p>
                  </a:txBody>
                  <a:tcPr marL="82935" marR="82935" marT="41468" marB="41468"/>
                </a:tc>
                <a:extLst>
                  <a:ext uri="{0D108BD9-81ED-4DB2-BD59-A6C34878D82A}">
                    <a16:rowId xmlns:a16="http://schemas.microsoft.com/office/drawing/2014/main" val="2223736161"/>
                  </a:ext>
                </a:extLst>
              </a:tr>
              <a:tr h="863415">
                <a:tc>
                  <a:txBody>
                    <a:bodyPr/>
                    <a:lstStyle/>
                    <a:p>
                      <a:pPr marL="0" marR="0" lvl="0" indent="0" algn="l" defTabSz="1266737" rtl="0" eaLnBrk="1" fontAlgn="auto" latinLnBrk="0" hangingPunct="1">
                        <a:lnSpc>
                          <a:spcPct val="100000"/>
                        </a:lnSpc>
                        <a:spcBef>
                          <a:spcPts val="0"/>
                        </a:spcBef>
                        <a:spcAft>
                          <a:spcPts val="0"/>
                        </a:spcAft>
                        <a:buClrTx/>
                        <a:buSzTx/>
                        <a:buFontTx/>
                        <a:buNone/>
                        <a:tabLst/>
                        <a:defRPr/>
                      </a:pPr>
                      <a:r>
                        <a:rPr lang="en-US" sz="1200" kern="0" dirty="0">
                          <a:latin typeface="EYInterstate Light" panose="02000506000000020004" pitchFamily="2" charset="0"/>
                        </a:rPr>
                        <a:t>Providing roadmap to achieve the target platform and implement use cases altogether with the dependency across TDA projects i.e. Cloud Migration Platform</a:t>
                      </a:r>
                    </a:p>
                  </a:txBody>
                  <a:tcPr marL="82935" marR="82935" marT="41468" marB="41468"/>
                </a:tc>
                <a:extLst>
                  <a:ext uri="{0D108BD9-81ED-4DB2-BD59-A6C34878D82A}">
                    <a16:rowId xmlns:a16="http://schemas.microsoft.com/office/drawing/2014/main" val="2823233862"/>
                  </a:ext>
                </a:extLst>
              </a:tr>
            </a:tbl>
          </a:graphicData>
        </a:graphic>
      </p:graphicFrame>
      <p:grpSp>
        <p:nvGrpSpPr>
          <p:cNvPr id="46" name="Group 21">
            <a:extLst>
              <a:ext uri="{FF2B5EF4-FFF2-40B4-BE49-F238E27FC236}">
                <a16:creationId xmlns:a16="http://schemas.microsoft.com/office/drawing/2014/main" id="{147B21B1-0FFF-47C4-B790-AB3A61DDBE5D}"/>
              </a:ext>
            </a:extLst>
          </p:cNvPr>
          <p:cNvGrpSpPr>
            <a:grpSpLocks noChangeAspect="1"/>
          </p:cNvGrpSpPr>
          <p:nvPr/>
        </p:nvGrpSpPr>
        <p:grpSpPr bwMode="auto">
          <a:xfrm>
            <a:off x="6845266" y="2148802"/>
            <a:ext cx="362446" cy="361509"/>
            <a:chOff x="1842" y="891"/>
            <a:chExt cx="774" cy="772"/>
          </a:xfrm>
          <a:solidFill>
            <a:schemeClr val="accent5"/>
          </a:solidFill>
        </p:grpSpPr>
        <p:sp>
          <p:nvSpPr>
            <p:cNvPr id="47" name="Freeform 22">
              <a:extLst>
                <a:ext uri="{FF2B5EF4-FFF2-40B4-BE49-F238E27FC236}">
                  <a16:creationId xmlns:a16="http://schemas.microsoft.com/office/drawing/2014/main" id="{3D528A45-596F-4676-B3A4-17861FAEE2C1}"/>
                </a:ext>
              </a:extLst>
            </p:cNvPr>
            <p:cNvSpPr>
              <a:spLocks noEditPoints="1"/>
            </p:cNvSpPr>
            <p:nvPr/>
          </p:nvSpPr>
          <p:spPr bwMode="auto">
            <a:xfrm>
              <a:off x="2282" y="1175"/>
              <a:ext cx="260" cy="258"/>
            </a:xfrm>
            <a:custGeom>
              <a:avLst/>
              <a:gdLst>
                <a:gd name="T0" fmla="*/ 130 w 260"/>
                <a:gd name="T1" fmla="*/ 258 h 258"/>
                <a:gd name="T2" fmla="*/ 104 w 260"/>
                <a:gd name="T3" fmla="*/ 256 h 258"/>
                <a:gd name="T4" fmla="*/ 80 w 260"/>
                <a:gd name="T5" fmla="*/ 248 h 258"/>
                <a:gd name="T6" fmla="*/ 58 w 260"/>
                <a:gd name="T7" fmla="*/ 236 h 258"/>
                <a:gd name="T8" fmla="*/ 22 w 260"/>
                <a:gd name="T9" fmla="*/ 202 h 258"/>
                <a:gd name="T10" fmla="*/ 12 w 260"/>
                <a:gd name="T11" fmla="*/ 180 h 258"/>
                <a:gd name="T12" fmla="*/ 4 w 260"/>
                <a:gd name="T13" fmla="*/ 156 h 258"/>
                <a:gd name="T14" fmla="*/ 0 w 260"/>
                <a:gd name="T15" fmla="*/ 130 h 258"/>
                <a:gd name="T16" fmla="*/ 2 w 260"/>
                <a:gd name="T17" fmla="*/ 116 h 258"/>
                <a:gd name="T18" fmla="*/ 6 w 260"/>
                <a:gd name="T19" fmla="*/ 92 h 258"/>
                <a:gd name="T20" fmla="*/ 16 w 260"/>
                <a:gd name="T21" fmla="*/ 68 h 258"/>
                <a:gd name="T22" fmla="*/ 38 w 260"/>
                <a:gd name="T23" fmla="*/ 38 h 258"/>
                <a:gd name="T24" fmla="*/ 68 w 260"/>
                <a:gd name="T25" fmla="*/ 16 h 258"/>
                <a:gd name="T26" fmla="*/ 92 w 260"/>
                <a:gd name="T27" fmla="*/ 6 h 258"/>
                <a:gd name="T28" fmla="*/ 116 w 260"/>
                <a:gd name="T29" fmla="*/ 2 h 258"/>
                <a:gd name="T30" fmla="*/ 130 w 260"/>
                <a:gd name="T31" fmla="*/ 0 h 258"/>
                <a:gd name="T32" fmla="*/ 156 w 260"/>
                <a:gd name="T33" fmla="*/ 4 h 258"/>
                <a:gd name="T34" fmla="*/ 180 w 260"/>
                <a:gd name="T35" fmla="*/ 10 h 258"/>
                <a:gd name="T36" fmla="*/ 202 w 260"/>
                <a:gd name="T37" fmla="*/ 22 h 258"/>
                <a:gd name="T38" fmla="*/ 236 w 260"/>
                <a:gd name="T39" fmla="*/ 58 h 258"/>
                <a:gd name="T40" fmla="*/ 248 w 260"/>
                <a:gd name="T41" fmla="*/ 80 h 258"/>
                <a:gd name="T42" fmla="*/ 256 w 260"/>
                <a:gd name="T43" fmla="*/ 104 h 258"/>
                <a:gd name="T44" fmla="*/ 260 w 260"/>
                <a:gd name="T45" fmla="*/ 130 h 258"/>
                <a:gd name="T46" fmla="*/ 258 w 260"/>
                <a:gd name="T47" fmla="*/ 142 h 258"/>
                <a:gd name="T48" fmla="*/ 254 w 260"/>
                <a:gd name="T49" fmla="*/ 168 h 258"/>
                <a:gd name="T50" fmla="*/ 244 w 260"/>
                <a:gd name="T51" fmla="*/ 190 h 258"/>
                <a:gd name="T52" fmla="*/ 222 w 260"/>
                <a:gd name="T53" fmla="*/ 220 h 258"/>
                <a:gd name="T54" fmla="*/ 192 w 260"/>
                <a:gd name="T55" fmla="*/ 242 h 258"/>
                <a:gd name="T56" fmla="*/ 168 w 260"/>
                <a:gd name="T57" fmla="*/ 252 h 258"/>
                <a:gd name="T58" fmla="*/ 144 w 260"/>
                <a:gd name="T59" fmla="*/ 258 h 258"/>
                <a:gd name="T60" fmla="*/ 130 w 260"/>
                <a:gd name="T61" fmla="*/ 258 h 258"/>
                <a:gd name="T62" fmla="*/ 130 w 260"/>
                <a:gd name="T63" fmla="*/ 18 h 258"/>
                <a:gd name="T64" fmla="*/ 86 w 260"/>
                <a:gd name="T65" fmla="*/ 28 h 258"/>
                <a:gd name="T66" fmla="*/ 52 w 260"/>
                <a:gd name="T67" fmla="*/ 50 h 258"/>
                <a:gd name="T68" fmla="*/ 28 w 260"/>
                <a:gd name="T69" fmla="*/ 86 h 258"/>
                <a:gd name="T70" fmla="*/ 18 w 260"/>
                <a:gd name="T71" fmla="*/ 130 h 258"/>
                <a:gd name="T72" fmla="*/ 22 w 260"/>
                <a:gd name="T73" fmla="*/ 152 h 258"/>
                <a:gd name="T74" fmla="*/ 38 w 260"/>
                <a:gd name="T75" fmla="*/ 192 h 258"/>
                <a:gd name="T76" fmla="*/ 68 w 260"/>
                <a:gd name="T77" fmla="*/ 222 h 258"/>
                <a:gd name="T78" fmla="*/ 108 w 260"/>
                <a:gd name="T79" fmla="*/ 238 h 258"/>
                <a:gd name="T80" fmla="*/ 130 w 260"/>
                <a:gd name="T81" fmla="*/ 240 h 258"/>
                <a:gd name="T82" fmla="*/ 174 w 260"/>
                <a:gd name="T83" fmla="*/ 232 h 258"/>
                <a:gd name="T84" fmla="*/ 208 w 260"/>
                <a:gd name="T85" fmla="*/ 208 h 258"/>
                <a:gd name="T86" fmla="*/ 232 w 260"/>
                <a:gd name="T87" fmla="*/ 172 h 258"/>
                <a:gd name="T88" fmla="*/ 242 w 260"/>
                <a:gd name="T89" fmla="*/ 130 h 258"/>
                <a:gd name="T90" fmla="*/ 238 w 260"/>
                <a:gd name="T91" fmla="*/ 108 h 258"/>
                <a:gd name="T92" fmla="*/ 222 w 260"/>
                <a:gd name="T93" fmla="*/ 68 h 258"/>
                <a:gd name="T94" fmla="*/ 192 w 260"/>
                <a:gd name="T95" fmla="*/ 38 h 258"/>
                <a:gd name="T96" fmla="*/ 152 w 260"/>
                <a:gd name="T97" fmla="*/ 20 h 258"/>
                <a:gd name="T98" fmla="*/ 130 w 260"/>
                <a:gd name="T99"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58">
                  <a:moveTo>
                    <a:pt x="130" y="258"/>
                  </a:moveTo>
                  <a:lnTo>
                    <a:pt x="130" y="258"/>
                  </a:lnTo>
                  <a:lnTo>
                    <a:pt x="116" y="258"/>
                  </a:lnTo>
                  <a:lnTo>
                    <a:pt x="104" y="256"/>
                  </a:lnTo>
                  <a:lnTo>
                    <a:pt x="92" y="252"/>
                  </a:lnTo>
                  <a:lnTo>
                    <a:pt x="80" y="248"/>
                  </a:lnTo>
                  <a:lnTo>
                    <a:pt x="68" y="242"/>
                  </a:lnTo>
                  <a:lnTo>
                    <a:pt x="58" y="236"/>
                  </a:lnTo>
                  <a:lnTo>
                    <a:pt x="38" y="220"/>
                  </a:lnTo>
                  <a:lnTo>
                    <a:pt x="22" y="202"/>
                  </a:lnTo>
                  <a:lnTo>
                    <a:pt x="16" y="190"/>
                  </a:lnTo>
                  <a:lnTo>
                    <a:pt x="12" y="180"/>
                  </a:lnTo>
                  <a:lnTo>
                    <a:pt x="6" y="168"/>
                  </a:lnTo>
                  <a:lnTo>
                    <a:pt x="4" y="156"/>
                  </a:lnTo>
                  <a:lnTo>
                    <a:pt x="2" y="142"/>
                  </a:lnTo>
                  <a:lnTo>
                    <a:pt x="0" y="130"/>
                  </a:lnTo>
                  <a:lnTo>
                    <a:pt x="0" y="130"/>
                  </a:lnTo>
                  <a:lnTo>
                    <a:pt x="2" y="116"/>
                  </a:lnTo>
                  <a:lnTo>
                    <a:pt x="4" y="104"/>
                  </a:lnTo>
                  <a:lnTo>
                    <a:pt x="6" y="92"/>
                  </a:lnTo>
                  <a:lnTo>
                    <a:pt x="12" y="80"/>
                  </a:lnTo>
                  <a:lnTo>
                    <a:pt x="16" y="68"/>
                  </a:lnTo>
                  <a:lnTo>
                    <a:pt x="22" y="58"/>
                  </a:lnTo>
                  <a:lnTo>
                    <a:pt x="38" y="38"/>
                  </a:lnTo>
                  <a:lnTo>
                    <a:pt x="58" y="22"/>
                  </a:lnTo>
                  <a:lnTo>
                    <a:pt x="68" y="16"/>
                  </a:lnTo>
                  <a:lnTo>
                    <a:pt x="80" y="10"/>
                  </a:lnTo>
                  <a:lnTo>
                    <a:pt x="92" y="6"/>
                  </a:lnTo>
                  <a:lnTo>
                    <a:pt x="104" y="4"/>
                  </a:lnTo>
                  <a:lnTo>
                    <a:pt x="116" y="2"/>
                  </a:lnTo>
                  <a:lnTo>
                    <a:pt x="130" y="0"/>
                  </a:lnTo>
                  <a:lnTo>
                    <a:pt x="130" y="0"/>
                  </a:lnTo>
                  <a:lnTo>
                    <a:pt x="144" y="2"/>
                  </a:lnTo>
                  <a:lnTo>
                    <a:pt x="156" y="4"/>
                  </a:lnTo>
                  <a:lnTo>
                    <a:pt x="168" y="6"/>
                  </a:lnTo>
                  <a:lnTo>
                    <a:pt x="180" y="10"/>
                  </a:lnTo>
                  <a:lnTo>
                    <a:pt x="192" y="16"/>
                  </a:lnTo>
                  <a:lnTo>
                    <a:pt x="202" y="22"/>
                  </a:lnTo>
                  <a:lnTo>
                    <a:pt x="222" y="38"/>
                  </a:lnTo>
                  <a:lnTo>
                    <a:pt x="236" y="58"/>
                  </a:lnTo>
                  <a:lnTo>
                    <a:pt x="244" y="68"/>
                  </a:lnTo>
                  <a:lnTo>
                    <a:pt x="248" y="80"/>
                  </a:lnTo>
                  <a:lnTo>
                    <a:pt x="254" y="92"/>
                  </a:lnTo>
                  <a:lnTo>
                    <a:pt x="256" y="104"/>
                  </a:lnTo>
                  <a:lnTo>
                    <a:pt x="258" y="116"/>
                  </a:lnTo>
                  <a:lnTo>
                    <a:pt x="260" y="130"/>
                  </a:lnTo>
                  <a:lnTo>
                    <a:pt x="260" y="130"/>
                  </a:lnTo>
                  <a:lnTo>
                    <a:pt x="258" y="142"/>
                  </a:lnTo>
                  <a:lnTo>
                    <a:pt x="256" y="156"/>
                  </a:lnTo>
                  <a:lnTo>
                    <a:pt x="254" y="168"/>
                  </a:lnTo>
                  <a:lnTo>
                    <a:pt x="248" y="180"/>
                  </a:lnTo>
                  <a:lnTo>
                    <a:pt x="244" y="190"/>
                  </a:lnTo>
                  <a:lnTo>
                    <a:pt x="236" y="202"/>
                  </a:lnTo>
                  <a:lnTo>
                    <a:pt x="222" y="220"/>
                  </a:lnTo>
                  <a:lnTo>
                    <a:pt x="202" y="236"/>
                  </a:lnTo>
                  <a:lnTo>
                    <a:pt x="192" y="242"/>
                  </a:lnTo>
                  <a:lnTo>
                    <a:pt x="180" y="248"/>
                  </a:lnTo>
                  <a:lnTo>
                    <a:pt x="168" y="252"/>
                  </a:lnTo>
                  <a:lnTo>
                    <a:pt x="156" y="256"/>
                  </a:lnTo>
                  <a:lnTo>
                    <a:pt x="144" y="258"/>
                  </a:lnTo>
                  <a:lnTo>
                    <a:pt x="130" y="258"/>
                  </a:lnTo>
                  <a:lnTo>
                    <a:pt x="130" y="258"/>
                  </a:lnTo>
                  <a:close/>
                  <a:moveTo>
                    <a:pt x="130" y="18"/>
                  </a:moveTo>
                  <a:lnTo>
                    <a:pt x="130" y="18"/>
                  </a:lnTo>
                  <a:lnTo>
                    <a:pt x="108" y="20"/>
                  </a:lnTo>
                  <a:lnTo>
                    <a:pt x="86" y="28"/>
                  </a:lnTo>
                  <a:lnTo>
                    <a:pt x="68" y="38"/>
                  </a:lnTo>
                  <a:lnTo>
                    <a:pt x="52" y="50"/>
                  </a:lnTo>
                  <a:lnTo>
                    <a:pt x="38" y="68"/>
                  </a:lnTo>
                  <a:lnTo>
                    <a:pt x="28" y="86"/>
                  </a:lnTo>
                  <a:lnTo>
                    <a:pt x="22" y="108"/>
                  </a:lnTo>
                  <a:lnTo>
                    <a:pt x="18" y="130"/>
                  </a:lnTo>
                  <a:lnTo>
                    <a:pt x="18" y="130"/>
                  </a:lnTo>
                  <a:lnTo>
                    <a:pt x="22" y="152"/>
                  </a:lnTo>
                  <a:lnTo>
                    <a:pt x="28" y="172"/>
                  </a:lnTo>
                  <a:lnTo>
                    <a:pt x="38" y="192"/>
                  </a:lnTo>
                  <a:lnTo>
                    <a:pt x="52" y="208"/>
                  </a:lnTo>
                  <a:lnTo>
                    <a:pt x="68" y="222"/>
                  </a:lnTo>
                  <a:lnTo>
                    <a:pt x="86" y="232"/>
                  </a:lnTo>
                  <a:lnTo>
                    <a:pt x="108" y="238"/>
                  </a:lnTo>
                  <a:lnTo>
                    <a:pt x="130" y="240"/>
                  </a:lnTo>
                  <a:lnTo>
                    <a:pt x="130" y="240"/>
                  </a:lnTo>
                  <a:lnTo>
                    <a:pt x="152" y="238"/>
                  </a:lnTo>
                  <a:lnTo>
                    <a:pt x="174" y="232"/>
                  </a:lnTo>
                  <a:lnTo>
                    <a:pt x="192" y="222"/>
                  </a:lnTo>
                  <a:lnTo>
                    <a:pt x="208" y="208"/>
                  </a:lnTo>
                  <a:lnTo>
                    <a:pt x="222" y="192"/>
                  </a:lnTo>
                  <a:lnTo>
                    <a:pt x="232" y="172"/>
                  </a:lnTo>
                  <a:lnTo>
                    <a:pt x="238" y="152"/>
                  </a:lnTo>
                  <a:lnTo>
                    <a:pt x="242" y="130"/>
                  </a:lnTo>
                  <a:lnTo>
                    <a:pt x="242" y="130"/>
                  </a:lnTo>
                  <a:lnTo>
                    <a:pt x="238" y="108"/>
                  </a:lnTo>
                  <a:lnTo>
                    <a:pt x="232" y="86"/>
                  </a:lnTo>
                  <a:lnTo>
                    <a:pt x="222" y="68"/>
                  </a:lnTo>
                  <a:lnTo>
                    <a:pt x="208" y="50"/>
                  </a:lnTo>
                  <a:lnTo>
                    <a:pt x="192" y="38"/>
                  </a:lnTo>
                  <a:lnTo>
                    <a:pt x="174" y="28"/>
                  </a:lnTo>
                  <a:lnTo>
                    <a:pt x="152" y="20"/>
                  </a:lnTo>
                  <a:lnTo>
                    <a:pt x="130" y="18"/>
                  </a:lnTo>
                  <a:lnTo>
                    <a:pt x="13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48" name="Freeform 23">
              <a:extLst>
                <a:ext uri="{FF2B5EF4-FFF2-40B4-BE49-F238E27FC236}">
                  <a16:creationId xmlns:a16="http://schemas.microsoft.com/office/drawing/2014/main" id="{E52C1ED9-DAE2-4787-B2F2-6AF1350EE228}"/>
                </a:ext>
              </a:extLst>
            </p:cNvPr>
            <p:cNvSpPr>
              <a:spLocks noEditPoints="1"/>
            </p:cNvSpPr>
            <p:nvPr/>
          </p:nvSpPr>
          <p:spPr bwMode="auto">
            <a:xfrm>
              <a:off x="2318" y="1211"/>
              <a:ext cx="188" cy="188"/>
            </a:xfrm>
            <a:custGeom>
              <a:avLst/>
              <a:gdLst>
                <a:gd name="T0" fmla="*/ 94 w 188"/>
                <a:gd name="T1" fmla="*/ 188 h 188"/>
                <a:gd name="T2" fmla="*/ 58 w 188"/>
                <a:gd name="T3" fmla="*/ 180 h 188"/>
                <a:gd name="T4" fmla="*/ 28 w 188"/>
                <a:gd name="T5" fmla="*/ 160 h 188"/>
                <a:gd name="T6" fmla="*/ 8 w 188"/>
                <a:gd name="T7" fmla="*/ 130 h 188"/>
                <a:gd name="T8" fmla="*/ 0 w 188"/>
                <a:gd name="T9" fmla="*/ 94 h 188"/>
                <a:gd name="T10" fmla="*/ 2 w 188"/>
                <a:gd name="T11" fmla="*/ 74 h 188"/>
                <a:gd name="T12" fmla="*/ 16 w 188"/>
                <a:gd name="T13" fmla="*/ 42 h 188"/>
                <a:gd name="T14" fmla="*/ 42 w 188"/>
                <a:gd name="T15" fmla="*/ 16 h 188"/>
                <a:gd name="T16" fmla="*/ 76 w 188"/>
                <a:gd name="T17" fmla="*/ 2 h 188"/>
                <a:gd name="T18" fmla="*/ 94 w 188"/>
                <a:gd name="T19" fmla="*/ 0 h 188"/>
                <a:gd name="T20" fmla="*/ 130 w 188"/>
                <a:gd name="T21" fmla="*/ 6 h 188"/>
                <a:gd name="T22" fmla="*/ 160 w 188"/>
                <a:gd name="T23" fmla="*/ 28 h 188"/>
                <a:gd name="T24" fmla="*/ 180 w 188"/>
                <a:gd name="T25" fmla="*/ 56 h 188"/>
                <a:gd name="T26" fmla="*/ 188 w 188"/>
                <a:gd name="T27" fmla="*/ 94 h 188"/>
                <a:gd name="T28" fmla="*/ 186 w 188"/>
                <a:gd name="T29" fmla="*/ 112 h 188"/>
                <a:gd name="T30" fmla="*/ 172 w 188"/>
                <a:gd name="T31" fmla="*/ 146 h 188"/>
                <a:gd name="T32" fmla="*/ 146 w 188"/>
                <a:gd name="T33" fmla="*/ 172 h 188"/>
                <a:gd name="T34" fmla="*/ 112 w 188"/>
                <a:gd name="T35" fmla="*/ 186 h 188"/>
                <a:gd name="T36" fmla="*/ 94 w 188"/>
                <a:gd name="T37" fmla="*/ 188 h 188"/>
                <a:gd name="T38" fmla="*/ 94 w 188"/>
                <a:gd name="T39" fmla="*/ 18 h 188"/>
                <a:gd name="T40" fmla="*/ 64 w 188"/>
                <a:gd name="T41" fmla="*/ 24 h 188"/>
                <a:gd name="T42" fmla="*/ 40 w 188"/>
                <a:gd name="T43" fmla="*/ 40 h 188"/>
                <a:gd name="T44" fmla="*/ 24 w 188"/>
                <a:gd name="T45" fmla="*/ 64 h 188"/>
                <a:gd name="T46" fmla="*/ 18 w 188"/>
                <a:gd name="T47" fmla="*/ 94 h 188"/>
                <a:gd name="T48" fmla="*/ 20 w 188"/>
                <a:gd name="T49" fmla="*/ 108 h 188"/>
                <a:gd name="T50" fmla="*/ 30 w 188"/>
                <a:gd name="T51" fmla="*/ 136 h 188"/>
                <a:gd name="T52" fmla="*/ 52 w 188"/>
                <a:gd name="T53" fmla="*/ 156 h 188"/>
                <a:gd name="T54" fmla="*/ 78 w 188"/>
                <a:gd name="T55" fmla="*/ 168 h 188"/>
                <a:gd name="T56" fmla="*/ 94 w 188"/>
                <a:gd name="T57" fmla="*/ 170 h 188"/>
                <a:gd name="T58" fmla="*/ 124 w 188"/>
                <a:gd name="T59" fmla="*/ 164 h 188"/>
                <a:gd name="T60" fmla="*/ 148 w 188"/>
                <a:gd name="T61" fmla="*/ 148 h 188"/>
                <a:gd name="T62" fmla="*/ 164 w 188"/>
                <a:gd name="T63" fmla="*/ 122 h 188"/>
                <a:gd name="T64" fmla="*/ 170 w 188"/>
                <a:gd name="T65" fmla="*/ 94 h 188"/>
                <a:gd name="T66" fmla="*/ 168 w 188"/>
                <a:gd name="T67" fmla="*/ 78 h 188"/>
                <a:gd name="T68" fmla="*/ 156 w 188"/>
                <a:gd name="T69" fmla="*/ 52 h 188"/>
                <a:gd name="T70" fmla="*/ 136 w 188"/>
                <a:gd name="T71" fmla="*/ 30 h 188"/>
                <a:gd name="T72" fmla="*/ 110 w 188"/>
                <a:gd name="T73" fmla="*/ 20 h 188"/>
                <a:gd name="T74" fmla="*/ 94 w 188"/>
                <a:gd name="T75" fmla="*/ 1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8" h="188">
                  <a:moveTo>
                    <a:pt x="94" y="188"/>
                  </a:moveTo>
                  <a:lnTo>
                    <a:pt x="94" y="188"/>
                  </a:lnTo>
                  <a:lnTo>
                    <a:pt x="76" y="186"/>
                  </a:lnTo>
                  <a:lnTo>
                    <a:pt x="58" y="180"/>
                  </a:lnTo>
                  <a:lnTo>
                    <a:pt x="42" y="172"/>
                  </a:lnTo>
                  <a:lnTo>
                    <a:pt x="28" y="160"/>
                  </a:lnTo>
                  <a:lnTo>
                    <a:pt x="16" y="146"/>
                  </a:lnTo>
                  <a:lnTo>
                    <a:pt x="8" y="130"/>
                  </a:lnTo>
                  <a:lnTo>
                    <a:pt x="2" y="112"/>
                  </a:lnTo>
                  <a:lnTo>
                    <a:pt x="0" y="94"/>
                  </a:lnTo>
                  <a:lnTo>
                    <a:pt x="0" y="94"/>
                  </a:lnTo>
                  <a:lnTo>
                    <a:pt x="2" y="74"/>
                  </a:lnTo>
                  <a:lnTo>
                    <a:pt x="8" y="56"/>
                  </a:lnTo>
                  <a:lnTo>
                    <a:pt x="16" y="42"/>
                  </a:lnTo>
                  <a:lnTo>
                    <a:pt x="28" y="28"/>
                  </a:lnTo>
                  <a:lnTo>
                    <a:pt x="42" y="16"/>
                  </a:lnTo>
                  <a:lnTo>
                    <a:pt x="58" y="6"/>
                  </a:lnTo>
                  <a:lnTo>
                    <a:pt x="76" y="2"/>
                  </a:lnTo>
                  <a:lnTo>
                    <a:pt x="94" y="0"/>
                  </a:lnTo>
                  <a:lnTo>
                    <a:pt x="94" y="0"/>
                  </a:lnTo>
                  <a:lnTo>
                    <a:pt x="112" y="2"/>
                  </a:lnTo>
                  <a:lnTo>
                    <a:pt x="130" y="6"/>
                  </a:lnTo>
                  <a:lnTo>
                    <a:pt x="146" y="16"/>
                  </a:lnTo>
                  <a:lnTo>
                    <a:pt x="160" y="28"/>
                  </a:lnTo>
                  <a:lnTo>
                    <a:pt x="172" y="42"/>
                  </a:lnTo>
                  <a:lnTo>
                    <a:pt x="180" y="56"/>
                  </a:lnTo>
                  <a:lnTo>
                    <a:pt x="186" y="74"/>
                  </a:lnTo>
                  <a:lnTo>
                    <a:pt x="188" y="94"/>
                  </a:lnTo>
                  <a:lnTo>
                    <a:pt x="188" y="94"/>
                  </a:lnTo>
                  <a:lnTo>
                    <a:pt x="186" y="112"/>
                  </a:lnTo>
                  <a:lnTo>
                    <a:pt x="180" y="130"/>
                  </a:lnTo>
                  <a:lnTo>
                    <a:pt x="172" y="146"/>
                  </a:lnTo>
                  <a:lnTo>
                    <a:pt x="160" y="160"/>
                  </a:lnTo>
                  <a:lnTo>
                    <a:pt x="146" y="172"/>
                  </a:lnTo>
                  <a:lnTo>
                    <a:pt x="130" y="180"/>
                  </a:lnTo>
                  <a:lnTo>
                    <a:pt x="112" y="186"/>
                  </a:lnTo>
                  <a:lnTo>
                    <a:pt x="94" y="188"/>
                  </a:lnTo>
                  <a:lnTo>
                    <a:pt x="94" y="188"/>
                  </a:lnTo>
                  <a:close/>
                  <a:moveTo>
                    <a:pt x="94" y="18"/>
                  </a:moveTo>
                  <a:lnTo>
                    <a:pt x="94" y="18"/>
                  </a:lnTo>
                  <a:lnTo>
                    <a:pt x="78" y="20"/>
                  </a:lnTo>
                  <a:lnTo>
                    <a:pt x="64" y="24"/>
                  </a:lnTo>
                  <a:lnTo>
                    <a:pt x="52" y="30"/>
                  </a:lnTo>
                  <a:lnTo>
                    <a:pt x="40" y="40"/>
                  </a:lnTo>
                  <a:lnTo>
                    <a:pt x="30" y="52"/>
                  </a:lnTo>
                  <a:lnTo>
                    <a:pt x="24" y="64"/>
                  </a:lnTo>
                  <a:lnTo>
                    <a:pt x="20" y="78"/>
                  </a:lnTo>
                  <a:lnTo>
                    <a:pt x="18" y="94"/>
                  </a:lnTo>
                  <a:lnTo>
                    <a:pt x="18" y="94"/>
                  </a:lnTo>
                  <a:lnTo>
                    <a:pt x="20" y="108"/>
                  </a:lnTo>
                  <a:lnTo>
                    <a:pt x="24" y="122"/>
                  </a:lnTo>
                  <a:lnTo>
                    <a:pt x="30" y="136"/>
                  </a:lnTo>
                  <a:lnTo>
                    <a:pt x="40" y="148"/>
                  </a:lnTo>
                  <a:lnTo>
                    <a:pt x="52" y="156"/>
                  </a:lnTo>
                  <a:lnTo>
                    <a:pt x="64" y="164"/>
                  </a:lnTo>
                  <a:lnTo>
                    <a:pt x="78" y="168"/>
                  </a:lnTo>
                  <a:lnTo>
                    <a:pt x="94" y="170"/>
                  </a:lnTo>
                  <a:lnTo>
                    <a:pt x="94" y="170"/>
                  </a:lnTo>
                  <a:lnTo>
                    <a:pt x="110" y="168"/>
                  </a:lnTo>
                  <a:lnTo>
                    <a:pt x="124" y="164"/>
                  </a:lnTo>
                  <a:lnTo>
                    <a:pt x="136" y="156"/>
                  </a:lnTo>
                  <a:lnTo>
                    <a:pt x="148" y="148"/>
                  </a:lnTo>
                  <a:lnTo>
                    <a:pt x="156" y="136"/>
                  </a:lnTo>
                  <a:lnTo>
                    <a:pt x="164" y="122"/>
                  </a:lnTo>
                  <a:lnTo>
                    <a:pt x="168" y="108"/>
                  </a:lnTo>
                  <a:lnTo>
                    <a:pt x="170" y="94"/>
                  </a:lnTo>
                  <a:lnTo>
                    <a:pt x="170" y="94"/>
                  </a:lnTo>
                  <a:lnTo>
                    <a:pt x="168" y="78"/>
                  </a:lnTo>
                  <a:lnTo>
                    <a:pt x="164" y="64"/>
                  </a:lnTo>
                  <a:lnTo>
                    <a:pt x="156" y="52"/>
                  </a:lnTo>
                  <a:lnTo>
                    <a:pt x="148" y="40"/>
                  </a:lnTo>
                  <a:lnTo>
                    <a:pt x="136" y="30"/>
                  </a:lnTo>
                  <a:lnTo>
                    <a:pt x="124" y="24"/>
                  </a:lnTo>
                  <a:lnTo>
                    <a:pt x="110" y="20"/>
                  </a:lnTo>
                  <a:lnTo>
                    <a:pt x="94" y="18"/>
                  </a:lnTo>
                  <a:lnTo>
                    <a:pt x="9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49" name="Freeform 24">
              <a:extLst>
                <a:ext uri="{FF2B5EF4-FFF2-40B4-BE49-F238E27FC236}">
                  <a16:creationId xmlns:a16="http://schemas.microsoft.com/office/drawing/2014/main" id="{4E913C9E-A256-4892-986E-651BEA5D9AFC}"/>
                </a:ext>
              </a:extLst>
            </p:cNvPr>
            <p:cNvSpPr>
              <a:spLocks/>
            </p:cNvSpPr>
            <p:nvPr/>
          </p:nvSpPr>
          <p:spPr bwMode="auto">
            <a:xfrm>
              <a:off x="2356" y="1409"/>
              <a:ext cx="112" cy="54"/>
            </a:xfrm>
            <a:custGeom>
              <a:avLst/>
              <a:gdLst>
                <a:gd name="T0" fmla="*/ 94 w 112"/>
                <a:gd name="T1" fmla="*/ 54 h 54"/>
                <a:gd name="T2" fmla="*/ 18 w 112"/>
                <a:gd name="T3" fmla="*/ 54 h 54"/>
                <a:gd name="T4" fmla="*/ 18 w 112"/>
                <a:gd name="T5" fmla="*/ 54 h 54"/>
                <a:gd name="T6" fmla="*/ 12 w 112"/>
                <a:gd name="T7" fmla="*/ 52 h 54"/>
                <a:gd name="T8" fmla="*/ 6 w 112"/>
                <a:gd name="T9" fmla="*/ 50 h 54"/>
                <a:gd name="T10" fmla="*/ 2 w 112"/>
                <a:gd name="T11" fmla="*/ 44 h 54"/>
                <a:gd name="T12" fmla="*/ 0 w 112"/>
                <a:gd name="T13" fmla="*/ 36 h 54"/>
                <a:gd name="T14" fmla="*/ 0 w 112"/>
                <a:gd name="T15" fmla="*/ 0 h 54"/>
                <a:gd name="T16" fmla="*/ 18 w 112"/>
                <a:gd name="T17" fmla="*/ 0 h 54"/>
                <a:gd name="T18" fmla="*/ 18 w 112"/>
                <a:gd name="T19" fmla="*/ 36 h 54"/>
                <a:gd name="T20" fmla="*/ 94 w 112"/>
                <a:gd name="T21" fmla="*/ 36 h 54"/>
                <a:gd name="T22" fmla="*/ 94 w 112"/>
                <a:gd name="T23" fmla="*/ 0 h 54"/>
                <a:gd name="T24" fmla="*/ 112 w 112"/>
                <a:gd name="T25" fmla="*/ 0 h 54"/>
                <a:gd name="T26" fmla="*/ 112 w 112"/>
                <a:gd name="T27" fmla="*/ 36 h 54"/>
                <a:gd name="T28" fmla="*/ 112 w 112"/>
                <a:gd name="T29" fmla="*/ 36 h 54"/>
                <a:gd name="T30" fmla="*/ 110 w 112"/>
                <a:gd name="T31" fmla="*/ 44 h 54"/>
                <a:gd name="T32" fmla="*/ 106 w 112"/>
                <a:gd name="T33" fmla="*/ 50 h 54"/>
                <a:gd name="T34" fmla="*/ 100 w 112"/>
                <a:gd name="T35" fmla="*/ 52 h 54"/>
                <a:gd name="T36" fmla="*/ 94 w 112"/>
                <a:gd name="T37" fmla="*/ 54 h 54"/>
                <a:gd name="T38" fmla="*/ 94 w 112"/>
                <a:gd name="T3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 h="54">
                  <a:moveTo>
                    <a:pt x="94" y="54"/>
                  </a:moveTo>
                  <a:lnTo>
                    <a:pt x="18" y="54"/>
                  </a:lnTo>
                  <a:lnTo>
                    <a:pt x="18" y="54"/>
                  </a:lnTo>
                  <a:lnTo>
                    <a:pt x="12" y="52"/>
                  </a:lnTo>
                  <a:lnTo>
                    <a:pt x="6" y="50"/>
                  </a:lnTo>
                  <a:lnTo>
                    <a:pt x="2" y="44"/>
                  </a:lnTo>
                  <a:lnTo>
                    <a:pt x="0" y="36"/>
                  </a:lnTo>
                  <a:lnTo>
                    <a:pt x="0" y="0"/>
                  </a:lnTo>
                  <a:lnTo>
                    <a:pt x="18" y="0"/>
                  </a:lnTo>
                  <a:lnTo>
                    <a:pt x="18" y="36"/>
                  </a:lnTo>
                  <a:lnTo>
                    <a:pt x="94" y="36"/>
                  </a:lnTo>
                  <a:lnTo>
                    <a:pt x="94" y="0"/>
                  </a:lnTo>
                  <a:lnTo>
                    <a:pt x="112" y="0"/>
                  </a:lnTo>
                  <a:lnTo>
                    <a:pt x="112" y="36"/>
                  </a:lnTo>
                  <a:lnTo>
                    <a:pt x="112" y="36"/>
                  </a:lnTo>
                  <a:lnTo>
                    <a:pt x="110" y="44"/>
                  </a:lnTo>
                  <a:lnTo>
                    <a:pt x="106" y="50"/>
                  </a:lnTo>
                  <a:lnTo>
                    <a:pt x="100" y="52"/>
                  </a:lnTo>
                  <a:lnTo>
                    <a:pt x="94" y="54"/>
                  </a:lnTo>
                  <a:lnTo>
                    <a:pt x="9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0" name="Freeform 25">
              <a:extLst>
                <a:ext uri="{FF2B5EF4-FFF2-40B4-BE49-F238E27FC236}">
                  <a16:creationId xmlns:a16="http://schemas.microsoft.com/office/drawing/2014/main" id="{36E3469A-34E7-4D59-9E9F-C694949E7EE4}"/>
                </a:ext>
              </a:extLst>
            </p:cNvPr>
            <p:cNvSpPr>
              <a:spLocks noEditPoints="1"/>
            </p:cNvSpPr>
            <p:nvPr/>
          </p:nvSpPr>
          <p:spPr bwMode="auto">
            <a:xfrm>
              <a:off x="2366" y="1445"/>
              <a:ext cx="92" cy="218"/>
            </a:xfrm>
            <a:custGeom>
              <a:avLst/>
              <a:gdLst>
                <a:gd name="T0" fmla="*/ 46 w 92"/>
                <a:gd name="T1" fmla="*/ 218 h 218"/>
                <a:gd name="T2" fmla="*/ 46 w 92"/>
                <a:gd name="T3" fmla="*/ 218 h 218"/>
                <a:gd name="T4" fmla="*/ 36 w 92"/>
                <a:gd name="T5" fmla="*/ 216 h 218"/>
                <a:gd name="T6" fmla="*/ 28 w 92"/>
                <a:gd name="T7" fmla="*/ 214 h 218"/>
                <a:gd name="T8" fmla="*/ 20 w 92"/>
                <a:gd name="T9" fmla="*/ 210 h 218"/>
                <a:gd name="T10" fmla="*/ 14 w 92"/>
                <a:gd name="T11" fmla="*/ 204 h 218"/>
                <a:gd name="T12" fmla="*/ 8 w 92"/>
                <a:gd name="T13" fmla="*/ 196 h 218"/>
                <a:gd name="T14" fmla="*/ 4 w 92"/>
                <a:gd name="T15" fmla="*/ 190 h 218"/>
                <a:gd name="T16" fmla="*/ 2 w 92"/>
                <a:gd name="T17" fmla="*/ 180 h 218"/>
                <a:gd name="T18" fmla="*/ 0 w 92"/>
                <a:gd name="T19" fmla="*/ 172 h 218"/>
                <a:gd name="T20" fmla="*/ 0 w 92"/>
                <a:gd name="T21" fmla="*/ 0 h 218"/>
                <a:gd name="T22" fmla="*/ 92 w 92"/>
                <a:gd name="T23" fmla="*/ 0 h 218"/>
                <a:gd name="T24" fmla="*/ 92 w 92"/>
                <a:gd name="T25" fmla="*/ 172 h 218"/>
                <a:gd name="T26" fmla="*/ 92 w 92"/>
                <a:gd name="T27" fmla="*/ 172 h 218"/>
                <a:gd name="T28" fmla="*/ 90 w 92"/>
                <a:gd name="T29" fmla="*/ 180 h 218"/>
                <a:gd name="T30" fmla="*/ 88 w 92"/>
                <a:gd name="T31" fmla="*/ 190 h 218"/>
                <a:gd name="T32" fmla="*/ 84 w 92"/>
                <a:gd name="T33" fmla="*/ 196 h 218"/>
                <a:gd name="T34" fmla="*/ 78 w 92"/>
                <a:gd name="T35" fmla="*/ 204 h 218"/>
                <a:gd name="T36" fmla="*/ 72 w 92"/>
                <a:gd name="T37" fmla="*/ 210 h 218"/>
                <a:gd name="T38" fmla="*/ 64 w 92"/>
                <a:gd name="T39" fmla="*/ 214 h 218"/>
                <a:gd name="T40" fmla="*/ 56 w 92"/>
                <a:gd name="T41" fmla="*/ 216 h 218"/>
                <a:gd name="T42" fmla="*/ 46 w 92"/>
                <a:gd name="T43" fmla="*/ 218 h 218"/>
                <a:gd name="T44" fmla="*/ 46 w 92"/>
                <a:gd name="T45" fmla="*/ 218 h 218"/>
                <a:gd name="T46" fmla="*/ 18 w 92"/>
                <a:gd name="T47" fmla="*/ 18 h 218"/>
                <a:gd name="T48" fmla="*/ 18 w 92"/>
                <a:gd name="T49" fmla="*/ 172 h 218"/>
                <a:gd name="T50" fmla="*/ 18 w 92"/>
                <a:gd name="T51" fmla="*/ 172 h 218"/>
                <a:gd name="T52" fmla="*/ 20 w 92"/>
                <a:gd name="T53" fmla="*/ 182 h 218"/>
                <a:gd name="T54" fmla="*/ 26 w 92"/>
                <a:gd name="T55" fmla="*/ 192 h 218"/>
                <a:gd name="T56" fmla="*/ 36 w 92"/>
                <a:gd name="T57" fmla="*/ 196 h 218"/>
                <a:gd name="T58" fmla="*/ 46 w 92"/>
                <a:gd name="T59" fmla="*/ 200 h 218"/>
                <a:gd name="T60" fmla="*/ 46 w 92"/>
                <a:gd name="T61" fmla="*/ 200 h 218"/>
                <a:gd name="T62" fmla="*/ 56 w 92"/>
                <a:gd name="T63" fmla="*/ 196 h 218"/>
                <a:gd name="T64" fmla="*/ 66 w 92"/>
                <a:gd name="T65" fmla="*/ 192 h 218"/>
                <a:gd name="T66" fmla="*/ 72 w 92"/>
                <a:gd name="T67" fmla="*/ 182 h 218"/>
                <a:gd name="T68" fmla="*/ 74 w 92"/>
                <a:gd name="T69" fmla="*/ 172 h 218"/>
                <a:gd name="T70" fmla="*/ 74 w 92"/>
                <a:gd name="T71" fmla="*/ 18 h 218"/>
                <a:gd name="T72" fmla="*/ 18 w 92"/>
                <a:gd name="T73" fmla="*/ 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218">
                  <a:moveTo>
                    <a:pt x="46" y="218"/>
                  </a:moveTo>
                  <a:lnTo>
                    <a:pt x="46" y="218"/>
                  </a:lnTo>
                  <a:lnTo>
                    <a:pt x="36" y="216"/>
                  </a:lnTo>
                  <a:lnTo>
                    <a:pt x="28" y="214"/>
                  </a:lnTo>
                  <a:lnTo>
                    <a:pt x="20" y="210"/>
                  </a:lnTo>
                  <a:lnTo>
                    <a:pt x="14" y="204"/>
                  </a:lnTo>
                  <a:lnTo>
                    <a:pt x="8" y="196"/>
                  </a:lnTo>
                  <a:lnTo>
                    <a:pt x="4" y="190"/>
                  </a:lnTo>
                  <a:lnTo>
                    <a:pt x="2" y="180"/>
                  </a:lnTo>
                  <a:lnTo>
                    <a:pt x="0" y="172"/>
                  </a:lnTo>
                  <a:lnTo>
                    <a:pt x="0" y="0"/>
                  </a:lnTo>
                  <a:lnTo>
                    <a:pt x="92" y="0"/>
                  </a:lnTo>
                  <a:lnTo>
                    <a:pt x="92" y="172"/>
                  </a:lnTo>
                  <a:lnTo>
                    <a:pt x="92" y="172"/>
                  </a:lnTo>
                  <a:lnTo>
                    <a:pt x="90" y="180"/>
                  </a:lnTo>
                  <a:lnTo>
                    <a:pt x="88" y="190"/>
                  </a:lnTo>
                  <a:lnTo>
                    <a:pt x="84" y="196"/>
                  </a:lnTo>
                  <a:lnTo>
                    <a:pt x="78" y="204"/>
                  </a:lnTo>
                  <a:lnTo>
                    <a:pt x="72" y="210"/>
                  </a:lnTo>
                  <a:lnTo>
                    <a:pt x="64" y="214"/>
                  </a:lnTo>
                  <a:lnTo>
                    <a:pt x="56" y="216"/>
                  </a:lnTo>
                  <a:lnTo>
                    <a:pt x="46" y="218"/>
                  </a:lnTo>
                  <a:lnTo>
                    <a:pt x="46" y="218"/>
                  </a:lnTo>
                  <a:close/>
                  <a:moveTo>
                    <a:pt x="18" y="18"/>
                  </a:moveTo>
                  <a:lnTo>
                    <a:pt x="18" y="172"/>
                  </a:lnTo>
                  <a:lnTo>
                    <a:pt x="18" y="172"/>
                  </a:lnTo>
                  <a:lnTo>
                    <a:pt x="20" y="182"/>
                  </a:lnTo>
                  <a:lnTo>
                    <a:pt x="26" y="192"/>
                  </a:lnTo>
                  <a:lnTo>
                    <a:pt x="36" y="196"/>
                  </a:lnTo>
                  <a:lnTo>
                    <a:pt x="46" y="200"/>
                  </a:lnTo>
                  <a:lnTo>
                    <a:pt x="46" y="200"/>
                  </a:lnTo>
                  <a:lnTo>
                    <a:pt x="56" y="196"/>
                  </a:lnTo>
                  <a:lnTo>
                    <a:pt x="66" y="192"/>
                  </a:lnTo>
                  <a:lnTo>
                    <a:pt x="72" y="182"/>
                  </a:lnTo>
                  <a:lnTo>
                    <a:pt x="74" y="172"/>
                  </a:lnTo>
                  <a:lnTo>
                    <a:pt x="74"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1" name="Rectangle 26">
              <a:extLst>
                <a:ext uri="{FF2B5EF4-FFF2-40B4-BE49-F238E27FC236}">
                  <a16:creationId xmlns:a16="http://schemas.microsoft.com/office/drawing/2014/main" id="{2DF5A7EB-3C21-4109-A903-FDA2E732A1EF}"/>
                </a:ext>
              </a:extLst>
            </p:cNvPr>
            <p:cNvSpPr>
              <a:spLocks noChangeArrowheads="1"/>
            </p:cNvSpPr>
            <p:nvPr/>
          </p:nvSpPr>
          <p:spPr bwMode="auto">
            <a:xfrm>
              <a:off x="2402" y="1495"/>
              <a:ext cx="1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2" name="Rectangle 27">
              <a:extLst>
                <a:ext uri="{FF2B5EF4-FFF2-40B4-BE49-F238E27FC236}">
                  <a16:creationId xmlns:a16="http://schemas.microsoft.com/office/drawing/2014/main" id="{8B7A8230-9FCD-4123-A719-ECB1E7354B4D}"/>
                </a:ext>
              </a:extLst>
            </p:cNvPr>
            <p:cNvSpPr>
              <a:spLocks noChangeArrowheads="1"/>
            </p:cNvSpPr>
            <p:nvPr/>
          </p:nvSpPr>
          <p:spPr bwMode="auto">
            <a:xfrm>
              <a:off x="2402" y="1529"/>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3" name="Rectangle 28">
              <a:extLst>
                <a:ext uri="{FF2B5EF4-FFF2-40B4-BE49-F238E27FC236}">
                  <a16:creationId xmlns:a16="http://schemas.microsoft.com/office/drawing/2014/main" id="{636BAFB1-93C8-4395-A5C3-F08968B1CD34}"/>
                </a:ext>
              </a:extLst>
            </p:cNvPr>
            <p:cNvSpPr>
              <a:spLocks noChangeArrowheads="1"/>
            </p:cNvSpPr>
            <p:nvPr/>
          </p:nvSpPr>
          <p:spPr bwMode="auto">
            <a:xfrm>
              <a:off x="2402" y="1563"/>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4" name="Freeform 29">
              <a:extLst>
                <a:ext uri="{FF2B5EF4-FFF2-40B4-BE49-F238E27FC236}">
                  <a16:creationId xmlns:a16="http://schemas.microsoft.com/office/drawing/2014/main" id="{8B41D92D-AA2D-46E6-B52D-870BECA78C62}"/>
                </a:ext>
              </a:extLst>
            </p:cNvPr>
            <p:cNvSpPr>
              <a:spLocks noEditPoints="1"/>
            </p:cNvSpPr>
            <p:nvPr/>
          </p:nvSpPr>
          <p:spPr bwMode="auto">
            <a:xfrm>
              <a:off x="1842" y="891"/>
              <a:ext cx="774" cy="88"/>
            </a:xfrm>
            <a:custGeom>
              <a:avLst/>
              <a:gdLst>
                <a:gd name="T0" fmla="*/ 774 w 774"/>
                <a:gd name="T1" fmla="*/ 88 h 88"/>
                <a:gd name="T2" fmla="*/ 0 w 774"/>
                <a:gd name="T3" fmla="*/ 88 h 88"/>
                <a:gd name="T4" fmla="*/ 0 w 774"/>
                <a:gd name="T5" fmla="*/ 0 h 88"/>
                <a:gd name="T6" fmla="*/ 774 w 774"/>
                <a:gd name="T7" fmla="*/ 0 h 88"/>
                <a:gd name="T8" fmla="*/ 774 w 774"/>
                <a:gd name="T9" fmla="*/ 88 h 88"/>
                <a:gd name="T10" fmla="*/ 18 w 774"/>
                <a:gd name="T11" fmla="*/ 70 h 88"/>
                <a:gd name="T12" fmla="*/ 756 w 774"/>
                <a:gd name="T13" fmla="*/ 70 h 88"/>
                <a:gd name="T14" fmla="*/ 756 w 774"/>
                <a:gd name="T15" fmla="*/ 18 h 88"/>
                <a:gd name="T16" fmla="*/ 18 w 774"/>
                <a:gd name="T17" fmla="*/ 18 h 88"/>
                <a:gd name="T18" fmla="*/ 18 w 774"/>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4" h="88">
                  <a:moveTo>
                    <a:pt x="774" y="88"/>
                  </a:moveTo>
                  <a:lnTo>
                    <a:pt x="0" y="88"/>
                  </a:lnTo>
                  <a:lnTo>
                    <a:pt x="0" y="0"/>
                  </a:lnTo>
                  <a:lnTo>
                    <a:pt x="774" y="0"/>
                  </a:lnTo>
                  <a:lnTo>
                    <a:pt x="774" y="88"/>
                  </a:lnTo>
                  <a:close/>
                  <a:moveTo>
                    <a:pt x="18" y="70"/>
                  </a:moveTo>
                  <a:lnTo>
                    <a:pt x="756" y="70"/>
                  </a:lnTo>
                  <a:lnTo>
                    <a:pt x="756" y="18"/>
                  </a:lnTo>
                  <a:lnTo>
                    <a:pt x="18" y="18"/>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5" name="Rectangle 30">
              <a:extLst>
                <a:ext uri="{FF2B5EF4-FFF2-40B4-BE49-F238E27FC236}">
                  <a16:creationId xmlns:a16="http://schemas.microsoft.com/office/drawing/2014/main" id="{DCD5AD0F-D014-40D4-A102-82FACC6CD2C6}"/>
                </a:ext>
              </a:extLst>
            </p:cNvPr>
            <p:cNvSpPr>
              <a:spLocks noChangeArrowheads="1"/>
            </p:cNvSpPr>
            <p:nvPr/>
          </p:nvSpPr>
          <p:spPr bwMode="auto">
            <a:xfrm>
              <a:off x="1898" y="927"/>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6" name="Rectangle 31">
              <a:extLst>
                <a:ext uri="{FF2B5EF4-FFF2-40B4-BE49-F238E27FC236}">
                  <a16:creationId xmlns:a16="http://schemas.microsoft.com/office/drawing/2014/main" id="{5C851D13-2655-4FAD-9FB0-0BA301EA8B0C}"/>
                </a:ext>
              </a:extLst>
            </p:cNvPr>
            <p:cNvSpPr>
              <a:spLocks noChangeArrowheads="1"/>
            </p:cNvSpPr>
            <p:nvPr/>
          </p:nvSpPr>
          <p:spPr bwMode="auto">
            <a:xfrm>
              <a:off x="1942" y="927"/>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7" name="Rectangle 32">
              <a:extLst>
                <a:ext uri="{FF2B5EF4-FFF2-40B4-BE49-F238E27FC236}">
                  <a16:creationId xmlns:a16="http://schemas.microsoft.com/office/drawing/2014/main" id="{811196F6-C07E-48F5-88CF-8C61C8F48D4C}"/>
                </a:ext>
              </a:extLst>
            </p:cNvPr>
            <p:cNvSpPr>
              <a:spLocks noChangeArrowheads="1"/>
            </p:cNvSpPr>
            <p:nvPr/>
          </p:nvSpPr>
          <p:spPr bwMode="auto">
            <a:xfrm>
              <a:off x="1984" y="927"/>
              <a:ext cx="2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8" name="Rectangle 33">
              <a:extLst>
                <a:ext uri="{FF2B5EF4-FFF2-40B4-BE49-F238E27FC236}">
                  <a16:creationId xmlns:a16="http://schemas.microsoft.com/office/drawing/2014/main" id="{8EE7F9BD-2BB5-4F43-B6C2-D7B67D929165}"/>
                </a:ext>
              </a:extLst>
            </p:cNvPr>
            <p:cNvSpPr>
              <a:spLocks noChangeArrowheads="1"/>
            </p:cNvSpPr>
            <p:nvPr/>
          </p:nvSpPr>
          <p:spPr bwMode="auto">
            <a:xfrm>
              <a:off x="1902" y="1275"/>
              <a:ext cx="18" cy="1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59" name="Rectangle 34">
              <a:extLst>
                <a:ext uri="{FF2B5EF4-FFF2-40B4-BE49-F238E27FC236}">
                  <a16:creationId xmlns:a16="http://schemas.microsoft.com/office/drawing/2014/main" id="{C7D62B45-0C7D-4A24-B610-BF7CA4D791F8}"/>
                </a:ext>
              </a:extLst>
            </p:cNvPr>
            <p:cNvSpPr>
              <a:spLocks noChangeArrowheads="1"/>
            </p:cNvSpPr>
            <p:nvPr/>
          </p:nvSpPr>
          <p:spPr bwMode="auto">
            <a:xfrm>
              <a:off x="2000" y="1199"/>
              <a:ext cx="18" cy="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60" name="Rectangle 35">
              <a:extLst>
                <a:ext uri="{FF2B5EF4-FFF2-40B4-BE49-F238E27FC236}">
                  <a16:creationId xmlns:a16="http://schemas.microsoft.com/office/drawing/2014/main" id="{7B93C866-E1E0-40F2-B152-627A2F5E966F}"/>
                </a:ext>
              </a:extLst>
            </p:cNvPr>
            <p:cNvSpPr>
              <a:spLocks noChangeArrowheads="1"/>
            </p:cNvSpPr>
            <p:nvPr/>
          </p:nvSpPr>
          <p:spPr bwMode="auto">
            <a:xfrm>
              <a:off x="1950" y="1233"/>
              <a:ext cx="18"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61" name="Rectangle 36">
              <a:extLst>
                <a:ext uri="{FF2B5EF4-FFF2-40B4-BE49-F238E27FC236}">
                  <a16:creationId xmlns:a16="http://schemas.microsoft.com/office/drawing/2014/main" id="{34283971-2DCA-4BC2-BDF8-A410A5B32218}"/>
                </a:ext>
              </a:extLst>
            </p:cNvPr>
            <p:cNvSpPr>
              <a:spLocks noChangeArrowheads="1"/>
            </p:cNvSpPr>
            <p:nvPr/>
          </p:nvSpPr>
          <p:spPr bwMode="auto">
            <a:xfrm>
              <a:off x="2048" y="1233"/>
              <a:ext cx="18"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62" name="Rectangle 37">
              <a:extLst>
                <a:ext uri="{FF2B5EF4-FFF2-40B4-BE49-F238E27FC236}">
                  <a16:creationId xmlns:a16="http://schemas.microsoft.com/office/drawing/2014/main" id="{F4D6345A-660E-49E2-99CF-5B9F27F2DC56}"/>
                </a:ext>
              </a:extLst>
            </p:cNvPr>
            <p:cNvSpPr>
              <a:spLocks noChangeArrowheads="1"/>
            </p:cNvSpPr>
            <p:nvPr/>
          </p:nvSpPr>
          <p:spPr bwMode="auto">
            <a:xfrm>
              <a:off x="2098" y="1323"/>
              <a:ext cx="18" cy="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63" name="Rectangle 38">
              <a:extLst>
                <a:ext uri="{FF2B5EF4-FFF2-40B4-BE49-F238E27FC236}">
                  <a16:creationId xmlns:a16="http://schemas.microsoft.com/office/drawing/2014/main" id="{5C63F502-3453-42C2-AE63-66EC0D1EB3E9}"/>
                </a:ext>
              </a:extLst>
            </p:cNvPr>
            <p:cNvSpPr>
              <a:spLocks noChangeArrowheads="1"/>
            </p:cNvSpPr>
            <p:nvPr/>
          </p:nvSpPr>
          <p:spPr bwMode="auto">
            <a:xfrm>
              <a:off x="2148" y="1233"/>
              <a:ext cx="18"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64" name="Rectangle 39">
              <a:extLst>
                <a:ext uri="{FF2B5EF4-FFF2-40B4-BE49-F238E27FC236}">
                  <a16:creationId xmlns:a16="http://schemas.microsoft.com/office/drawing/2014/main" id="{24FABD58-3816-46CB-8891-7AD4D5699088}"/>
                </a:ext>
              </a:extLst>
            </p:cNvPr>
            <p:cNvSpPr>
              <a:spLocks noChangeArrowheads="1"/>
            </p:cNvSpPr>
            <p:nvPr/>
          </p:nvSpPr>
          <p:spPr bwMode="auto">
            <a:xfrm>
              <a:off x="2196" y="1303"/>
              <a:ext cx="18" cy="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65" name="Freeform 40">
              <a:extLst>
                <a:ext uri="{FF2B5EF4-FFF2-40B4-BE49-F238E27FC236}">
                  <a16:creationId xmlns:a16="http://schemas.microsoft.com/office/drawing/2014/main" id="{AFC6F81F-68F3-491A-A024-24BCE1C60CBA}"/>
                </a:ext>
              </a:extLst>
            </p:cNvPr>
            <p:cNvSpPr>
              <a:spLocks noEditPoints="1"/>
            </p:cNvSpPr>
            <p:nvPr/>
          </p:nvSpPr>
          <p:spPr bwMode="auto">
            <a:xfrm>
              <a:off x="1938" y="1057"/>
              <a:ext cx="528" cy="72"/>
            </a:xfrm>
            <a:custGeom>
              <a:avLst/>
              <a:gdLst>
                <a:gd name="T0" fmla="*/ 528 w 528"/>
                <a:gd name="T1" fmla="*/ 72 h 72"/>
                <a:gd name="T2" fmla="*/ 0 w 528"/>
                <a:gd name="T3" fmla="*/ 72 h 72"/>
                <a:gd name="T4" fmla="*/ 0 w 528"/>
                <a:gd name="T5" fmla="*/ 0 h 72"/>
                <a:gd name="T6" fmla="*/ 528 w 528"/>
                <a:gd name="T7" fmla="*/ 0 h 72"/>
                <a:gd name="T8" fmla="*/ 528 w 528"/>
                <a:gd name="T9" fmla="*/ 72 h 72"/>
                <a:gd name="T10" fmla="*/ 18 w 528"/>
                <a:gd name="T11" fmla="*/ 54 h 72"/>
                <a:gd name="T12" fmla="*/ 510 w 528"/>
                <a:gd name="T13" fmla="*/ 54 h 72"/>
                <a:gd name="T14" fmla="*/ 510 w 528"/>
                <a:gd name="T15" fmla="*/ 18 h 72"/>
                <a:gd name="T16" fmla="*/ 18 w 528"/>
                <a:gd name="T17" fmla="*/ 18 h 72"/>
                <a:gd name="T18" fmla="*/ 18 w 528"/>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8" h="72">
                  <a:moveTo>
                    <a:pt x="528" y="72"/>
                  </a:moveTo>
                  <a:lnTo>
                    <a:pt x="0" y="72"/>
                  </a:lnTo>
                  <a:lnTo>
                    <a:pt x="0" y="0"/>
                  </a:lnTo>
                  <a:lnTo>
                    <a:pt x="528" y="0"/>
                  </a:lnTo>
                  <a:lnTo>
                    <a:pt x="528" y="72"/>
                  </a:lnTo>
                  <a:close/>
                  <a:moveTo>
                    <a:pt x="18" y="54"/>
                  </a:moveTo>
                  <a:lnTo>
                    <a:pt x="510" y="54"/>
                  </a:lnTo>
                  <a:lnTo>
                    <a:pt x="510"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66" name="Freeform 41">
              <a:extLst>
                <a:ext uri="{FF2B5EF4-FFF2-40B4-BE49-F238E27FC236}">
                  <a16:creationId xmlns:a16="http://schemas.microsoft.com/office/drawing/2014/main" id="{FBCA78C3-5EB8-481D-BE7B-9722824F4492}"/>
                </a:ext>
              </a:extLst>
            </p:cNvPr>
            <p:cNvSpPr>
              <a:spLocks noEditPoints="1"/>
            </p:cNvSpPr>
            <p:nvPr/>
          </p:nvSpPr>
          <p:spPr bwMode="auto">
            <a:xfrm>
              <a:off x="2448" y="1057"/>
              <a:ext cx="74" cy="72"/>
            </a:xfrm>
            <a:custGeom>
              <a:avLst/>
              <a:gdLst>
                <a:gd name="T0" fmla="*/ 74 w 74"/>
                <a:gd name="T1" fmla="*/ 72 h 72"/>
                <a:gd name="T2" fmla="*/ 0 w 74"/>
                <a:gd name="T3" fmla="*/ 72 h 72"/>
                <a:gd name="T4" fmla="*/ 0 w 74"/>
                <a:gd name="T5" fmla="*/ 0 h 72"/>
                <a:gd name="T6" fmla="*/ 74 w 74"/>
                <a:gd name="T7" fmla="*/ 0 h 72"/>
                <a:gd name="T8" fmla="*/ 74 w 74"/>
                <a:gd name="T9" fmla="*/ 72 h 72"/>
                <a:gd name="T10" fmla="*/ 18 w 74"/>
                <a:gd name="T11" fmla="*/ 54 h 72"/>
                <a:gd name="T12" fmla="*/ 56 w 74"/>
                <a:gd name="T13" fmla="*/ 54 h 72"/>
                <a:gd name="T14" fmla="*/ 56 w 74"/>
                <a:gd name="T15" fmla="*/ 18 h 72"/>
                <a:gd name="T16" fmla="*/ 18 w 74"/>
                <a:gd name="T17" fmla="*/ 18 h 72"/>
                <a:gd name="T18" fmla="*/ 18 w 74"/>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2">
                  <a:moveTo>
                    <a:pt x="74" y="72"/>
                  </a:moveTo>
                  <a:lnTo>
                    <a:pt x="0" y="72"/>
                  </a:lnTo>
                  <a:lnTo>
                    <a:pt x="0" y="0"/>
                  </a:lnTo>
                  <a:lnTo>
                    <a:pt x="74" y="0"/>
                  </a:lnTo>
                  <a:lnTo>
                    <a:pt x="74" y="72"/>
                  </a:lnTo>
                  <a:close/>
                  <a:moveTo>
                    <a:pt x="18" y="54"/>
                  </a:moveTo>
                  <a:lnTo>
                    <a:pt x="56" y="54"/>
                  </a:lnTo>
                  <a:lnTo>
                    <a:pt x="56"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67" name="Freeform 42">
              <a:extLst>
                <a:ext uri="{FF2B5EF4-FFF2-40B4-BE49-F238E27FC236}">
                  <a16:creationId xmlns:a16="http://schemas.microsoft.com/office/drawing/2014/main" id="{0FF5BC08-1EB5-4474-AC2F-0035629578E3}"/>
                </a:ext>
              </a:extLst>
            </p:cNvPr>
            <p:cNvSpPr>
              <a:spLocks/>
            </p:cNvSpPr>
            <p:nvPr/>
          </p:nvSpPr>
          <p:spPr bwMode="auto">
            <a:xfrm>
              <a:off x="1842" y="891"/>
              <a:ext cx="774" cy="584"/>
            </a:xfrm>
            <a:custGeom>
              <a:avLst/>
              <a:gdLst>
                <a:gd name="T0" fmla="*/ 774 w 774"/>
                <a:gd name="T1" fmla="*/ 584 h 584"/>
                <a:gd name="T2" fmla="*/ 652 w 774"/>
                <a:gd name="T3" fmla="*/ 584 h 584"/>
                <a:gd name="T4" fmla="*/ 652 w 774"/>
                <a:gd name="T5" fmla="*/ 566 h 584"/>
                <a:gd name="T6" fmla="*/ 756 w 774"/>
                <a:gd name="T7" fmla="*/ 566 h 584"/>
                <a:gd name="T8" fmla="*/ 756 w 774"/>
                <a:gd name="T9" fmla="*/ 18 h 584"/>
                <a:gd name="T10" fmla="*/ 18 w 774"/>
                <a:gd name="T11" fmla="*/ 18 h 584"/>
                <a:gd name="T12" fmla="*/ 18 w 774"/>
                <a:gd name="T13" fmla="*/ 566 h 584"/>
                <a:gd name="T14" fmla="*/ 486 w 774"/>
                <a:gd name="T15" fmla="*/ 566 h 584"/>
                <a:gd name="T16" fmla="*/ 486 w 774"/>
                <a:gd name="T17" fmla="*/ 584 h 584"/>
                <a:gd name="T18" fmla="*/ 0 w 774"/>
                <a:gd name="T19" fmla="*/ 584 h 584"/>
                <a:gd name="T20" fmla="*/ 0 w 774"/>
                <a:gd name="T21" fmla="*/ 0 h 584"/>
                <a:gd name="T22" fmla="*/ 774 w 774"/>
                <a:gd name="T23" fmla="*/ 0 h 584"/>
                <a:gd name="T24" fmla="*/ 774 w 774"/>
                <a:gd name="T25"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4" h="584">
                  <a:moveTo>
                    <a:pt x="774" y="584"/>
                  </a:moveTo>
                  <a:lnTo>
                    <a:pt x="652" y="584"/>
                  </a:lnTo>
                  <a:lnTo>
                    <a:pt x="652" y="566"/>
                  </a:lnTo>
                  <a:lnTo>
                    <a:pt x="756" y="566"/>
                  </a:lnTo>
                  <a:lnTo>
                    <a:pt x="756" y="18"/>
                  </a:lnTo>
                  <a:lnTo>
                    <a:pt x="18" y="18"/>
                  </a:lnTo>
                  <a:lnTo>
                    <a:pt x="18" y="566"/>
                  </a:lnTo>
                  <a:lnTo>
                    <a:pt x="486" y="566"/>
                  </a:lnTo>
                  <a:lnTo>
                    <a:pt x="486" y="584"/>
                  </a:lnTo>
                  <a:lnTo>
                    <a:pt x="0" y="584"/>
                  </a:lnTo>
                  <a:lnTo>
                    <a:pt x="0" y="0"/>
                  </a:lnTo>
                  <a:lnTo>
                    <a:pt x="774" y="0"/>
                  </a:lnTo>
                  <a:lnTo>
                    <a:pt x="774" y="5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68" name="Rectangle 43">
              <a:extLst>
                <a:ext uri="{FF2B5EF4-FFF2-40B4-BE49-F238E27FC236}">
                  <a16:creationId xmlns:a16="http://schemas.microsoft.com/office/drawing/2014/main" id="{BC396F0E-D941-45CB-B67A-CD2C94A3D8E5}"/>
                </a:ext>
              </a:extLst>
            </p:cNvPr>
            <p:cNvSpPr>
              <a:spLocks noChangeArrowheads="1"/>
            </p:cNvSpPr>
            <p:nvPr/>
          </p:nvSpPr>
          <p:spPr bwMode="auto">
            <a:xfrm>
              <a:off x="2042" y="891"/>
              <a:ext cx="18" cy="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grpSp>
      <p:grpSp>
        <p:nvGrpSpPr>
          <p:cNvPr id="69" name="Group 14">
            <a:extLst>
              <a:ext uri="{FF2B5EF4-FFF2-40B4-BE49-F238E27FC236}">
                <a16:creationId xmlns:a16="http://schemas.microsoft.com/office/drawing/2014/main" id="{48B762EA-3A70-4080-9C5D-2CD6F7B78AF5}"/>
              </a:ext>
            </a:extLst>
          </p:cNvPr>
          <p:cNvGrpSpPr>
            <a:grpSpLocks noChangeAspect="1"/>
          </p:cNvGrpSpPr>
          <p:nvPr/>
        </p:nvGrpSpPr>
        <p:grpSpPr bwMode="auto">
          <a:xfrm>
            <a:off x="6877909" y="2625431"/>
            <a:ext cx="297159" cy="406799"/>
            <a:chOff x="4541" y="1889"/>
            <a:chExt cx="580" cy="794"/>
          </a:xfrm>
          <a:solidFill>
            <a:schemeClr val="accent5"/>
          </a:solidFill>
        </p:grpSpPr>
        <p:sp>
          <p:nvSpPr>
            <p:cNvPr id="70" name="Freeform 15">
              <a:extLst>
                <a:ext uri="{FF2B5EF4-FFF2-40B4-BE49-F238E27FC236}">
                  <a16:creationId xmlns:a16="http://schemas.microsoft.com/office/drawing/2014/main" id="{8CB7CEC3-D4FD-4F4C-9B8F-4C7E04F381F2}"/>
                </a:ext>
              </a:extLst>
            </p:cNvPr>
            <p:cNvSpPr>
              <a:spLocks noEditPoints="1"/>
            </p:cNvSpPr>
            <p:nvPr/>
          </p:nvSpPr>
          <p:spPr bwMode="auto">
            <a:xfrm>
              <a:off x="4583" y="1939"/>
              <a:ext cx="494" cy="698"/>
            </a:xfrm>
            <a:custGeom>
              <a:avLst/>
              <a:gdLst>
                <a:gd name="T0" fmla="*/ 148 w 494"/>
                <a:gd name="T1" fmla="*/ 474 h 698"/>
                <a:gd name="T2" fmla="*/ 116 w 494"/>
                <a:gd name="T3" fmla="*/ 456 h 698"/>
                <a:gd name="T4" fmla="*/ 74 w 494"/>
                <a:gd name="T5" fmla="*/ 424 h 698"/>
                <a:gd name="T6" fmla="*/ 40 w 494"/>
                <a:gd name="T7" fmla="*/ 384 h 698"/>
                <a:gd name="T8" fmla="*/ 16 w 494"/>
                <a:gd name="T9" fmla="*/ 336 h 698"/>
                <a:gd name="T10" fmla="*/ 4 w 494"/>
                <a:gd name="T11" fmla="*/ 284 h 698"/>
                <a:gd name="T12" fmla="*/ 0 w 494"/>
                <a:gd name="T13" fmla="*/ 248 h 698"/>
                <a:gd name="T14" fmla="*/ 12 w 494"/>
                <a:gd name="T15" fmla="*/ 174 h 698"/>
                <a:gd name="T16" fmla="*/ 42 w 494"/>
                <a:gd name="T17" fmla="*/ 110 h 698"/>
                <a:gd name="T18" fmla="*/ 90 w 494"/>
                <a:gd name="T19" fmla="*/ 58 h 698"/>
                <a:gd name="T20" fmla="*/ 152 w 494"/>
                <a:gd name="T21" fmla="*/ 20 h 698"/>
                <a:gd name="T22" fmla="*/ 222 w 494"/>
                <a:gd name="T23" fmla="*/ 2 h 698"/>
                <a:gd name="T24" fmla="*/ 272 w 494"/>
                <a:gd name="T25" fmla="*/ 2 h 698"/>
                <a:gd name="T26" fmla="*/ 344 w 494"/>
                <a:gd name="T27" fmla="*/ 20 h 698"/>
                <a:gd name="T28" fmla="*/ 404 w 494"/>
                <a:gd name="T29" fmla="*/ 58 h 698"/>
                <a:gd name="T30" fmla="*/ 452 w 494"/>
                <a:gd name="T31" fmla="*/ 110 h 698"/>
                <a:gd name="T32" fmla="*/ 482 w 494"/>
                <a:gd name="T33" fmla="*/ 174 h 698"/>
                <a:gd name="T34" fmla="*/ 494 w 494"/>
                <a:gd name="T35" fmla="*/ 248 h 698"/>
                <a:gd name="T36" fmla="*/ 492 w 494"/>
                <a:gd name="T37" fmla="*/ 284 h 698"/>
                <a:gd name="T38" fmla="*/ 478 w 494"/>
                <a:gd name="T39" fmla="*/ 336 h 698"/>
                <a:gd name="T40" fmla="*/ 452 w 494"/>
                <a:gd name="T41" fmla="*/ 384 h 698"/>
                <a:gd name="T42" fmla="*/ 418 w 494"/>
                <a:gd name="T43" fmla="*/ 426 h 698"/>
                <a:gd name="T44" fmla="*/ 376 w 494"/>
                <a:gd name="T45" fmla="*/ 458 h 698"/>
                <a:gd name="T46" fmla="*/ 342 w 494"/>
                <a:gd name="T47" fmla="*/ 698 h 698"/>
                <a:gd name="T48" fmla="*/ 324 w 494"/>
                <a:gd name="T49" fmla="*/ 462 h 698"/>
                <a:gd name="T50" fmla="*/ 346 w 494"/>
                <a:gd name="T51" fmla="*/ 454 h 698"/>
                <a:gd name="T52" fmla="*/ 390 w 494"/>
                <a:gd name="T53" fmla="*/ 426 h 698"/>
                <a:gd name="T54" fmla="*/ 426 w 494"/>
                <a:gd name="T55" fmla="*/ 390 h 698"/>
                <a:gd name="T56" fmla="*/ 454 w 494"/>
                <a:gd name="T57" fmla="*/ 348 h 698"/>
                <a:gd name="T58" fmla="*/ 470 w 494"/>
                <a:gd name="T59" fmla="*/ 300 h 698"/>
                <a:gd name="T60" fmla="*/ 476 w 494"/>
                <a:gd name="T61" fmla="*/ 248 h 698"/>
                <a:gd name="T62" fmla="*/ 472 w 494"/>
                <a:gd name="T63" fmla="*/ 202 h 698"/>
                <a:gd name="T64" fmla="*/ 448 w 494"/>
                <a:gd name="T65" fmla="*/ 138 h 698"/>
                <a:gd name="T66" fmla="*/ 408 w 494"/>
                <a:gd name="T67" fmla="*/ 86 h 698"/>
                <a:gd name="T68" fmla="*/ 356 w 494"/>
                <a:gd name="T69" fmla="*/ 46 h 698"/>
                <a:gd name="T70" fmla="*/ 294 w 494"/>
                <a:gd name="T71" fmla="*/ 24 h 698"/>
                <a:gd name="T72" fmla="*/ 248 w 494"/>
                <a:gd name="T73" fmla="*/ 18 h 698"/>
                <a:gd name="T74" fmla="*/ 180 w 494"/>
                <a:gd name="T75" fmla="*/ 30 h 698"/>
                <a:gd name="T76" fmla="*/ 120 w 494"/>
                <a:gd name="T77" fmla="*/ 58 h 698"/>
                <a:gd name="T78" fmla="*/ 70 w 494"/>
                <a:gd name="T79" fmla="*/ 102 h 698"/>
                <a:gd name="T80" fmla="*/ 36 w 494"/>
                <a:gd name="T81" fmla="*/ 158 h 698"/>
                <a:gd name="T82" fmla="*/ 20 w 494"/>
                <a:gd name="T83" fmla="*/ 224 h 698"/>
                <a:gd name="T84" fmla="*/ 20 w 494"/>
                <a:gd name="T85" fmla="*/ 264 h 698"/>
                <a:gd name="T86" fmla="*/ 28 w 494"/>
                <a:gd name="T87" fmla="*/ 316 h 698"/>
                <a:gd name="T88" fmla="*/ 48 w 494"/>
                <a:gd name="T89" fmla="*/ 362 h 698"/>
                <a:gd name="T90" fmla="*/ 78 w 494"/>
                <a:gd name="T91" fmla="*/ 402 h 698"/>
                <a:gd name="T92" fmla="*/ 116 w 494"/>
                <a:gd name="T93" fmla="*/ 434 h 698"/>
                <a:gd name="T94" fmla="*/ 162 w 494"/>
                <a:gd name="T95" fmla="*/ 460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4" h="698">
                  <a:moveTo>
                    <a:pt x="342" y="698"/>
                  </a:moveTo>
                  <a:lnTo>
                    <a:pt x="148" y="698"/>
                  </a:lnTo>
                  <a:lnTo>
                    <a:pt x="148" y="474"/>
                  </a:lnTo>
                  <a:lnTo>
                    <a:pt x="148" y="474"/>
                  </a:lnTo>
                  <a:lnTo>
                    <a:pt x="132" y="466"/>
                  </a:lnTo>
                  <a:lnTo>
                    <a:pt x="116" y="456"/>
                  </a:lnTo>
                  <a:lnTo>
                    <a:pt x="102" y="446"/>
                  </a:lnTo>
                  <a:lnTo>
                    <a:pt x="88" y="436"/>
                  </a:lnTo>
                  <a:lnTo>
                    <a:pt x="74" y="424"/>
                  </a:lnTo>
                  <a:lnTo>
                    <a:pt x="62" y="412"/>
                  </a:lnTo>
                  <a:lnTo>
                    <a:pt x="50" y="398"/>
                  </a:lnTo>
                  <a:lnTo>
                    <a:pt x="40" y="384"/>
                  </a:lnTo>
                  <a:lnTo>
                    <a:pt x="32" y="368"/>
                  </a:lnTo>
                  <a:lnTo>
                    <a:pt x="24" y="352"/>
                  </a:lnTo>
                  <a:lnTo>
                    <a:pt x="16" y="336"/>
                  </a:lnTo>
                  <a:lnTo>
                    <a:pt x="10" y="320"/>
                  </a:lnTo>
                  <a:lnTo>
                    <a:pt x="6" y="302"/>
                  </a:lnTo>
                  <a:lnTo>
                    <a:pt x="4" y="284"/>
                  </a:lnTo>
                  <a:lnTo>
                    <a:pt x="2" y="266"/>
                  </a:lnTo>
                  <a:lnTo>
                    <a:pt x="0" y="248"/>
                  </a:lnTo>
                  <a:lnTo>
                    <a:pt x="0" y="248"/>
                  </a:lnTo>
                  <a:lnTo>
                    <a:pt x="2" y="222"/>
                  </a:lnTo>
                  <a:lnTo>
                    <a:pt x="6" y="198"/>
                  </a:lnTo>
                  <a:lnTo>
                    <a:pt x="12" y="174"/>
                  </a:lnTo>
                  <a:lnTo>
                    <a:pt x="20" y="152"/>
                  </a:lnTo>
                  <a:lnTo>
                    <a:pt x="30" y="130"/>
                  </a:lnTo>
                  <a:lnTo>
                    <a:pt x="42" y="110"/>
                  </a:lnTo>
                  <a:lnTo>
                    <a:pt x="56" y="90"/>
                  </a:lnTo>
                  <a:lnTo>
                    <a:pt x="72" y="74"/>
                  </a:lnTo>
                  <a:lnTo>
                    <a:pt x="90" y="58"/>
                  </a:lnTo>
                  <a:lnTo>
                    <a:pt x="110" y="42"/>
                  </a:lnTo>
                  <a:lnTo>
                    <a:pt x="130" y="30"/>
                  </a:lnTo>
                  <a:lnTo>
                    <a:pt x="152" y="20"/>
                  </a:lnTo>
                  <a:lnTo>
                    <a:pt x="174" y="12"/>
                  </a:lnTo>
                  <a:lnTo>
                    <a:pt x="198" y="6"/>
                  </a:lnTo>
                  <a:lnTo>
                    <a:pt x="222" y="2"/>
                  </a:lnTo>
                  <a:lnTo>
                    <a:pt x="248" y="0"/>
                  </a:lnTo>
                  <a:lnTo>
                    <a:pt x="248" y="0"/>
                  </a:lnTo>
                  <a:lnTo>
                    <a:pt x="272" y="2"/>
                  </a:lnTo>
                  <a:lnTo>
                    <a:pt x="296" y="6"/>
                  </a:lnTo>
                  <a:lnTo>
                    <a:pt x="320" y="12"/>
                  </a:lnTo>
                  <a:lnTo>
                    <a:pt x="344" y="20"/>
                  </a:lnTo>
                  <a:lnTo>
                    <a:pt x="364" y="30"/>
                  </a:lnTo>
                  <a:lnTo>
                    <a:pt x="386" y="42"/>
                  </a:lnTo>
                  <a:lnTo>
                    <a:pt x="404" y="58"/>
                  </a:lnTo>
                  <a:lnTo>
                    <a:pt x="422" y="74"/>
                  </a:lnTo>
                  <a:lnTo>
                    <a:pt x="438" y="90"/>
                  </a:lnTo>
                  <a:lnTo>
                    <a:pt x="452" y="110"/>
                  </a:lnTo>
                  <a:lnTo>
                    <a:pt x="464" y="130"/>
                  </a:lnTo>
                  <a:lnTo>
                    <a:pt x="474" y="152"/>
                  </a:lnTo>
                  <a:lnTo>
                    <a:pt x="482" y="174"/>
                  </a:lnTo>
                  <a:lnTo>
                    <a:pt x="488" y="198"/>
                  </a:lnTo>
                  <a:lnTo>
                    <a:pt x="492" y="222"/>
                  </a:lnTo>
                  <a:lnTo>
                    <a:pt x="494" y="248"/>
                  </a:lnTo>
                  <a:lnTo>
                    <a:pt x="494" y="248"/>
                  </a:lnTo>
                  <a:lnTo>
                    <a:pt x="494" y="266"/>
                  </a:lnTo>
                  <a:lnTo>
                    <a:pt x="492" y="284"/>
                  </a:lnTo>
                  <a:lnTo>
                    <a:pt x="488" y="302"/>
                  </a:lnTo>
                  <a:lnTo>
                    <a:pt x="484" y="320"/>
                  </a:lnTo>
                  <a:lnTo>
                    <a:pt x="478" y="336"/>
                  </a:lnTo>
                  <a:lnTo>
                    <a:pt x="470" y="354"/>
                  </a:lnTo>
                  <a:lnTo>
                    <a:pt x="462" y="370"/>
                  </a:lnTo>
                  <a:lnTo>
                    <a:pt x="452" y="384"/>
                  </a:lnTo>
                  <a:lnTo>
                    <a:pt x="442" y="398"/>
                  </a:lnTo>
                  <a:lnTo>
                    <a:pt x="432" y="412"/>
                  </a:lnTo>
                  <a:lnTo>
                    <a:pt x="418" y="426"/>
                  </a:lnTo>
                  <a:lnTo>
                    <a:pt x="406" y="438"/>
                  </a:lnTo>
                  <a:lnTo>
                    <a:pt x="390" y="448"/>
                  </a:lnTo>
                  <a:lnTo>
                    <a:pt x="376" y="458"/>
                  </a:lnTo>
                  <a:lnTo>
                    <a:pt x="360" y="466"/>
                  </a:lnTo>
                  <a:lnTo>
                    <a:pt x="342" y="474"/>
                  </a:lnTo>
                  <a:lnTo>
                    <a:pt x="342" y="698"/>
                  </a:lnTo>
                  <a:close/>
                  <a:moveTo>
                    <a:pt x="166" y="680"/>
                  </a:moveTo>
                  <a:lnTo>
                    <a:pt x="324" y="680"/>
                  </a:lnTo>
                  <a:lnTo>
                    <a:pt x="324" y="462"/>
                  </a:lnTo>
                  <a:lnTo>
                    <a:pt x="330" y="460"/>
                  </a:lnTo>
                  <a:lnTo>
                    <a:pt x="330" y="460"/>
                  </a:lnTo>
                  <a:lnTo>
                    <a:pt x="346" y="454"/>
                  </a:lnTo>
                  <a:lnTo>
                    <a:pt x="362" y="446"/>
                  </a:lnTo>
                  <a:lnTo>
                    <a:pt x="376" y="436"/>
                  </a:lnTo>
                  <a:lnTo>
                    <a:pt x="390" y="426"/>
                  </a:lnTo>
                  <a:lnTo>
                    <a:pt x="404" y="414"/>
                  </a:lnTo>
                  <a:lnTo>
                    <a:pt x="416" y="402"/>
                  </a:lnTo>
                  <a:lnTo>
                    <a:pt x="426" y="390"/>
                  </a:lnTo>
                  <a:lnTo>
                    <a:pt x="436" y="376"/>
                  </a:lnTo>
                  <a:lnTo>
                    <a:pt x="446" y="362"/>
                  </a:lnTo>
                  <a:lnTo>
                    <a:pt x="454" y="348"/>
                  </a:lnTo>
                  <a:lnTo>
                    <a:pt x="460" y="332"/>
                  </a:lnTo>
                  <a:lnTo>
                    <a:pt x="466" y="316"/>
                  </a:lnTo>
                  <a:lnTo>
                    <a:pt x="470" y="300"/>
                  </a:lnTo>
                  <a:lnTo>
                    <a:pt x="474" y="282"/>
                  </a:lnTo>
                  <a:lnTo>
                    <a:pt x="476" y="266"/>
                  </a:lnTo>
                  <a:lnTo>
                    <a:pt x="476" y="248"/>
                  </a:lnTo>
                  <a:lnTo>
                    <a:pt x="476" y="248"/>
                  </a:lnTo>
                  <a:lnTo>
                    <a:pt x="474" y="224"/>
                  </a:lnTo>
                  <a:lnTo>
                    <a:pt x="472" y="202"/>
                  </a:lnTo>
                  <a:lnTo>
                    <a:pt x="466" y="180"/>
                  </a:lnTo>
                  <a:lnTo>
                    <a:pt x="458" y="158"/>
                  </a:lnTo>
                  <a:lnTo>
                    <a:pt x="448" y="138"/>
                  </a:lnTo>
                  <a:lnTo>
                    <a:pt x="436" y="120"/>
                  </a:lnTo>
                  <a:lnTo>
                    <a:pt x="424" y="102"/>
                  </a:lnTo>
                  <a:lnTo>
                    <a:pt x="408" y="86"/>
                  </a:lnTo>
                  <a:lnTo>
                    <a:pt x="392" y="72"/>
                  </a:lnTo>
                  <a:lnTo>
                    <a:pt x="374" y="58"/>
                  </a:lnTo>
                  <a:lnTo>
                    <a:pt x="356" y="46"/>
                  </a:lnTo>
                  <a:lnTo>
                    <a:pt x="336" y="36"/>
                  </a:lnTo>
                  <a:lnTo>
                    <a:pt x="316" y="30"/>
                  </a:lnTo>
                  <a:lnTo>
                    <a:pt x="294" y="24"/>
                  </a:lnTo>
                  <a:lnTo>
                    <a:pt x="270" y="20"/>
                  </a:lnTo>
                  <a:lnTo>
                    <a:pt x="248" y="18"/>
                  </a:lnTo>
                  <a:lnTo>
                    <a:pt x="248" y="18"/>
                  </a:lnTo>
                  <a:lnTo>
                    <a:pt x="224" y="20"/>
                  </a:lnTo>
                  <a:lnTo>
                    <a:pt x="202" y="24"/>
                  </a:lnTo>
                  <a:lnTo>
                    <a:pt x="180" y="30"/>
                  </a:lnTo>
                  <a:lnTo>
                    <a:pt x="158" y="36"/>
                  </a:lnTo>
                  <a:lnTo>
                    <a:pt x="138" y="46"/>
                  </a:lnTo>
                  <a:lnTo>
                    <a:pt x="120" y="58"/>
                  </a:lnTo>
                  <a:lnTo>
                    <a:pt x="102" y="72"/>
                  </a:lnTo>
                  <a:lnTo>
                    <a:pt x="86" y="86"/>
                  </a:lnTo>
                  <a:lnTo>
                    <a:pt x="70" y="102"/>
                  </a:lnTo>
                  <a:lnTo>
                    <a:pt x="58" y="120"/>
                  </a:lnTo>
                  <a:lnTo>
                    <a:pt x="46" y="138"/>
                  </a:lnTo>
                  <a:lnTo>
                    <a:pt x="36" y="158"/>
                  </a:lnTo>
                  <a:lnTo>
                    <a:pt x="28" y="180"/>
                  </a:lnTo>
                  <a:lnTo>
                    <a:pt x="24" y="202"/>
                  </a:lnTo>
                  <a:lnTo>
                    <a:pt x="20" y="224"/>
                  </a:lnTo>
                  <a:lnTo>
                    <a:pt x="18" y="248"/>
                  </a:lnTo>
                  <a:lnTo>
                    <a:pt x="18" y="248"/>
                  </a:lnTo>
                  <a:lnTo>
                    <a:pt x="20" y="264"/>
                  </a:lnTo>
                  <a:lnTo>
                    <a:pt x="20" y="282"/>
                  </a:lnTo>
                  <a:lnTo>
                    <a:pt x="24" y="298"/>
                  </a:lnTo>
                  <a:lnTo>
                    <a:pt x="28" y="316"/>
                  </a:lnTo>
                  <a:lnTo>
                    <a:pt x="34" y="332"/>
                  </a:lnTo>
                  <a:lnTo>
                    <a:pt x="40" y="346"/>
                  </a:lnTo>
                  <a:lnTo>
                    <a:pt x="48" y="362"/>
                  </a:lnTo>
                  <a:lnTo>
                    <a:pt x="58" y="376"/>
                  </a:lnTo>
                  <a:lnTo>
                    <a:pt x="68" y="388"/>
                  </a:lnTo>
                  <a:lnTo>
                    <a:pt x="78" y="402"/>
                  </a:lnTo>
                  <a:lnTo>
                    <a:pt x="90" y="414"/>
                  </a:lnTo>
                  <a:lnTo>
                    <a:pt x="102" y="424"/>
                  </a:lnTo>
                  <a:lnTo>
                    <a:pt x="116" y="434"/>
                  </a:lnTo>
                  <a:lnTo>
                    <a:pt x="130" y="444"/>
                  </a:lnTo>
                  <a:lnTo>
                    <a:pt x="146" y="452"/>
                  </a:lnTo>
                  <a:lnTo>
                    <a:pt x="162" y="460"/>
                  </a:lnTo>
                  <a:lnTo>
                    <a:pt x="166" y="462"/>
                  </a:lnTo>
                  <a:lnTo>
                    <a:pt x="166" y="680"/>
                  </a:lnTo>
                  <a:close/>
                </a:path>
              </a:pathLst>
            </a:custGeom>
            <a:grpFill/>
            <a:ln w="9525">
              <a:noFill/>
              <a:round/>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71" name="Freeform 16">
              <a:extLst>
                <a:ext uri="{FF2B5EF4-FFF2-40B4-BE49-F238E27FC236}">
                  <a16:creationId xmlns:a16="http://schemas.microsoft.com/office/drawing/2014/main" id="{FFA5E0B3-B69D-4656-ABAA-7B08EF105FBF}"/>
                </a:ext>
              </a:extLst>
            </p:cNvPr>
            <p:cNvSpPr>
              <a:spLocks noEditPoints="1"/>
            </p:cNvSpPr>
            <p:nvPr/>
          </p:nvSpPr>
          <p:spPr bwMode="auto">
            <a:xfrm>
              <a:off x="4779" y="2619"/>
              <a:ext cx="102" cy="64"/>
            </a:xfrm>
            <a:custGeom>
              <a:avLst/>
              <a:gdLst>
                <a:gd name="T0" fmla="*/ 76 w 102"/>
                <a:gd name="T1" fmla="*/ 64 h 64"/>
                <a:gd name="T2" fmla="*/ 26 w 102"/>
                <a:gd name="T3" fmla="*/ 64 h 64"/>
                <a:gd name="T4" fmla="*/ 0 w 102"/>
                <a:gd name="T5" fmla="*/ 0 h 64"/>
                <a:gd name="T6" fmla="*/ 102 w 102"/>
                <a:gd name="T7" fmla="*/ 0 h 64"/>
                <a:gd name="T8" fmla="*/ 76 w 102"/>
                <a:gd name="T9" fmla="*/ 64 h 64"/>
                <a:gd name="T10" fmla="*/ 38 w 102"/>
                <a:gd name="T11" fmla="*/ 46 h 64"/>
                <a:gd name="T12" fmla="*/ 64 w 102"/>
                <a:gd name="T13" fmla="*/ 46 h 64"/>
                <a:gd name="T14" fmla="*/ 76 w 102"/>
                <a:gd name="T15" fmla="*/ 18 h 64"/>
                <a:gd name="T16" fmla="*/ 26 w 102"/>
                <a:gd name="T17" fmla="*/ 18 h 64"/>
                <a:gd name="T18" fmla="*/ 38 w 102"/>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4">
                  <a:moveTo>
                    <a:pt x="76" y="64"/>
                  </a:moveTo>
                  <a:lnTo>
                    <a:pt x="26" y="64"/>
                  </a:lnTo>
                  <a:lnTo>
                    <a:pt x="0" y="0"/>
                  </a:lnTo>
                  <a:lnTo>
                    <a:pt x="102" y="0"/>
                  </a:lnTo>
                  <a:lnTo>
                    <a:pt x="76" y="64"/>
                  </a:lnTo>
                  <a:close/>
                  <a:moveTo>
                    <a:pt x="38" y="46"/>
                  </a:moveTo>
                  <a:lnTo>
                    <a:pt x="64" y="46"/>
                  </a:lnTo>
                  <a:lnTo>
                    <a:pt x="76" y="18"/>
                  </a:lnTo>
                  <a:lnTo>
                    <a:pt x="26" y="18"/>
                  </a:lnTo>
                  <a:lnTo>
                    <a:pt x="38" y="46"/>
                  </a:lnTo>
                  <a:close/>
                </a:path>
              </a:pathLst>
            </a:custGeom>
            <a:grpFill/>
            <a:ln w="9525">
              <a:noFill/>
              <a:round/>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72" name="Rectangle 17">
              <a:extLst>
                <a:ext uri="{FF2B5EF4-FFF2-40B4-BE49-F238E27FC236}">
                  <a16:creationId xmlns:a16="http://schemas.microsoft.com/office/drawing/2014/main" id="{EDAC0EC7-D006-4177-BD9C-36F819F40A5E}"/>
                </a:ext>
              </a:extLst>
            </p:cNvPr>
            <p:cNvSpPr>
              <a:spLocks noChangeArrowheads="1"/>
            </p:cNvSpPr>
            <p:nvPr/>
          </p:nvSpPr>
          <p:spPr bwMode="auto">
            <a:xfrm>
              <a:off x="4691" y="2475"/>
              <a:ext cx="278" cy="1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73" name="Rectangle 18">
              <a:extLst>
                <a:ext uri="{FF2B5EF4-FFF2-40B4-BE49-F238E27FC236}">
                  <a16:creationId xmlns:a16="http://schemas.microsoft.com/office/drawing/2014/main" id="{15AC6A7C-DC3A-494B-8FC1-F13832D91F19}"/>
                </a:ext>
              </a:extLst>
            </p:cNvPr>
            <p:cNvSpPr>
              <a:spLocks noChangeArrowheads="1"/>
            </p:cNvSpPr>
            <p:nvPr/>
          </p:nvSpPr>
          <p:spPr bwMode="auto">
            <a:xfrm>
              <a:off x="4691" y="2519"/>
              <a:ext cx="278" cy="1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74" name="Rectangle 19">
              <a:extLst>
                <a:ext uri="{FF2B5EF4-FFF2-40B4-BE49-F238E27FC236}">
                  <a16:creationId xmlns:a16="http://schemas.microsoft.com/office/drawing/2014/main" id="{CDBAD2DE-27AD-4147-8E04-47B4F18385BF}"/>
                </a:ext>
              </a:extLst>
            </p:cNvPr>
            <p:cNvSpPr>
              <a:spLocks noChangeArrowheads="1"/>
            </p:cNvSpPr>
            <p:nvPr/>
          </p:nvSpPr>
          <p:spPr bwMode="auto">
            <a:xfrm>
              <a:off x="4691" y="2565"/>
              <a:ext cx="278" cy="1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75" name="Rectangle 20">
              <a:extLst>
                <a:ext uri="{FF2B5EF4-FFF2-40B4-BE49-F238E27FC236}">
                  <a16:creationId xmlns:a16="http://schemas.microsoft.com/office/drawing/2014/main" id="{14C287CB-ECAD-4459-BA7E-ACA0D201FE8D}"/>
                </a:ext>
              </a:extLst>
            </p:cNvPr>
            <p:cNvSpPr>
              <a:spLocks noChangeArrowheads="1"/>
            </p:cNvSpPr>
            <p:nvPr/>
          </p:nvSpPr>
          <p:spPr bwMode="auto">
            <a:xfrm>
              <a:off x="4673" y="1929"/>
              <a:ext cx="18" cy="2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76" name="Rectangle 21">
              <a:extLst>
                <a:ext uri="{FF2B5EF4-FFF2-40B4-BE49-F238E27FC236}">
                  <a16:creationId xmlns:a16="http://schemas.microsoft.com/office/drawing/2014/main" id="{C577A06B-F76C-43AF-9364-7544A1924AB8}"/>
                </a:ext>
              </a:extLst>
            </p:cNvPr>
            <p:cNvSpPr>
              <a:spLocks noChangeArrowheads="1"/>
            </p:cNvSpPr>
            <p:nvPr/>
          </p:nvSpPr>
          <p:spPr bwMode="auto">
            <a:xfrm>
              <a:off x="4573" y="2023"/>
              <a:ext cx="18" cy="2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77" name="Rectangle 22">
              <a:extLst>
                <a:ext uri="{FF2B5EF4-FFF2-40B4-BE49-F238E27FC236}">
                  <a16:creationId xmlns:a16="http://schemas.microsoft.com/office/drawing/2014/main" id="{252B7962-8880-40A4-94AA-EB4486F4F912}"/>
                </a:ext>
              </a:extLst>
            </p:cNvPr>
            <p:cNvSpPr>
              <a:spLocks noChangeArrowheads="1"/>
            </p:cNvSpPr>
            <p:nvPr/>
          </p:nvSpPr>
          <p:spPr bwMode="auto">
            <a:xfrm>
              <a:off x="4821" y="1889"/>
              <a:ext cx="18" cy="2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78" name="Rectangle 23">
              <a:extLst>
                <a:ext uri="{FF2B5EF4-FFF2-40B4-BE49-F238E27FC236}">
                  <a16:creationId xmlns:a16="http://schemas.microsoft.com/office/drawing/2014/main" id="{A099C34E-5DF9-4CC0-90AF-EE57A4BDC4F0}"/>
                </a:ext>
              </a:extLst>
            </p:cNvPr>
            <p:cNvSpPr>
              <a:spLocks noChangeArrowheads="1"/>
            </p:cNvSpPr>
            <p:nvPr/>
          </p:nvSpPr>
          <p:spPr bwMode="auto">
            <a:xfrm>
              <a:off x="4969" y="1929"/>
              <a:ext cx="18" cy="2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79" name="Rectangle 24">
              <a:extLst>
                <a:ext uri="{FF2B5EF4-FFF2-40B4-BE49-F238E27FC236}">
                  <a16:creationId xmlns:a16="http://schemas.microsoft.com/office/drawing/2014/main" id="{B425BAC9-6C7C-4312-A54C-4C0A3A535AA2}"/>
                </a:ext>
              </a:extLst>
            </p:cNvPr>
            <p:cNvSpPr>
              <a:spLocks noChangeArrowheads="1"/>
            </p:cNvSpPr>
            <p:nvPr/>
          </p:nvSpPr>
          <p:spPr bwMode="auto">
            <a:xfrm>
              <a:off x="5063" y="2023"/>
              <a:ext cx="18" cy="2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80" name="Rectangle 25">
              <a:extLst>
                <a:ext uri="{FF2B5EF4-FFF2-40B4-BE49-F238E27FC236}">
                  <a16:creationId xmlns:a16="http://schemas.microsoft.com/office/drawing/2014/main" id="{BADA7BDE-7A3B-4E05-8BA7-DEA614FCA557}"/>
                </a:ext>
              </a:extLst>
            </p:cNvPr>
            <p:cNvSpPr>
              <a:spLocks noChangeArrowheads="1"/>
            </p:cNvSpPr>
            <p:nvPr/>
          </p:nvSpPr>
          <p:spPr bwMode="auto">
            <a:xfrm>
              <a:off x="4573" y="2319"/>
              <a:ext cx="18" cy="2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81" name="Rectangle 26">
              <a:extLst>
                <a:ext uri="{FF2B5EF4-FFF2-40B4-BE49-F238E27FC236}">
                  <a16:creationId xmlns:a16="http://schemas.microsoft.com/office/drawing/2014/main" id="{E9B3F321-4940-4AA8-94AB-C57C2D67B0B9}"/>
                </a:ext>
              </a:extLst>
            </p:cNvPr>
            <p:cNvSpPr>
              <a:spLocks noChangeArrowheads="1"/>
            </p:cNvSpPr>
            <p:nvPr/>
          </p:nvSpPr>
          <p:spPr bwMode="auto">
            <a:xfrm>
              <a:off x="5063" y="2319"/>
              <a:ext cx="18" cy="28"/>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82" name="Rectangle 27">
              <a:extLst>
                <a:ext uri="{FF2B5EF4-FFF2-40B4-BE49-F238E27FC236}">
                  <a16:creationId xmlns:a16="http://schemas.microsoft.com/office/drawing/2014/main" id="{B301D6A0-2729-42E8-93E3-00644FB76269}"/>
                </a:ext>
              </a:extLst>
            </p:cNvPr>
            <p:cNvSpPr>
              <a:spLocks noChangeArrowheads="1"/>
            </p:cNvSpPr>
            <p:nvPr/>
          </p:nvSpPr>
          <p:spPr bwMode="auto">
            <a:xfrm>
              <a:off x="5103" y="2163"/>
              <a:ext cx="18" cy="30"/>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83" name="Rectangle 28">
              <a:extLst>
                <a:ext uri="{FF2B5EF4-FFF2-40B4-BE49-F238E27FC236}">
                  <a16:creationId xmlns:a16="http://schemas.microsoft.com/office/drawing/2014/main" id="{BEA0107E-2BAA-4F1F-8ABB-705DE3BB0F3B}"/>
                </a:ext>
              </a:extLst>
            </p:cNvPr>
            <p:cNvSpPr>
              <a:spLocks noChangeArrowheads="1"/>
            </p:cNvSpPr>
            <p:nvPr/>
          </p:nvSpPr>
          <p:spPr bwMode="auto">
            <a:xfrm>
              <a:off x="4541" y="2163"/>
              <a:ext cx="18" cy="30"/>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84" name="Rectangle 29">
              <a:extLst>
                <a:ext uri="{FF2B5EF4-FFF2-40B4-BE49-F238E27FC236}">
                  <a16:creationId xmlns:a16="http://schemas.microsoft.com/office/drawing/2014/main" id="{D0F7DE80-4202-4F4A-93B4-204AB297367C}"/>
                </a:ext>
              </a:extLst>
            </p:cNvPr>
            <p:cNvSpPr>
              <a:spLocks noChangeArrowheads="1"/>
            </p:cNvSpPr>
            <p:nvPr/>
          </p:nvSpPr>
          <p:spPr bwMode="auto">
            <a:xfrm>
              <a:off x="4795" y="2407"/>
              <a:ext cx="18" cy="86"/>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85" name="Rectangle 30">
              <a:extLst>
                <a:ext uri="{FF2B5EF4-FFF2-40B4-BE49-F238E27FC236}">
                  <a16:creationId xmlns:a16="http://schemas.microsoft.com/office/drawing/2014/main" id="{0611ADF0-A051-455B-910D-D89D2EB013A4}"/>
                </a:ext>
              </a:extLst>
            </p:cNvPr>
            <p:cNvSpPr>
              <a:spLocks noChangeArrowheads="1"/>
            </p:cNvSpPr>
            <p:nvPr/>
          </p:nvSpPr>
          <p:spPr bwMode="auto">
            <a:xfrm>
              <a:off x="4847" y="2407"/>
              <a:ext cx="18" cy="86"/>
            </a:xfrm>
            <a:prstGeom prst="rect">
              <a:avLst/>
            </a:prstGeom>
            <a:grpFill/>
            <a:ln w="9525">
              <a:noFill/>
              <a:miter lim="800000"/>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86" name="Freeform 31">
              <a:extLst>
                <a:ext uri="{FF2B5EF4-FFF2-40B4-BE49-F238E27FC236}">
                  <a16:creationId xmlns:a16="http://schemas.microsoft.com/office/drawing/2014/main" id="{507101E4-9635-4253-AC02-B717C20E8B0D}"/>
                </a:ext>
              </a:extLst>
            </p:cNvPr>
            <p:cNvSpPr>
              <a:spLocks noEditPoints="1"/>
            </p:cNvSpPr>
            <p:nvPr/>
          </p:nvSpPr>
          <p:spPr bwMode="auto">
            <a:xfrm>
              <a:off x="4645" y="1999"/>
              <a:ext cx="370" cy="370"/>
            </a:xfrm>
            <a:custGeom>
              <a:avLst/>
              <a:gdLst>
                <a:gd name="T0" fmla="*/ 150 w 370"/>
                <a:gd name="T1" fmla="*/ 328 h 370"/>
                <a:gd name="T2" fmla="*/ 110 w 370"/>
                <a:gd name="T3" fmla="*/ 310 h 370"/>
                <a:gd name="T4" fmla="*/ 60 w 370"/>
                <a:gd name="T5" fmla="*/ 260 h 370"/>
                <a:gd name="T6" fmla="*/ 42 w 370"/>
                <a:gd name="T7" fmla="*/ 220 h 370"/>
                <a:gd name="T8" fmla="*/ 42 w 370"/>
                <a:gd name="T9" fmla="*/ 150 h 370"/>
                <a:gd name="T10" fmla="*/ 60 w 370"/>
                <a:gd name="T11" fmla="*/ 108 h 370"/>
                <a:gd name="T12" fmla="*/ 110 w 370"/>
                <a:gd name="T13" fmla="*/ 60 h 370"/>
                <a:gd name="T14" fmla="*/ 150 w 370"/>
                <a:gd name="T15" fmla="*/ 42 h 370"/>
                <a:gd name="T16" fmla="*/ 220 w 370"/>
                <a:gd name="T17" fmla="*/ 42 h 370"/>
                <a:gd name="T18" fmla="*/ 262 w 370"/>
                <a:gd name="T19" fmla="*/ 60 h 370"/>
                <a:gd name="T20" fmla="*/ 310 w 370"/>
                <a:gd name="T21" fmla="*/ 108 h 370"/>
                <a:gd name="T22" fmla="*/ 328 w 370"/>
                <a:gd name="T23" fmla="*/ 150 h 370"/>
                <a:gd name="T24" fmla="*/ 328 w 370"/>
                <a:gd name="T25" fmla="*/ 220 h 370"/>
                <a:gd name="T26" fmla="*/ 310 w 370"/>
                <a:gd name="T27" fmla="*/ 260 h 370"/>
                <a:gd name="T28" fmla="*/ 262 w 370"/>
                <a:gd name="T29" fmla="*/ 310 h 370"/>
                <a:gd name="T30" fmla="*/ 220 w 370"/>
                <a:gd name="T31" fmla="*/ 328 h 370"/>
                <a:gd name="T32" fmla="*/ 202 w 370"/>
                <a:gd name="T33" fmla="*/ 352 h 370"/>
                <a:gd name="T34" fmla="*/ 210 w 370"/>
                <a:gd name="T35" fmla="*/ 310 h 370"/>
                <a:gd name="T36" fmla="*/ 246 w 370"/>
                <a:gd name="T37" fmla="*/ 298 h 370"/>
                <a:gd name="T38" fmla="*/ 290 w 370"/>
                <a:gd name="T39" fmla="*/ 314 h 370"/>
                <a:gd name="T40" fmla="*/ 292 w 370"/>
                <a:gd name="T41" fmla="*/ 256 h 370"/>
                <a:gd name="T42" fmla="*/ 304 w 370"/>
                <a:gd name="T43" fmla="*/ 234 h 370"/>
                <a:gd name="T44" fmla="*/ 312 w 370"/>
                <a:gd name="T45" fmla="*/ 202 h 370"/>
                <a:gd name="T46" fmla="*/ 312 w 370"/>
                <a:gd name="T47" fmla="*/ 168 h 370"/>
                <a:gd name="T48" fmla="*/ 308 w 370"/>
                <a:gd name="T49" fmla="*/ 148 h 370"/>
                <a:gd name="T50" fmla="*/ 292 w 370"/>
                <a:gd name="T51" fmla="*/ 112 h 370"/>
                <a:gd name="T52" fmla="*/ 290 w 370"/>
                <a:gd name="T53" fmla="*/ 54 h 370"/>
                <a:gd name="T54" fmla="*/ 258 w 370"/>
                <a:gd name="T55" fmla="*/ 78 h 370"/>
                <a:gd name="T56" fmla="*/ 222 w 370"/>
                <a:gd name="T57" fmla="*/ 62 h 370"/>
                <a:gd name="T58" fmla="*/ 202 w 370"/>
                <a:gd name="T59" fmla="*/ 18 h 370"/>
                <a:gd name="T60" fmla="*/ 160 w 370"/>
                <a:gd name="T61" fmla="*/ 58 h 370"/>
                <a:gd name="T62" fmla="*/ 136 w 370"/>
                <a:gd name="T63" fmla="*/ 66 h 370"/>
                <a:gd name="T64" fmla="*/ 106 w 370"/>
                <a:gd name="T65" fmla="*/ 82 h 370"/>
                <a:gd name="T66" fmla="*/ 82 w 370"/>
                <a:gd name="T67" fmla="*/ 106 h 370"/>
                <a:gd name="T68" fmla="*/ 72 w 370"/>
                <a:gd name="T69" fmla="*/ 124 h 370"/>
                <a:gd name="T70" fmla="*/ 58 w 370"/>
                <a:gd name="T71" fmla="*/ 160 h 370"/>
                <a:gd name="T72" fmla="*/ 18 w 370"/>
                <a:gd name="T73" fmla="*/ 202 h 370"/>
                <a:gd name="T74" fmla="*/ 58 w 370"/>
                <a:gd name="T75" fmla="*/ 208 h 370"/>
                <a:gd name="T76" fmla="*/ 72 w 370"/>
                <a:gd name="T77" fmla="*/ 246 h 370"/>
                <a:gd name="T78" fmla="*/ 56 w 370"/>
                <a:gd name="T79" fmla="*/ 290 h 370"/>
                <a:gd name="T80" fmla="*/ 112 w 370"/>
                <a:gd name="T81" fmla="*/ 292 h 370"/>
                <a:gd name="T82" fmla="*/ 136 w 370"/>
                <a:gd name="T83" fmla="*/ 304 h 370"/>
                <a:gd name="T84" fmla="*/ 168 w 370"/>
                <a:gd name="T85" fmla="*/ 31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0" h="370">
                  <a:moveTo>
                    <a:pt x="220" y="370"/>
                  </a:moveTo>
                  <a:lnTo>
                    <a:pt x="150" y="370"/>
                  </a:lnTo>
                  <a:lnTo>
                    <a:pt x="150" y="328"/>
                  </a:lnTo>
                  <a:lnTo>
                    <a:pt x="150" y="328"/>
                  </a:lnTo>
                  <a:lnTo>
                    <a:pt x="128" y="320"/>
                  </a:lnTo>
                  <a:lnTo>
                    <a:pt x="110" y="310"/>
                  </a:lnTo>
                  <a:lnTo>
                    <a:pt x="80" y="340"/>
                  </a:lnTo>
                  <a:lnTo>
                    <a:pt x="30" y="290"/>
                  </a:lnTo>
                  <a:lnTo>
                    <a:pt x="60" y="260"/>
                  </a:lnTo>
                  <a:lnTo>
                    <a:pt x="60" y="260"/>
                  </a:lnTo>
                  <a:lnTo>
                    <a:pt x="50" y="240"/>
                  </a:lnTo>
                  <a:lnTo>
                    <a:pt x="42" y="220"/>
                  </a:lnTo>
                  <a:lnTo>
                    <a:pt x="0" y="220"/>
                  </a:lnTo>
                  <a:lnTo>
                    <a:pt x="0" y="150"/>
                  </a:lnTo>
                  <a:lnTo>
                    <a:pt x="42" y="150"/>
                  </a:lnTo>
                  <a:lnTo>
                    <a:pt x="42" y="150"/>
                  </a:lnTo>
                  <a:lnTo>
                    <a:pt x="50" y="128"/>
                  </a:lnTo>
                  <a:lnTo>
                    <a:pt x="60" y="108"/>
                  </a:lnTo>
                  <a:lnTo>
                    <a:pt x="30" y="78"/>
                  </a:lnTo>
                  <a:lnTo>
                    <a:pt x="80" y="30"/>
                  </a:lnTo>
                  <a:lnTo>
                    <a:pt x="110" y="60"/>
                  </a:lnTo>
                  <a:lnTo>
                    <a:pt x="110" y="60"/>
                  </a:lnTo>
                  <a:lnTo>
                    <a:pt x="128" y="50"/>
                  </a:lnTo>
                  <a:lnTo>
                    <a:pt x="150" y="42"/>
                  </a:lnTo>
                  <a:lnTo>
                    <a:pt x="150" y="0"/>
                  </a:lnTo>
                  <a:lnTo>
                    <a:pt x="220" y="0"/>
                  </a:lnTo>
                  <a:lnTo>
                    <a:pt x="220" y="42"/>
                  </a:lnTo>
                  <a:lnTo>
                    <a:pt x="220" y="42"/>
                  </a:lnTo>
                  <a:lnTo>
                    <a:pt x="242" y="50"/>
                  </a:lnTo>
                  <a:lnTo>
                    <a:pt x="262" y="60"/>
                  </a:lnTo>
                  <a:lnTo>
                    <a:pt x="290" y="30"/>
                  </a:lnTo>
                  <a:lnTo>
                    <a:pt x="340" y="78"/>
                  </a:lnTo>
                  <a:lnTo>
                    <a:pt x="310" y="108"/>
                  </a:lnTo>
                  <a:lnTo>
                    <a:pt x="310" y="108"/>
                  </a:lnTo>
                  <a:lnTo>
                    <a:pt x="320" y="128"/>
                  </a:lnTo>
                  <a:lnTo>
                    <a:pt x="328" y="150"/>
                  </a:lnTo>
                  <a:lnTo>
                    <a:pt x="370" y="150"/>
                  </a:lnTo>
                  <a:lnTo>
                    <a:pt x="370" y="220"/>
                  </a:lnTo>
                  <a:lnTo>
                    <a:pt x="328" y="220"/>
                  </a:lnTo>
                  <a:lnTo>
                    <a:pt x="328" y="220"/>
                  </a:lnTo>
                  <a:lnTo>
                    <a:pt x="320" y="240"/>
                  </a:lnTo>
                  <a:lnTo>
                    <a:pt x="310" y="260"/>
                  </a:lnTo>
                  <a:lnTo>
                    <a:pt x="340" y="290"/>
                  </a:lnTo>
                  <a:lnTo>
                    <a:pt x="290" y="340"/>
                  </a:lnTo>
                  <a:lnTo>
                    <a:pt x="262" y="310"/>
                  </a:lnTo>
                  <a:lnTo>
                    <a:pt x="262" y="310"/>
                  </a:lnTo>
                  <a:lnTo>
                    <a:pt x="242" y="320"/>
                  </a:lnTo>
                  <a:lnTo>
                    <a:pt x="220" y="328"/>
                  </a:lnTo>
                  <a:lnTo>
                    <a:pt x="220" y="370"/>
                  </a:lnTo>
                  <a:close/>
                  <a:moveTo>
                    <a:pt x="168" y="352"/>
                  </a:moveTo>
                  <a:lnTo>
                    <a:pt x="202" y="352"/>
                  </a:lnTo>
                  <a:lnTo>
                    <a:pt x="202" y="312"/>
                  </a:lnTo>
                  <a:lnTo>
                    <a:pt x="210" y="310"/>
                  </a:lnTo>
                  <a:lnTo>
                    <a:pt x="210" y="310"/>
                  </a:lnTo>
                  <a:lnTo>
                    <a:pt x="222" y="308"/>
                  </a:lnTo>
                  <a:lnTo>
                    <a:pt x="234" y="304"/>
                  </a:lnTo>
                  <a:lnTo>
                    <a:pt x="246" y="298"/>
                  </a:lnTo>
                  <a:lnTo>
                    <a:pt x="258" y="292"/>
                  </a:lnTo>
                  <a:lnTo>
                    <a:pt x="264" y="288"/>
                  </a:lnTo>
                  <a:lnTo>
                    <a:pt x="290" y="314"/>
                  </a:lnTo>
                  <a:lnTo>
                    <a:pt x="314" y="290"/>
                  </a:lnTo>
                  <a:lnTo>
                    <a:pt x="288" y="264"/>
                  </a:lnTo>
                  <a:lnTo>
                    <a:pt x="292" y="256"/>
                  </a:lnTo>
                  <a:lnTo>
                    <a:pt x="292" y="256"/>
                  </a:lnTo>
                  <a:lnTo>
                    <a:pt x="298" y="246"/>
                  </a:lnTo>
                  <a:lnTo>
                    <a:pt x="304" y="234"/>
                  </a:lnTo>
                  <a:lnTo>
                    <a:pt x="308" y="222"/>
                  </a:lnTo>
                  <a:lnTo>
                    <a:pt x="312" y="208"/>
                  </a:lnTo>
                  <a:lnTo>
                    <a:pt x="312" y="202"/>
                  </a:lnTo>
                  <a:lnTo>
                    <a:pt x="352" y="202"/>
                  </a:lnTo>
                  <a:lnTo>
                    <a:pt x="352" y="168"/>
                  </a:lnTo>
                  <a:lnTo>
                    <a:pt x="312" y="168"/>
                  </a:lnTo>
                  <a:lnTo>
                    <a:pt x="312" y="160"/>
                  </a:lnTo>
                  <a:lnTo>
                    <a:pt x="312" y="160"/>
                  </a:lnTo>
                  <a:lnTo>
                    <a:pt x="308" y="148"/>
                  </a:lnTo>
                  <a:lnTo>
                    <a:pt x="304" y="136"/>
                  </a:lnTo>
                  <a:lnTo>
                    <a:pt x="298" y="124"/>
                  </a:lnTo>
                  <a:lnTo>
                    <a:pt x="292" y="112"/>
                  </a:lnTo>
                  <a:lnTo>
                    <a:pt x="288" y="106"/>
                  </a:lnTo>
                  <a:lnTo>
                    <a:pt x="314" y="78"/>
                  </a:lnTo>
                  <a:lnTo>
                    <a:pt x="290" y="54"/>
                  </a:lnTo>
                  <a:lnTo>
                    <a:pt x="264" y="82"/>
                  </a:lnTo>
                  <a:lnTo>
                    <a:pt x="258" y="78"/>
                  </a:lnTo>
                  <a:lnTo>
                    <a:pt x="258" y="78"/>
                  </a:lnTo>
                  <a:lnTo>
                    <a:pt x="246" y="72"/>
                  </a:lnTo>
                  <a:lnTo>
                    <a:pt x="234" y="66"/>
                  </a:lnTo>
                  <a:lnTo>
                    <a:pt x="222" y="62"/>
                  </a:lnTo>
                  <a:lnTo>
                    <a:pt x="210" y="58"/>
                  </a:lnTo>
                  <a:lnTo>
                    <a:pt x="202" y="56"/>
                  </a:lnTo>
                  <a:lnTo>
                    <a:pt x="202" y="18"/>
                  </a:lnTo>
                  <a:lnTo>
                    <a:pt x="168" y="18"/>
                  </a:lnTo>
                  <a:lnTo>
                    <a:pt x="168" y="56"/>
                  </a:lnTo>
                  <a:lnTo>
                    <a:pt x="160" y="58"/>
                  </a:lnTo>
                  <a:lnTo>
                    <a:pt x="160" y="58"/>
                  </a:lnTo>
                  <a:lnTo>
                    <a:pt x="148" y="62"/>
                  </a:lnTo>
                  <a:lnTo>
                    <a:pt x="136" y="66"/>
                  </a:lnTo>
                  <a:lnTo>
                    <a:pt x="124" y="72"/>
                  </a:lnTo>
                  <a:lnTo>
                    <a:pt x="112" y="78"/>
                  </a:lnTo>
                  <a:lnTo>
                    <a:pt x="106" y="82"/>
                  </a:lnTo>
                  <a:lnTo>
                    <a:pt x="80" y="54"/>
                  </a:lnTo>
                  <a:lnTo>
                    <a:pt x="56" y="78"/>
                  </a:lnTo>
                  <a:lnTo>
                    <a:pt x="82" y="106"/>
                  </a:lnTo>
                  <a:lnTo>
                    <a:pt x="78" y="112"/>
                  </a:lnTo>
                  <a:lnTo>
                    <a:pt x="78" y="112"/>
                  </a:lnTo>
                  <a:lnTo>
                    <a:pt x="72" y="124"/>
                  </a:lnTo>
                  <a:lnTo>
                    <a:pt x="66" y="136"/>
                  </a:lnTo>
                  <a:lnTo>
                    <a:pt x="62" y="148"/>
                  </a:lnTo>
                  <a:lnTo>
                    <a:pt x="58" y="160"/>
                  </a:lnTo>
                  <a:lnTo>
                    <a:pt x="58" y="168"/>
                  </a:lnTo>
                  <a:lnTo>
                    <a:pt x="18" y="168"/>
                  </a:lnTo>
                  <a:lnTo>
                    <a:pt x="18" y="202"/>
                  </a:lnTo>
                  <a:lnTo>
                    <a:pt x="58" y="202"/>
                  </a:lnTo>
                  <a:lnTo>
                    <a:pt x="58" y="208"/>
                  </a:lnTo>
                  <a:lnTo>
                    <a:pt x="58" y="208"/>
                  </a:lnTo>
                  <a:lnTo>
                    <a:pt x="62" y="222"/>
                  </a:lnTo>
                  <a:lnTo>
                    <a:pt x="66" y="234"/>
                  </a:lnTo>
                  <a:lnTo>
                    <a:pt x="72" y="246"/>
                  </a:lnTo>
                  <a:lnTo>
                    <a:pt x="78" y="256"/>
                  </a:lnTo>
                  <a:lnTo>
                    <a:pt x="82" y="264"/>
                  </a:lnTo>
                  <a:lnTo>
                    <a:pt x="56" y="290"/>
                  </a:lnTo>
                  <a:lnTo>
                    <a:pt x="80" y="314"/>
                  </a:lnTo>
                  <a:lnTo>
                    <a:pt x="106" y="288"/>
                  </a:lnTo>
                  <a:lnTo>
                    <a:pt x="112" y="292"/>
                  </a:lnTo>
                  <a:lnTo>
                    <a:pt x="112" y="292"/>
                  </a:lnTo>
                  <a:lnTo>
                    <a:pt x="124" y="298"/>
                  </a:lnTo>
                  <a:lnTo>
                    <a:pt x="136" y="304"/>
                  </a:lnTo>
                  <a:lnTo>
                    <a:pt x="148" y="308"/>
                  </a:lnTo>
                  <a:lnTo>
                    <a:pt x="160" y="310"/>
                  </a:lnTo>
                  <a:lnTo>
                    <a:pt x="168" y="312"/>
                  </a:lnTo>
                  <a:lnTo>
                    <a:pt x="168" y="352"/>
                  </a:lnTo>
                  <a:close/>
                </a:path>
              </a:pathLst>
            </a:custGeom>
            <a:grpFill/>
            <a:ln w="9525">
              <a:noFill/>
              <a:round/>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sp>
          <p:nvSpPr>
            <p:cNvPr id="87" name="Freeform 32">
              <a:extLst>
                <a:ext uri="{FF2B5EF4-FFF2-40B4-BE49-F238E27FC236}">
                  <a16:creationId xmlns:a16="http://schemas.microsoft.com/office/drawing/2014/main" id="{73848B1A-6CEA-4FEA-990A-6B5A93BB6908}"/>
                </a:ext>
              </a:extLst>
            </p:cNvPr>
            <p:cNvSpPr>
              <a:spLocks noEditPoints="1"/>
            </p:cNvSpPr>
            <p:nvPr/>
          </p:nvSpPr>
          <p:spPr bwMode="auto">
            <a:xfrm>
              <a:off x="4731" y="2085"/>
              <a:ext cx="198" cy="196"/>
            </a:xfrm>
            <a:custGeom>
              <a:avLst/>
              <a:gdLst>
                <a:gd name="T0" fmla="*/ 100 w 198"/>
                <a:gd name="T1" fmla="*/ 196 h 196"/>
                <a:gd name="T2" fmla="*/ 60 w 198"/>
                <a:gd name="T3" fmla="*/ 190 h 196"/>
                <a:gd name="T4" fmla="*/ 30 w 198"/>
                <a:gd name="T5" fmla="*/ 168 h 196"/>
                <a:gd name="T6" fmla="*/ 8 w 198"/>
                <a:gd name="T7" fmla="*/ 136 h 196"/>
                <a:gd name="T8" fmla="*/ 0 w 198"/>
                <a:gd name="T9" fmla="*/ 98 h 196"/>
                <a:gd name="T10" fmla="*/ 2 w 198"/>
                <a:gd name="T11" fmla="*/ 78 h 196"/>
                <a:gd name="T12" fmla="*/ 18 w 198"/>
                <a:gd name="T13" fmla="*/ 44 h 196"/>
                <a:gd name="T14" fmla="*/ 44 w 198"/>
                <a:gd name="T15" fmla="*/ 18 h 196"/>
                <a:gd name="T16" fmla="*/ 80 w 198"/>
                <a:gd name="T17" fmla="*/ 2 h 196"/>
                <a:gd name="T18" fmla="*/ 100 w 198"/>
                <a:gd name="T19" fmla="*/ 0 h 196"/>
                <a:gd name="T20" fmla="*/ 138 w 198"/>
                <a:gd name="T21" fmla="*/ 8 h 196"/>
                <a:gd name="T22" fmla="*/ 168 w 198"/>
                <a:gd name="T23" fmla="*/ 30 h 196"/>
                <a:gd name="T24" fmla="*/ 190 w 198"/>
                <a:gd name="T25" fmla="*/ 60 h 196"/>
                <a:gd name="T26" fmla="*/ 198 w 198"/>
                <a:gd name="T27" fmla="*/ 98 h 196"/>
                <a:gd name="T28" fmla="*/ 196 w 198"/>
                <a:gd name="T29" fmla="*/ 118 h 196"/>
                <a:gd name="T30" fmla="*/ 180 w 198"/>
                <a:gd name="T31" fmla="*/ 154 h 196"/>
                <a:gd name="T32" fmla="*/ 154 w 198"/>
                <a:gd name="T33" fmla="*/ 180 h 196"/>
                <a:gd name="T34" fmla="*/ 118 w 198"/>
                <a:gd name="T35" fmla="*/ 194 h 196"/>
                <a:gd name="T36" fmla="*/ 100 w 198"/>
                <a:gd name="T37" fmla="*/ 196 h 196"/>
                <a:gd name="T38" fmla="*/ 100 w 198"/>
                <a:gd name="T39" fmla="*/ 18 h 196"/>
                <a:gd name="T40" fmla="*/ 68 w 198"/>
                <a:gd name="T41" fmla="*/ 24 h 196"/>
                <a:gd name="T42" fmla="*/ 42 w 198"/>
                <a:gd name="T43" fmla="*/ 42 h 196"/>
                <a:gd name="T44" fmla="*/ 26 w 198"/>
                <a:gd name="T45" fmla="*/ 68 h 196"/>
                <a:gd name="T46" fmla="*/ 18 w 198"/>
                <a:gd name="T47" fmla="*/ 98 h 196"/>
                <a:gd name="T48" fmla="*/ 20 w 198"/>
                <a:gd name="T49" fmla="*/ 114 h 196"/>
                <a:gd name="T50" fmla="*/ 32 w 198"/>
                <a:gd name="T51" fmla="*/ 144 h 196"/>
                <a:gd name="T52" fmla="*/ 54 w 198"/>
                <a:gd name="T53" fmla="*/ 166 h 196"/>
                <a:gd name="T54" fmla="*/ 82 w 198"/>
                <a:gd name="T55" fmla="*/ 178 h 196"/>
                <a:gd name="T56" fmla="*/ 100 w 198"/>
                <a:gd name="T57" fmla="*/ 178 h 196"/>
                <a:gd name="T58" fmla="*/ 130 w 198"/>
                <a:gd name="T59" fmla="*/ 172 h 196"/>
                <a:gd name="T60" fmla="*/ 156 w 198"/>
                <a:gd name="T61" fmla="*/ 156 h 196"/>
                <a:gd name="T62" fmla="*/ 174 w 198"/>
                <a:gd name="T63" fmla="*/ 130 h 196"/>
                <a:gd name="T64" fmla="*/ 180 w 198"/>
                <a:gd name="T65" fmla="*/ 98 h 196"/>
                <a:gd name="T66" fmla="*/ 178 w 198"/>
                <a:gd name="T67" fmla="*/ 82 h 196"/>
                <a:gd name="T68" fmla="*/ 166 w 198"/>
                <a:gd name="T69" fmla="*/ 54 h 196"/>
                <a:gd name="T70" fmla="*/ 144 w 198"/>
                <a:gd name="T71" fmla="*/ 32 h 196"/>
                <a:gd name="T72" fmla="*/ 116 w 198"/>
                <a:gd name="T73" fmla="*/ 20 h 196"/>
                <a:gd name="T74" fmla="*/ 100 w 198"/>
                <a:gd name="T75" fmla="*/ 1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8" h="196">
                  <a:moveTo>
                    <a:pt x="100" y="196"/>
                  </a:moveTo>
                  <a:lnTo>
                    <a:pt x="100" y="196"/>
                  </a:lnTo>
                  <a:lnTo>
                    <a:pt x="80" y="194"/>
                  </a:lnTo>
                  <a:lnTo>
                    <a:pt x="60" y="190"/>
                  </a:lnTo>
                  <a:lnTo>
                    <a:pt x="44" y="180"/>
                  </a:lnTo>
                  <a:lnTo>
                    <a:pt x="30" y="168"/>
                  </a:lnTo>
                  <a:lnTo>
                    <a:pt x="18" y="154"/>
                  </a:lnTo>
                  <a:lnTo>
                    <a:pt x="8" y="136"/>
                  </a:lnTo>
                  <a:lnTo>
                    <a:pt x="2" y="118"/>
                  </a:lnTo>
                  <a:lnTo>
                    <a:pt x="0" y="98"/>
                  </a:lnTo>
                  <a:lnTo>
                    <a:pt x="0" y="98"/>
                  </a:lnTo>
                  <a:lnTo>
                    <a:pt x="2" y="78"/>
                  </a:lnTo>
                  <a:lnTo>
                    <a:pt x="8" y="60"/>
                  </a:lnTo>
                  <a:lnTo>
                    <a:pt x="18" y="44"/>
                  </a:lnTo>
                  <a:lnTo>
                    <a:pt x="30" y="30"/>
                  </a:lnTo>
                  <a:lnTo>
                    <a:pt x="44" y="18"/>
                  </a:lnTo>
                  <a:lnTo>
                    <a:pt x="60" y="8"/>
                  </a:lnTo>
                  <a:lnTo>
                    <a:pt x="80" y="2"/>
                  </a:lnTo>
                  <a:lnTo>
                    <a:pt x="100" y="0"/>
                  </a:lnTo>
                  <a:lnTo>
                    <a:pt x="100" y="0"/>
                  </a:lnTo>
                  <a:lnTo>
                    <a:pt x="118" y="2"/>
                  </a:lnTo>
                  <a:lnTo>
                    <a:pt x="138" y="8"/>
                  </a:lnTo>
                  <a:lnTo>
                    <a:pt x="154" y="18"/>
                  </a:lnTo>
                  <a:lnTo>
                    <a:pt x="168" y="30"/>
                  </a:lnTo>
                  <a:lnTo>
                    <a:pt x="180" y="44"/>
                  </a:lnTo>
                  <a:lnTo>
                    <a:pt x="190" y="60"/>
                  </a:lnTo>
                  <a:lnTo>
                    <a:pt x="196" y="78"/>
                  </a:lnTo>
                  <a:lnTo>
                    <a:pt x="198" y="98"/>
                  </a:lnTo>
                  <a:lnTo>
                    <a:pt x="198" y="98"/>
                  </a:lnTo>
                  <a:lnTo>
                    <a:pt x="196" y="118"/>
                  </a:lnTo>
                  <a:lnTo>
                    <a:pt x="190" y="136"/>
                  </a:lnTo>
                  <a:lnTo>
                    <a:pt x="180" y="154"/>
                  </a:lnTo>
                  <a:lnTo>
                    <a:pt x="168" y="168"/>
                  </a:lnTo>
                  <a:lnTo>
                    <a:pt x="154" y="180"/>
                  </a:lnTo>
                  <a:lnTo>
                    <a:pt x="138" y="190"/>
                  </a:lnTo>
                  <a:lnTo>
                    <a:pt x="118" y="194"/>
                  </a:lnTo>
                  <a:lnTo>
                    <a:pt x="100" y="196"/>
                  </a:lnTo>
                  <a:lnTo>
                    <a:pt x="100" y="196"/>
                  </a:lnTo>
                  <a:close/>
                  <a:moveTo>
                    <a:pt x="100" y="18"/>
                  </a:moveTo>
                  <a:lnTo>
                    <a:pt x="100" y="18"/>
                  </a:lnTo>
                  <a:lnTo>
                    <a:pt x="82" y="20"/>
                  </a:lnTo>
                  <a:lnTo>
                    <a:pt x="68" y="24"/>
                  </a:lnTo>
                  <a:lnTo>
                    <a:pt x="54" y="32"/>
                  </a:lnTo>
                  <a:lnTo>
                    <a:pt x="42" y="42"/>
                  </a:lnTo>
                  <a:lnTo>
                    <a:pt x="32" y="54"/>
                  </a:lnTo>
                  <a:lnTo>
                    <a:pt x="26" y="68"/>
                  </a:lnTo>
                  <a:lnTo>
                    <a:pt x="20" y="82"/>
                  </a:lnTo>
                  <a:lnTo>
                    <a:pt x="18" y="98"/>
                  </a:lnTo>
                  <a:lnTo>
                    <a:pt x="18" y="98"/>
                  </a:lnTo>
                  <a:lnTo>
                    <a:pt x="20" y="114"/>
                  </a:lnTo>
                  <a:lnTo>
                    <a:pt x="26" y="130"/>
                  </a:lnTo>
                  <a:lnTo>
                    <a:pt x="32" y="144"/>
                  </a:lnTo>
                  <a:lnTo>
                    <a:pt x="42" y="156"/>
                  </a:lnTo>
                  <a:lnTo>
                    <a:pt x="54" y="166"/>
                  </a:lnTo>
                  <a:lnTo>
                    <a:pt x="68" y="172"/>
                  </a:lnTo>
                  <a:lnTo>
                    <a:pt x="82" y="178"/>
                  </a:lnTo>
                  <a:lnTo>
                    <a:pt x="100" y="178"/>
                  </a:lnTo>
                  <a:lnTo>
                    <a:pt x="100" y="178"/>
                  </a:lnTo>
                  <a:lnTo>
                    <a:pt x="116" y="178"/>
                  </a:lnTo>
                  <a:lnTo>
                    <a:pt x="130" y="172"/>
                  </a:lnTo>
                  <a:lnTo>
                    <a:pt x="144" y="166"/>
                  </a:lnTo>
                  <a:lnTo>
                    <a:pt x="156" y="156"/>
                  </a:lnTo>
                  <a:lnTo>
                    <a:pt x="166" y="144"/>
                  </a:lnTo>
                  <a:lnTo>
                    <a:pt x="174" y="130"/>
                  </a:lnTo>
                  <a:lnTo>
                    <a:pt x="178" y="114"/>
                  </a:lnTo>
                  <a:lnTo>
                    <a:pt x="180" y="98"/>
                  </a:lnTo>
                  <a:lnTo>
                    <a:pt x="180" y="98"/>
                  </a:lnTo>
                  <a:lnTo>
                    <a:pt x="178" y="82"/>
                  </a:lnTo>
                  <a:lnTo>
                    <a:pt x="174" y="68"/>
                  </a:lnTo>
                  <a:lnTo>
                    <a:pt x="166" y="54"/>
                  </a:lnTo>
                  <a:lnTo>
                    <a:pt x="156" y="42"/>
                  </a:lnTo>
                  <a:lnTo>
                    <a:pt x="144" y="32"/>
                  </a:lnTo>
                  <a:lnTo>
                    <a:pt x="130" y="24"/>
                  </a:lnTo>
                  <a:lnTo>
                    <a:pt x="116" y="20"/>
                  </a:lnTo>
                  <a:lnTo>
                    <a:pt x="100" y="18"/>
                  </a:lnTo>
                  <a:lnTo>
                    <a:pt x="100" y="18"/>
                  </a:lnTo>
                  <a:close/>
                </a:path>
              </a:pathLst>
            </a:custGeom>
            <a:grpFill/>
            <a:ln w="9525">
              <a:noFill/>
              <a:round/>
              <a:headEnd/>
              <a:tailEnd/>
            </a:ln>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dirty="0">
                <a:solidFill>
                  <a:srgbClr val="000000"/>
                </a:solidFill>
                <a:latin typeface="EYInterstate Light" pitchFamily="2" charset="0"/>
                <a:ea typeface="+mn-ea"/>
                <a:cs typeface="+mn-cs"/>
              </a:endParaRPr>
            </a:p>
          </p:txBody>
        </p:sp>
      </p:grpSp>
      <p:grpSp>
        <p:nvGrpSpPr>
          <p:cNvPr id="88" name="Group 87">
            <a:extLst>
              <a:ext uri="{FF2B5EF4-FFF2-40B4-BE49-F238E27FC236}">
                <a16:creationId xmlns:a16="http://schemas.microsoft.com/office/drawing/2014/main" id="{73469774-2B5D-43E4-BD74-927E5BEC49AB}"/>
              </a:ext>
            </a:extLst>
          </p:cNvPr>
          <p:cNvGrpSpPr/>
          <p:nvPr/>
        </p:nvGrpSpPr>
        <p:grpSpPr>
          <a:xfrm>
            <a:off x="6702012" y="4178784"/>
            <a:ext cx="592944" cy="431422"/>
            <a:chOff x="11681887" y="4573638"/>
            <a:chExt cx="695035" cy="439460"/>
          </a:xfrm>
          <a:solidFill>
            <a:schemeClr val="accent5"/>
          </a:solidFill>
        </p:grpSpPr>
        <p:pic>
          <p:nvPicPr>
            <p:cNvPr id="89" name="Graphic 88" descr="Database">
              <a:extLst>
                <a:ext uri="{FF2B5EF4-FFF2-40B4-BE49-F238E27FC236}">
                  <a16:creationId xmlns:a16="http://schemas.microsoft.com/office/drawing/2014/main" id="{BFA7025C-8569-4081-9DB4-29A2253DDF0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681887" y="4573638"/>
              <a:ext cx="365760" cy="365760"/>
            </a:xfrm>
            <a:prstGeom prst="rect">
              <a:avLst/>
            </a:prstGeom>
          </p:spPr>
        </p:pic>
        <p:grpSp>
          <p:nvGrpSpPr>
            <p:cNvPr id="90" name="Group 89">
              <a:extLst>
                <a:ext uri="{FF2B5EF4-FFF2-40B4-BE49-F238E27FC236}">
                  <a16:creationId xmlns:a16="http://schemas.microsoft.com/office/drawing/2014/main" id="{8E6B0C03-7E44-42AC-8216-EE45DDE3009B}"/>
                </a:ext>
              </a:extLst>
            </p:cNvPr>
            <p:cNvGrpSpPr>
              <a:grpSpLocks noChangeAspect="1"/>
            </p:cNvGrpSpPr>
            <p:nvPr/>
          </p:nvGrpSpPr>
          <p:grpSpPr>
            <a:xfrm>
              <a:off x="11965043" y="4647339"/>
              <a:ext cx="411879" cy="365759"/>
              <a:chOff x="5057775" y="3090863"/>
              <a:chExt cx="1219200" cy="1082675"/>
            </a:xfrm>
            <a:grpFill/>
          </p:grpSpPr>
          <p:sp>
            <p:nvSpPr>
              <p:cNvPr id="91" name="Freeform 16">
                <a:extLst>
                  <a:ext uri="{FF2B5EF4-FFF2-40B4-BE49-F238E27FC236}">
                    <a16:creationId xmlns:a16="http://schemas.microsoft.com/office/drawing/2014/main" id="{CB4B5662-3804-4D3B-A2F4-15639F02F9CF}"/>
                  </a:ext>
                </a:extLst>
              </p:cNvPr>
              <p:cNvSpPr>
                <a:spLocks/>
              </p:cNvSpPr>
              <p:nvPr/>
            </p:nvSpPr>
            <p:spPr bwMode="auto">
              <a:xfrm>
                <a:off x="5603875" y="3649663"/>
                <a:ext cx="127000" cy="79375"/>
              </a:xfrm>
              <a:custGeom>
                <a:avLst/>
                <a:gdLst>
                  <a:gd name="T0" fmla="*/ 40 w 80"/>
                  <a:gd name="T1" fmla="*/ 50 h 50"/>
                  <a:gd name="T2" fmla="*/ 40 w 80"/>
                  <a:gd name="T3" fmla="*/ 50 h 50"/>
                  <a:gd name="T4" fmla="*/ 32 w 80"/>
                  <a:gd name="T5" fmla="*/ 48 h 50"/>
                  <a:gd name="T6" fmla="*/ 26 w 80"/>
                  <a:gd name="T7" fmla="*/ 46 h 50"/>
                  <a:gd name="T8" fmla="*/ 18 w 80"/>
                  <a:gd name="T9" fmla="*/ 42 h 50"/>
                  <a:gd name="T10" fmla="*/ 12 w 80"/>
                  <a:gd name="T11" fmla="*/ 38 h 50"/>
                  <a:gd name="T12" fmla="*/ 8 w 80"/>
                  <a:gd name="T13" fmla="*/ 32 h 50"/>
                  <a:gd name="T14" fmla="*/ 4 w 80"/>
                  <a:gd name="T15" fmla="*/ 26 h 50"/>
                  <a:gd name="T16" fmla="*/ 2 w 80"/>
                  <a:gd name="T17" fmla="*/ 18 h 50"/>
                  <a:gd name="T18" fmla="*/ 0 w 80"/>
                  <a:gd name="T19" fmla="*/ 10 h 50"/>
                  <a:gd name="T20" fmla="*/ 0 w 80"/>
                  <a:gd name="T21" fmla="*/ 0 h 50"/>
                  <a:gd name="T22" fmla="*/ 18 w 80"/>
                  <a:gd name="T23" fmla="*/ 0 h 50"/>
                  <a:gd name="T24" fmla="*/ 18 w 80"/>
                  <a:gd name="T25" fmla="*/ 10 h 50"/>
                  <a:gd name="T26" fmla="*/ 18 w 80"/>
                  <a:gd name="T27" fmla="*/ 10 h 50"/>
                  <a:gd name="T28" fmla="*/ 20 w 80"/>
                  <a:gd name="T29" fmla="*/ 18 h 50"/>
                  <a:gd name="T30" fmla="*/ 26 w 80"/>
                  <a:gd name="T31" fmla="*/ 24 h 50"/>
                  <a:gd name="T32" fmla="*/ 32 w 80"/>
                  <a:gd name="T33" fmla="*/ 30 h 50"/>
                  <a:gd name="T34" fmla="*/ 40 w 80"/>
                  <a:gd name="T35" fmla="*/ 32 h 50"/>
                  <a:gd name="T36" fmla="*/ 40 w 80"/>
                  <a:gd name="T37" fmla="*/ 32 h 50"/>
                  <a:gd name="T38" fmla="*/ 48 w 80"/>
                  <a:gd name="T39" fmla="*/ 30 h 50"/>
                  <a:gd name="T40" fmla="*/ 56 w 80"/>
                  <a:gd name="T41" fmla="*/ 24 h 50"/>
                  <a:gd name="T42" fmla="*/ 60 w 80"/>
                  <a:gd name="T43" fmla="*/ 18 h 50"/>
                  <a:gd name="T44" fmla="*/ 62 w 80"/>
                  <a:gd name="T45" fmla="*/ 10 h 50"/>
                  <a:gd name="T46" fmla="*/ 62 w 80"/>
                  <a:gd name="T47" fmla="*/ 0 h 50"/>
                  <a:gd name="T48" fmla="*/ 80 w 80"/>
                  <a:gd name="T49" fmla="*/ 0 h 50"/>
                  <a:gd name="T50" fmla="*/ 80 w 80"/>
                  <a:gd name="T51" fmla="*/ 10 h 50"/>
                  <a:gd name="T52" fmla="*/ 80 w 80"/>
                  <a:gd name="T53" fmla="*/ 10 h 50"/>
                  <a:gd name="T54" fmla="*/ 80 w 80"/>
                  <a:gd name="T55" fmla="*/ 18 h 50"/>
                  <a:gd name="T56" fmla="*/ 76 w 80"/>
                  <a:gd name="T57" fmla="*/ 26 h 50"/>
                  <a:gd name="T58" fmla="*/ 74 w 80"/>
                  <a:gd name="T59" fmla="*/ 32 h 50"/>
                  <a:gd name="T60" fmla="*/ 68 w 80"/>
                  <a:gd name="T61" fmla="*/ 38 h 50"/>
                  <a:gd name="T62" fmla="*/ 62 w 80"/>
                  <a:gd name="T63" fmla="*/ 42 h 50"/>
                  <a:gd name="T64" fmla="*/ 56 w 80"/>
                  <a:gd name="T65" fmla="*/ 46 h 50"/>
                  <a:gd name="T66" fmla="*/ 48 w 80"/>
                  <a:gd name="T67" fmla="*/ 48 h 50"/>
                  <a:gd name="T68" fmla="*/ 40 w 80"/>
                  <a:gd name="T69" fmla="*/ 50 h 50"/>
                  <a:gd name="T70" fmla="*/ 40 w 80"/>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50">
                    <a:moveTo>
                      <a:pt x="40" y="50"/>
                    </a:moveTo>
                    <a:lnTo>
                      <a:pt x="40" y="50"/>
                    </a:lnTo>
                    <a:lnTo>
                      <a:pt x="32" y="48"/>
                    </a:lnTo>
                    <a:lnTo>
                      <a:pt x="26" y="46"/>
                    </a:lnTo>
                    <a:lnTo>
                      <a:pt x="18" y="42"/>
                    </a:lnTo>
                    <a:lnTo>
                      <a:pt x="12" y="38"/>
                    </a:lnTo>
                    <a:lnTo>
                      <a:pt x="8" y="32"/>
                    </a:lnTo>
                    <a:lnTo>
                      <a:pt x="4" y="26"/>
                    </a:lnTo>
                    <a:lnTo>
                      <a:pt x="2" y="18"/>
                    </a:lnTo>
                    <a:lnTo>
                      <a:pt x="0" y="10"/>
                    </a:lnTo>
                    <a:lnTo>
                      <a:pt x="0" y="0"/>
                    </a:lnTo>
                    <a:lnTo>
                      <a:pt x="18" y="0"/>
                    </a:lnTo>
                    <a:lnTo>
                      <a:pt x="18" y="10"/>
                    </a:lnTo>
                    <a:lnTo>
                      <a:pt x="18" y="10"/>
                    </a:lnTo>
                    <a:lnTo>
                      <a:pt x="20" y="18"/>
                    </a:lnTo>
                    <a:lnTo>
                      <a:pt x="26" y="24"/>
                    </a:lnTo>
                    <a:lnTo>
                      <a:pt x="32" y="30"/>
                    </a:lnTo>
                    <a:lnTo>
                      <a:pt x="40" y="32"/>
                    </a:lnTo>
                    <a:lnTo>
                      <a:pt x="40" y="32"/>
                    </a:lnTo>
                    <a:lnTo>
                      <a:pt x="48" y="30"/>
                    </a:lnTo>
                    <a:lnTo>
                      <a:pt x="56" y="24"/>
                    </a:lnTo>
                    <a:lnTo>
                      <a:pt x="60" y="18"/>
                    </a:lnTo>
                    <a:lnTo>
                      <a:pt x="62" y="10"/>
                    </a:lnTo>
                    <a:lnTo>
                      <a:pt x="62" y="0"/>
                    </a:lnTo>
                    <a:lnTo>
                      <a:pt x="80" y="0"/>
                    </a:lnTo>
                    <a:lnTo>
                      <a:pt x="80" y="10"/>
                    </a:lnTo>
                    <a:lnTo>
                      <a:pt x="80" y="10"/>
                    </a:lnTo>
                    <a:lnTo>
                      <a:pt x="80" y="18"/>
                    </a:lnTo>
                    <a:lnTo>
                      <a:pt x="76" y="26"/>
                    </a:lnTo>
                    <a:lnTo>
                      <a:pt x="74" y="32"/>
                    </a:lnTo>
                    <a:lnTo>
                      <a:pt x="68" y="38"/>
                    </a:lnTo>
                    <a:lnTo>
                      <a:pt x="62" y="42"/>
                    </a:lnTo>
                    <a:lnTo>
                      <a:pt x="56" y="46"/>
                    </a:lnTo>
                    <a:lnTo>
                      <a:pt x="48" y="48"/>
                    </a:lnTo>
                    <a:lnTo>
                      <a:pt x="40" y="50"/>
                    </a:lnTo>
                    <a:lnTo>
                      <a:pt x="4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92" name="Freeform 17">
                <a:extLst>
                  <a:ext uri="{FF2B5EF4-FFF2-40B4-BE49-F238E27FC236}">
                    <a16:creationId xmlns:a16="http://schemas.microsoft.com/office/drawing/2014/main" id="{ED1868C3-00C7-4216-B6B0-C0EA701874CB}"/>
                  </a:ext>
                </a:extLst>
              </p:cNvPr>
              <p:cNvSpPr>
                <a:spLocks/>
              </p:cNvSpPr>
              <p:nvPr/>
            </p:nvSpPr>
            <p:spPr bwMode="auto">
              <a:xfrm>
                <a:off x="5603875" y="3602038"/>
                <a:ext cx="127000" cy="76200"/>
              </a:xfrm>
              <a:custGeom>
                <a:avLst/>
                <a:gdLst>
                  <a:gd name="T0" fmla="*/ 62 w 80"/>
                  <a:gd name="T1" fmla="*/ 48 h 48"/>
                  <a:gd name="T2" fmla="*/ 62 w 80"/>
                  <a:gd name="T3" fmla="*/ 40 h 48"/>
                  <a:gd name="T4" fmla="*/ 62 w 80"/>
                  <a:gd name="T5" fmla="*/ 40 h 48"/>
                  <a:gd name="T6" fmla="*/ 60 w 80"/>
                  <a:gd name="T7" fmla="*/ 32 h 48"/>
                  <a:gd name="T8" fmla="*/ 56 w 80"/>
                  <a:gd name="T9" fmla="*/ 24 h 48"/>
                  <a:gd name="T10" fmla="*/ 48 w 80"/>
                  <a:gd name="T11" fmla="*/ 20 h 48"/>
                  <a:gd name="T12" fmla="*/ 40 w 80"/>
                  <a:gd name="T13" fmla="*/ 18 h 48"/>
                  <a:gd name="T14" fmla="*/ 40 w 80"/>
                  <a:gd name="T15" fmla="*/ 18 h 48"/>
                  <a:gd name="T16" fmla="*/ 32 w 80"/>
                  <a:gd name="T17" fmla="*/ 20 h 48"/>
                  <a:gd name="T18" fmla="*/ 26 w 80"/>
                  <a:gd name="T19" fmla="*/ 24 h 48"/>
                  <a:gd name="T20" fmla="*/ 20 w 80"/>
                  <a:gd name="T21" fmla="*/ 32 h 48"/>
                  <a:gd name="T22" fmla="*/ 18 w 80"/>
                  <a:gd name="T23" fmla="*/ 40 h 48"/>
                  <a:gd name="T24" fmla="*/ 18 w 80"/>
                  <a:gd name="T25" fmla="*/ 48 h 48"/>
                  <a:gd name="T26" fmla="*/ 0 w 80"/>
                  <a:gd name="T27" fmla="*/ 48 h 48"/>
                  <a:gd name="T28" fmla="*/ 0 w 80"/>
                  <a:gd name="T29" fmla="*/ 40 h 48"/>
                  <a:gd name="T30" fmla="*/ 0 w 80"/>
                  <a:gd name="T31" fmla="*/ 40 h 48"/>
                  <a:gd name="T32" fmla="*/ 2 w 80"/>
                  <a:gd name="T33" fmla="*/ 32 h 48"/>
                  <a:gd name="T34" fmla="*/ 4 w 80"/>
                  <a:gd name="T35" fmla="*/ 24 h 48"/>
                  <a:gd name="T36" fmla="*/ 8 w 80"/>
                  <a:gd name="T37" fmla="*/ 18 h 48"/>
                  <a:gd name="T38" fmla="*/ 12 w 80"/>
                  <a:gd name="T39" fmla="*/ 12 h 48"/>
                  <a:gd name="T40" fmla="*/ 18 w 80"/>
                  <a:gd name="T41" fmla="*/ 8 h 48"/>
                  <a:gd name="T42" fmla="*/ 26 w 80"/>
                  <a:gd name="T43" fmla="*/ 4 h 48"/>
                  <a:gd name="T44" fmla="*/ 32 w 80"/>
                  <a:gd name="T45" fmla="*/ 2 h 48"/>
                  <a:gd name="T46" fmla="*/ 40 w 80"/>
                  <a:gd name="T47" fmla="*/ 0 h 48"/>
                  <a:gd name="T48" fmla="*/ 40 w 80"/>
                  <a:gd name="T49" fmla="*/ 0 h 48"/>
                  <a:gd name="T50" fmla="*/ 48 w 80"/>
                  <a:gd name="T51" fmla="*/ 2 h 48"/>
                  <a:gd name="T52" fmla="*/ 56 w 80"/>
                  <a:gd name="T53" fmla="*/ 4 h 48"/>
                  <a:gd name="T54" fmla="*/ 62 w 80"/>
                  <a:gd name="T55" fmla="*/ 8 h 48"/>
                  <a:gd name="T56" fmla="*/ 68 w 80"/>
                  <a:gd name="T57" fmla="*/ 12 h 48"/>
                  <a:gd name="T58" fmla="*/ 74 w 80"/>
                  <a:gd name="T59" fmla="*/ 18 h 48"/>
                  <a:gd name="T60" fmla="*/ 76 w 80"/>
                  <a:gd name="T61" fmla="*/ 24 h 48"/>
                  <a:gd name="T62" fmla="*/ 80 w 80"/>
                  <a:gd name="T63" fmla="*/ 32 h 48"/>
                  <a:gd name="T64" fmla="*/ 80 w 80"/>
                  <a:gd name="T65" fmla="*/ 40 h 48"/>
                  <a:gd name="T66" fmla="*/ 80 w 80"/>
                  <a:gd name="T67" fmla="*/ 48 h 48"/>
                  <a:gd name="T68" fmla="*/ 62 w 80"/>
                  <a:gd name="T6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48">
                    <a:moveTo>
                      <a:pt x="62" y="48"/>
                    </a:moveTo>
                    <a:lnTo>
                      <a:pt x="62" y="40"/>
                    </a:lnTo>
                    <a:lnTo>
                      <a:pt x="62" y="40"/>
                    </a:lnTo>
                    <a:lnTo>
                      <a:pt x="60" y="32"/>
                    </a:lnTo>
                    <a:lnTo>
                      <a:pt x="56" y="24"/>
                    </a:lnTo>
                    <a:lnTo>
                      <a:pt x="48" y="20"/>
                    </a:lnTo>
                    <a:lnTo>
                      <a:pt x="40" y="18"/>
                    </a:lnTo>
                    <a:lnTo>
                      <a:pt x="40" y="18"/>
                    </a:lnTo>
                    <a:lnTo>
                      <a:pt x="32" y="20"/>
                    </a:lnTo>
                    <a:lnTo>
                      <a:pt x="26" y="24"/>
                    </a:lnTo>
                    <a:lnTo>
                      <a:pt x="20" y="32"/>
                    </a:lnTo>
                    <a:lnTo>
                      <a:pt x="18" y="40"/>
                    </a:lnTo>
                    <a:lnTo>
                      <a:pt x="18" y="48"/>
                    </a:lnTo>
                    <a:lnTo>
                      <a:pt x="0" y="48"/>
                    </a:lnTo>
                    <a:lnTo>
                      <a:pt x="0" y="40"/>
                    </a:lnTo>
                    <a:lnTo>
                      <a:pt x="0" y="40"/>
                    </a:lnTo>
                    <a:lnTo>
                      <a:pt x="2" y="32"/>
                    </a:lnTo>
                    <a:lnTo>
                      <a:pt x="4" y="24"/>
                    </a:lnTo>
                    <a:lnTo>
                      <a:pt x="8" y="18"/>
                    </a:lnTo>
                    <a:lnTo>
                      <a:pt x="12" y="12"/>
                    </a:lnTo>
                    <a:lnTo>
                      <a:pt x="18" y="8"/>
                    </a:lnTo>
                    <a:lnTo>
                      <a:pt x="26" y="4"/>
                    </a:lnTo>
                    <a:lnTo>
                      <a:pt x="32" y="2"/>
                    </a:lnTo>
                    <a:lnTo>
                      <a:pt x="40" y="0"/>
                    </a:lnTo>
                    <a:lnTo>
                      <a:pt x="40" y="0"/>
                    </a:lnTo>
                    <a:lnTo>
                      <a:pt x="48" y="2"/>
                    </a:lnTo>
                    <a:lnTo>
                      <a:pt x="56" y="4"/>
                    </a:lnTo>
                    <a:lnTo>
                      <a:pt x="62" y="8"/>
                    </a:lnTo>
                    <a:lnTo>
                      <a:pt x="68" y="12"/>
                    </a:lnTo>
                    <a:lnTo>
                      <a:pt x="74" y="18"/>
                    </a:lnTo>
                    <a:lnTo>
                      <a:pt x="76" y="24"/>
                    </a:lnTo>
                    <a:lnTo>
                      <a:pt x="80" y="32"/>
                    </a:lnTo>
                    <a:lnTo>
                      <a:pt x="80" y="40"/>
                    </a:lnTo>
                    <a:lnTo>
                      <a:pt x="80" y="48"/>
                    </a:lnTo>
                    <a:lnTo>
                      <a:pt x="6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93" name="Rectangle 18">
                <a:extLst>
                  <a:ext uri="{FF2B5EF4-FFF2-40B4-BE49-F238E27FC236}">
                    <a16:creationId xmlns:a16="http://schemas.microsoft.com/office/drawing/2014/main" id="{32D75A13-22E1-4277-B67D-0D8BA33718AA}"/>
                  </a:ext>
                </a:extLst>
              </p:cNvPr>
              <p:cNvSpPr>
                <a:spLocks noChangeArrowheads="1"/>
              </p:cNvSpPr>
              <p:nvPr/>
            </p:nvSpPr>
            <p:spPr bwMode="auto">
              <a:xfrm>
                <a:off x="5654675" y="3700463"/>
                <a:ext cx="285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94" name="Rectangle 19">
                <a:extLst>
                  <a:ext uri="{FF2B5EF4-FFF2-40B4-BE49-F238E27FC236}">
                    <a16:creationId xmlns:a16="http://schemas.microsoft.com/office/drawing/2014/main" id="{D6262141-FCA9-4F0D-A02C-0095545CB150}"/>
                  </a:ext>
                </a:extLst>
              </p:cNvPr>
              <p:cNvSpPr>
                <a:spLocks noChangeArrowheads="1"/>
              </p:cNvSpPr>
              <p:nvPr/>
            </p:nvSpPr>
            <p:spPr bwMode="auto">
              <a:xfrm>
                <a:off x="5213350" y="3748088"/>
                <a:ext cx="285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95" name="Rectangle 20">
                <a:extLst>
                  <a:ext uri="{FF2B5EF4-FFF2-40B4-BE49-F238E27FC236}">
                    <a16:creationId xmlns:a16="http://schemas.microsoft.com/office/drawing/2014/main" id="{A9060816-E046-4055-9048-C8F515A0E652}"/>
                  </a:ext>
                </a:extLst>
              </p:cNvPr>
              <p:cNvSpPr>
                <a:spLocks noChangeArrowheads="1"/>
              </p:cNvSpPr>
              <p:nvPr/>
            </p:nvSpPr>
            <p:spPr bwMode="auto">
              <a:xfrm>
                <a:off x="6092825" y="3748088"/>
                <a:ext cx="285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96" name="Rectangle 21">
                <a:extLst>
                  <a:ext uri="{FF2B5EF4-FFF2-40B4-BE49-F238E27FC236}">
                    <a16:creationId xmlns:a16="http://schemas.microsoft.com/office/drawing/2014/main" id="{78ACF50E-2B5C-4D05-B29C-4D1156B22061}"/>
                  </a:ext>
                </a:extLst>
              </p:cNvPr>
              <p:cNvSpPr>
                <a:spLocks noChangeArrowheads="1"/>
              </p:cNvSpPr>
              <p:nvPr/>
            </p:nvSpPr>
            <p:spPr bwMode="auto">
              <a:xfrm>
                <a:off x="5654675" y="3748088"/>
                <a:ext cx="28575"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97" name="Rectangle 22">
                <a:extLst>
                  <a:ext uri="{FF2B5EF4-FFF2-40B4-BE49-F238E27FC236}">
                    <a16:creationId xmlns:a16="http://schemas.microsoft.com/office/drawing/2014/main" id="{C23AC71B-7141-4768-8D06-1DD292146B28}"/>
                  </a:ext>
                </a:extLst>
              </p:cNvPr>
              <p:cNvSpPr>
                <a:spLocks noChangeArrowheads="1"/>
              </p:cNvSpPr>
              <p:nvPr/>
            </p:nvSpPr>
            <p:spPr bwMode="auto">
              <a:xfrm>
                <a:off x="5213350" y="3748088"/>
                <a:ext cx="9080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98" name="Freeform 23">
                <a:extLst>
                  <a:ext uri="{FF2B5EF4-FFF2-40B4-BE49-F238E27FC236}">
                    <a16:creationId xmlns:a16="http://schemas.microsoft.com/office/drawing/2014/main" id="{1463949D-469E-4897-9122-D8777C63BF7F}"/>
                  </a:ext>
                </a:extLst>
              </p:cNvPr>
              <p:cNvSpPr>
                <a:spLocks/>
              </p:cNvSpPr>
              <p:nvPr/>
            </p:nvSpPr>
            <p:spPr bwMode="auto">
              <a:xfrm>
                <a:off x="5210175" y="3090863"/>
                <a:ext cx="914400" cy="587375"/>
              </a:xfrm>
              <a:custGeom>
                <a:avLst/>
                <a:gdLst>
                  <a:gd name="T0" fmla="*/ 576 w 576"/>
                  <a:gd name="T1" fmla="*/ 370 h 370"/>
                  <a:gd name="T2" fmla="*/ 310 w 576"/>
                  <a:gd name="T3" fmla="*/ 370 h 370"/>
                  <a:gd name="T4" fmla="*/ 310 w 576"/>
                  <a:gd name="T5" fmla="*/ 352 h 370"/>
                  <a:gd name="T6" fmla="*/ 558 w 576"/>
                  <a:gd name="T7" fmla="*/ 352 h 370"/>
                  <a:gd name="T8" fmla="*/ 558 w 576"/>
                  <a:gd name="T9" fmla="*/ 72 h 370"/>
                  <a:gd name="T10" fmla="*/ 208 w 576"/>
                  <a:gd name="T11" fmla="*/ 72 h 370"/>
                  <a:gd name="T12" fmla="*/ 152 w 576"/>
                  <a:gd name="T13" fmla="*/ 18 h 370"/>
                  <a:gd name="T14" fmla="*/ 18 w 576"/>
                  <a:gd name="T15" fmla="*/ 18 h 370"/>
                  <a:gd name="T16" fmla="*/ 18 w 576"/>
                  <a:gd name="T17" fmla="*/ 352 h 370"/>
                  <a:gd name="T18" fmla="*/ 266 w 576"/>
                  <a:gd name="T19" fmla="*/ 352 h 370"/>
                  <a:gd name="T20" fmla="*/ 266 w 576"/>
                  <a:gd name="T21" fmla="*/ 370 h 370"/>
                  <a:gd name="T22" fmla="*/ 0 w 576"/>
                  <a:gd name="T23" fmla="*/ 370 h 370"/>
                  <a:gd name="T24" fmla="*/ 0 w 576"/>
                  <a:gd name="T25" fmla="*/ 0 h 370"/>
                  <a:gd name="T26" fmla="*/ 160 w 576"/>
                  <a:gd name="T27" fmla="*/ 0 h 370"/>
                  <a:gd name="T28" fmla="*/ 216 w 576"/>
                  <a:gd name="T29" fmla="*/ 54 h 370"/>
                  <a:gd name="T30" fmla="*/ 576 w 576"/>
                  <a:gd name="T31" fmla="*/ 54 h 370"/>
                  <a:gd name="T32" fmla="*/ 576 w 576"/>
                  <a:gd name="T33"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6" h="370">
                    <a:moveTo>
                      <a:pt x="576" y="370"/>
                    </a:moveTo>
                    <a:lnTo>
                      <a:pt x="310" y="370"/>
                    </a:lnTo>
                    <a:lnTo>
                      <a:pt x="310" y="352"/>
                    </a:lnTo>
                    <a:lnTo>
                      <a:pt x="558" y="352"/>
                    </a:lnTo>
                    <a:lnTo>
                      <a:pt x="558" y="72"/>
                    </a:lnTo>
                    <a:lnTo>
                      <a:pt x="208" y="72"/>
                    </a:lnTo>
                    <a:lnTo>
                      <a:pt x="152" y="18"/>
                    </a:lnTo>
                    <a:lnTo>
                      <a:pt x="18" y="18"/>
                    </a:lnTo>
                    <a:lnTo>
                      <a:pt x="18" y="352"/>
                    </a:lnTo>
                    <a:lnTo>
                      <a:pt x="266" y="352"/>
                    </a:lnTo>
                    <a:lnTo>
                      <a:pt x="266" y="370"/>
                    </a:lnTo>
                    <a:lnTo>
                      <a:pt x="0" y="370"/>
                    </a:lnTo>
                    <a:lnTo>
                      <a:pt x="0" y="0"/>
                    </a:lnTo>
                    <a:lnTo>
                      <a:pt x="160" y="0"/>
                    </a:lnTo>
                    <a:lnTo>
                      <a:pt x="216" y="54"/>
                    </a:lnTo>
                    <a:lnTo>
                      <a:pt x="576" y="54"/>
                    </a:lnTo>
                    <a:lnTo>
                      <a:pt x="576"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99" name="Rectangle 24">
                <a:extLst>
                  <a:ext uri="{FF2B5EF4-FFF2-40B4-BE49-F238E27FC236}">
                    <a16:creationId xmlns:a16="http://schemas.microsoft.com/office/drawing/2014/main" id="{0D918DA2-3589-4FE3-A5D3-7C3F5B1A987E}"/>
                  </a:ext>
                </a:extLst>
              </p:cNvPr>
              <p:cNvSpPr>
                <a:spLocks noChangeArrowheads="1"/>
              </p:cNvSpPr>
              <p:nvPr/>
            </p:nvSpPr>
            <p:spPr bwMode="auto">
              <a:xfrm>
                <a:off x="5280025" y="3297238"/>
                <a:ext cx="7747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100" name="Freeform 25">
                <a:extLst>
                  <a:ext uri="{FF2B5EF4-FFF2-40B4-BE49-F238E27FC236}">
                    <a16:creationId xmlns:a16="http://schemas.microsoft.com/office/drawing/2014/main" id="{E2C29B9E-23AC-4FA9-8D28-7636DD668DDD}"/>
                  </a:ext>
                </a:extLst>
              </p:cNvPr>
              <p:cNvSpPr>
                <a:spLocks noEditPoints="1"/>
              </p:cNvSpPr>
              <p:nvPr/>
            </p:nvSpPr>
            <p:spPr bwMode="auto">
              <a:xfrm>
                <a:off x="5057775" y="3910013"/>
                <a:ext cx="339725" cy="263525"/>
              </a:xfrm>
              <a:custGeom>
                <a:avLst/>
                <a:gdLst>
                  <a:gd name="T0" fmla="*/ 214 w 214"/>
                  <a:gd name="T1" fmla="*/ 166 h 166"/>
                  <a:gd name="T2" fmla="*/ 0 w 214"/>
                  <a:gd name="T3" fmla="*/ 166 h 166"/>
                  <a:gd name="T4" fmla="*/ 0 w 214"/>
                  <a:gd name="T5" fmla="*/ 0 h 166"/>
                  <a:gd name="T6" fmla="*/ 70 w 214"/>
                  <a:gd name="T7" fmla="*/ 0 h 166"/>
                  <a:gd name="T8" fmla="*/ 108 w 214"/>
                  <a:gd name="T9" fmla="*/ 36 h 166"/>
                  <a:gd name="T10" fmla="*/ 214 w 214"/>
                  <a:gd name="T11" fmla="*/ 36 h 166"/>
                  <a:gd name="T12" fmla="*/ 214 w 214"/>
                  <a:gd name="T13" fmla="*/ 166 h 166"/>
                  <a:gd name="T14" fmla="*/ 18 w 214"/>
                  <a:gd name="T15" fmla="*/ 148 h 166"/>
                  <a:gd name="T16" fmla="*/ 196 w 214"/>
                  <a:gd name="T17" fmla="*/ 148 h 166"/>
                  <a:gd name="T18" fmla="*/ 196 w 214"/>
                  <a:gd name="T19" fmla="*/ 54 h 166"/>
                  <a:gd name="T20" fmla="*/ 100 w 214"/>
                  <a:gd name="T21" fmla="*/ 54 h 166"/>
                  <a:gd name="T22" fmla="*/ 62 w 214"/>
                  <a:gd name="T23" fmla="*/ 18 h 166"/>
                  <a:gd name="T24" fmla="*/ 18 w 214"/>
                  <a:gd name="T25" fmla="*/ 18 h 166"/>
                  <a:gd name="T26" fmla="*/ 18 w 214"/>
                  <a:gd name="T27" fmla="*/ 14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66">
                    <a:moveTo>
                      <a:pt x="214" y="166"/>
                    </a:moveTo>
                    <a:lnTo>
                      <a:pt x="0" y="166"/>
                    </a:lnTo>
                    <a:lnTo>
                      <a:pt x="0" y="0"/>
                    </a:lnTo>
                    <a:lnTo>
                      <a:pt x="70" y="0"/>
                    </a:lnTo>
                    <a:lnTo>
                      <a:pt x="108" y="36"/>
                    </a:lnTo>
                    <a:lnTo>
                      <a:pt x="214" y="36"/>
                    </a:lnTo>
                    <a:lnTo>
                      <a:pt x="214" y="166"/>
                    </a:lnTo>
                    <a:close/>
                    <a:moveTo>
                      <a:pt x="18" y="148"/>
                    </a:moveTo>
                    <a:lnTo>
                      <a:pt x="196" y="148"/>
                    </a:lnTo>
                    <a:lnTo>
                      <a:pt x="196" y="54"/>
                    </a:lnTo>
                    <a:lnTo>
                      <a:pt x="100" y="54"/>
                    </a:lnTo>
                    <a:lnTo>
                      <a:pt x="62" y="18"/>
                    </a:lnTo>
                    <a:lnTo>
                      <a:pt x="18" y="18"/>
                    </a:ln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101" name="Freeform 26">
                <a:extLst>
                  <a:ext uri="{FF2B5EF4-FFF2-40B4-BE49-F238E27FC236}">
                    <a16:creationId xmlns:a16="http://schemas.microsoft.com/office/drawing/2014/main" id="{08B35750-09C1-46B8-B2DB-A31A016231F5}"/>
                  </a:ext>
                </a:extLst>
              </p:cNvPr>
              <p:cNvSpPr>
                <a:spLocks noEditPoints="1"/>
              </p:cNvSpPr>
              <p:nvPr/>
            </p:nvSpPr>
            <p:spPr bwMode="auto">
              <a:xfrm>
                <a:off x="5499100" y="3910013"/>
                <a:ext cx="339725" cy="263525"/>
              </a:xfrm>
              <a:custGeom>
                <a:avLst/>
                <a:gdLst>
                  <a:gd name="T0" fmla="*/ 214 w 214"/>
                  <a:gd name="T1" fmla="*/ 166 h 166"/>
                  <a:gd name="T2" fmla="*/ 0 w 214"/>
                  <a:gd name="T3" fmla="*/ 166 h 166"/>
                  <a:gd name="T4" fmla="*/ 0 w 214"/>
                  <a:gd name="T5" fmla="*/ 0 h 166"/>
                  <a:gd name="T6" fmla="*/ 68 w 214"/>
                  <a:gd name="T7" fmla="*/ 0 h 166"/>
                  <a:gd name="T8" fmla="*/ 106 w 214"/>
                  <a:gd name="T9" fmla="*/ 36 h 166"/>
                  <a:gd name="T10" fmla="*/ 214 w 214"/>
                  <a:gd name="T11" fmla="*/ 36 h 166"/>
                  <a:gd name="T12" fmla="*/ 214 w 214"/>
                  <a:gd name="T13" fmla="*/ 166 h 166"/>
                  <a:gd name="T14" fmla="*/ 18 w 214"/>
                  <a:gd name="T15" fmla="*/ 148 h 166"/>
                  <a:gd name="T16" fmla="*/ 196 w 214"/>
                  <a:gd name="T17" fmla="*/ 148 h 166"/>
                  <a:gd name="T18" fmla="*/ 196 w 214"/>
                  <a:gd name="T19" fmla="*/ 54 h 166"/>
                  <a:gd name="T20" fmla="*/ 100 w 214"/>
                  <a:gd name="T21" fmla="*/ 54 h 166"/>
                  <a:gd name="T22" fmla="*/ 62 w 214"/>
                  <a:gd name="T23" fmla="*/ 18 h 166"/>
                  <a:gd name="T24" fmla="*/ 18 w 214"/>
                  <a:gd name="T25" fmla="*/ 18 h 166"/>
                  <a:gd name="T26" fmla="*/ 18 w 214"/>
                  <a:gd name="T27" fmla="*/ 14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66">
                    <a:moveTo>
                      <a:pt x="214" y="166"/>
                    </a:moveTo>
                    <a:lnTo>
                      <a:pt x="0" y="166"/>
                    </a:lnTo>
                    <a:lnTo>
                      <a:pt x="0" y="0"/>
                    </a:lnTo>
                    <a:lnTo>
                      <a:pt x="68" y="0"/>
                    </a:lnTo>
                    <a:lnTo>
                      <a:pt x="106" y="36"/>
                    </a:lnTo>
                    <a:lnTo>
                      <a:pt x="214" y="36"/>
                    </a:lnTo>
                    <a:lnTo>
                      <a:pt x="214" y="166"/>
                    </a:lnTo>
                    <a:close/>
                    <a:moveTo>
                      <a:pt x="18" y="148"/>
                    </a:moveTo>
                    <a:lnTo>
                      <a:pt x="196" y="148"/>
                    </a:lnTo>
                    <a:lnTo>
                      <a:pt x="196" y="54"/>
                    </a:lnTo>
                    <a:lnTo>
                      <a:pt x="100" y="54"/>
                    </a:lnTo>
                    <a:lnTo>
                      <a:pt x="62" y="18"/>
                    </a:lnTo>
                    <a:lnTo>
                      <a:pt x="18" y="18"/>
                    </a:ln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sp>
            <p:nvSpPr>
              <p:cNvPr id="102" name="Freeform 27">
                <a:extLst>
                  <a:ext uri="{FF2B5EF4-FFF2-40B4-BE49-F238E27FC236}">
                    <a16:creationId xmlns:a16="http://schemas.microsoft.com/office/drawing/2014/main" id="{1ED5193F-21FB-4ED0-B391-B18D4F6F1FAC}"/>
                  </a:ext>
                </a:extLst>
              </p:cNvPr>
              <p:cNvSpPr>
                <a:spLocks noEditPoints="1"/>
              </p:cNvSpPr>
              <p:nvPr/>
            </p:nvSpPr>
            <p:spPr bwMode="auto">
              <a:xfrm>
                <a:off x="5937250" y="3910013"/>
                <a:ext cx="339725" cy="263525"/>
              </a:xfrm>
              <a:custGeom>
                <a:avLst/>
                <a:gdLst>
                  <a:gd name="T0" fmla="*/ 214 w 214"/>
                  <a:gd name="T1" fmla="*/ 166 h 166"/>
                  <a:gd name="T2" fmla="*/ 0 w 214"/>
                  <a:gd name="T3" fmla="*/ 166 h 166"/>
                  <a:gd name="T4" fmla="*/ 0 w 214"/>
                  <a:gd name="T5" fmla="*/ 0 h 166"/>
                  <a:gd name="T6" fmla="*/ 70 w 214"/>
                  <a:gd name="T7" fmla="*/ 0 h 166"/>
                  <a:gd name="T8" fmla="*/ 106 w 214"/>
                  <a:gd name="T9" fmla="*/ 36 h 166"/>
                  <a:gd name="T10" fmla="*/ 214 w 214"/>
                  <a:gd name="T11" fmla="*/ 36 h 166"/>
                  <a:gd name="T12" fmla="*/ 214 w 214"/>
                  <a:gd name="T13" fmla="*/ 166 h 166"/>
                  <a:gd name="T14" fmla="*/ 18 w 214"/>
                  <a:gd name="T15" fmla="*/ 148 h 166"/>
                  <a:gd name="T16" fmla="*/ 196 w 214"/>
                  <a:gd name="T17" fmla="*/ 148 h 166"/>
                  <a:gd name="T18" fmla="*/ 196 w 214"/>
                  <a:gd name="T19" fmla="*/ 54 h 166"/>
                  <a:gd name="T20" fmla="*/ 100 w 214"/>
                  <a:gd name="T21" fmla="*/ 54 h 166"/>
                  <a:gd name="T22" fmla="*/ 62 w 214"/>
                  <a:gd name="T23" fmla="*/ 18 h 166"/>
                  <a:gd name="T24" fmla="*/ 18 w 214"/>
                  <a:gd name="T25" fmla="*/ 18 h 166"/>
                  <a:gd name="T26" fmla="*/ 18 w 214"/>
                  <a:gd name="T27" fmla="*/ 14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66">
                    <a:moveTo>
                      <a:pt x="214" y="166"/>
                    </a:moveTo>
                    <a:lnTo>
                      <a:pt x="0" y="166"/>
                    </a:lnTo>
                    <a:lnTo>
                      <a:pt x="0" y="0"/>
                    </a:lnTo>
                    <a:lnTo>
                      <a:pt x="70" y="0"/>
                    </a:lnTo>
                    <a:lnTo>
                      <a:pt x="106" y="36"/>
                    </a:lnTo>
                    <a:lnTo>
                      <a:pt x="214" y="36"/>
                    </a:lnTo>
                    <a:lnTo>
                      <a:pt x="214" y="166"/>
                    </a:lnTo>
                    <a:close/>
                    <a:moveTo>
                      <a:pt x="18" y="148"/>
                    </a:moveTo>
                    <a:lnTo>
                      <a:pt x="196" y="148"/>
                    </a:lnTo>
                    <a:lnTo>
                      <a:pt x="196" y="54"/>
                    </a:lnTo>
                    <a:lnTo>
                      <a:pt x="100" y="54"/>
                    </a:lnTo>
                    <a:lnTo>
                      <a:pt x="62" y="18"/>
                    </a:lnTo>
                    <a:lnTo>
                      <a:pt x="18" y="18"/>
                    </a:lnTo>
                    <a:lnTo>
                      <a:pt x="18"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IN" sz="816" dirty="0">
                  <a:solidFill>
                    <a:srgbClr val="000000"/>
                  </a:solidFill>
                  <a:latin typeface="EYInterstate Light" pitchFamily="2" charset="0"/>
                  <a:ea typeface="+mn-ea"/>
                  <a:cs typeface="+mn-cs"/>
                </a:endParaRPr>
              </a:p>
            </p:txBody>
          </p:sp>
        </p:grpSp>
      </p:grpSp>
      <p:grpSp>
        <p:nvGrpSpPr>
          <p:cNvPr id="115" name="Group 4">
            <a:extLst>
              <a:ext uri="{FF2B5EF4-FFF2-40B4-BE49-F238E27FC236}">
                <a16:creationId xmlns:a16="http://schemas.microsoft.com/office/drawing/2014/main" id="{647FEDF8-BD09-48F0-8958-A6A907D1D006}"/>
              </a:ext>
            </a:extLst>
          </p:cNvPr>
          <p:cNvGrpSpPr>
            <a:grpSpLocks noChangeAspect="1"/>
          </p:cNvGrpSpPr>
          <p:nvPr/>
        </p:nvGrpSpPr>
        <p:grpSpPr bwMode="auto">
          <a:xfrm>
            <a:off x="6859780" y="3691298"/>
            <a:ext cx="296092" cy="380558"/>
            <a:chOff x="1895" y="869"/>
            <a:chExt cx="638" cy="820"/>
          </a:xfrm>
          <a:solidFill>
            <a:schemeClr val="accent5"/>
          </a:solidFill>
        </p:grpSpPr>
        <p:sp>
          <p:nvSpPr>
            <p:cNvPr id="116" name="Freeform 5">
              <a:extLst>
                <a:ext uri="{FF2B5EF4-FFF2-40B4-BE49-F238E27FC236}">
                  <a16:creationId xmlns:a16="http://schemas.microsoft.com/office/drawing/2014/main" id="{4DDC8F8C-00B2-4C90-A583-D7C4201853B2}"/>
                </a:ext>
              </a:extLst>
            </p:cNvPr>
            <p:cNvSpPr>
              <a:spLocks noEditPoints="1"/>
            </p:cNvSpPr>
            <p:nvPr/>
          </p:nvSpPr>
          <p:spPr bwMode="auto">
            <a:xfrm>
              <a:off x="2045" y="869"/>
              <a:ext cx="338" cy="136"/>
            </a:xfrm>
            <a:custGeom>
              <a:avLst/>
              <a:gdLst>
                <a:gd name="T0" fmla="*/ 338 w 338"/>
                <a:gd name="T1" fmla="*/ 136 h 136"/>
                <a:gd name="T2" fmla="*/ 0 w 338"/>
                <a:gd name="T3" fmla="*/ 136 h 136"/>
                <a:gd name="T4" fmla="*/ 0 w 338"/>
                <a:gd name="T5" fmla="*/ 0 h 136"/>
                <a:gd name="T6" fmla="*/ 338 w 338"/>
                <a:gd name="T7" fmla="*/ 0 h 136"/>
                <a:gd name="T8" fmla="*/ 338 w 338"/>
                <a:gd name="T9" fmla="*/ 136 h 136"/>
                <a:gd name="T10" fmla="*/ 18 w 338"/>
                <a:gd name="T11" fmla="*/ 118 h 136"/>
                <a:gd name="T12" fmla="*/ 320 w 338"/>
                <a:gd name="T13" fmla="*/ 118 h 136"/>
                <a:gd name="T14" fmla="*/ 320 w 338"/>
                <a:gd name="T15" fmla="*/ 18 h 136"/>
                <a:gd name="T16" fmla="*/ 18 w 338"/>
                <a:gd name="T17" fmla="*/ 18 h 136"/>
                <a:gd name="T18" fmla="*/ 18 w 338"/>
                <a:gd name="T19" fmla="*/ 1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36">
                  <a:moveTo>
                    <a:pt x="338" y="136"/>
                  </a:moveTo>
                  <a:lnTo>
                    <a:pt x="0" y="136"/>
                  </a:lnTo>
                  <a:lnTo>
                    <a:pt x="0" y="0"/>
                  </a:lnTo>
                  <a:lnTo>
                    <a:pt x="338" y="0"/>
                  </a:lnTo>
                  <a:lnTo>
                    <a:pt x="338" y="136"/>
                  </a:lnTo>
                  <a:close/>
                  <a:moveTo>
                    <a:pt x="18" y="118"/>
                  </a:moveTo>
                  <a:lnTo>
                    <a:pt x="320" y="118"/>
                  </a:lnTo>
                  <a:lnTo>
                    <a:pt x="320" y="18"/>
                  </a:lnTo>
                  <a:lnTo>
                    <a:pt x="18" y="18"/>
                  </a:lnTo>
                  <a:lnTo>
                    <a:pt x="18"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b="1" dirty="0">
                <a:solidFill>
                  <a:srgbClr val="000000"/>
                </a:solidFill>
                <a:latin typeface="EYInterstate Light" pitchFamily="2" charset="0"/>
                <a:ea typeface="+mn-ea"/>
                <a:cs typeface="+mn-cs"/>
              </a:endParaRPr>
            </a:p>
          </p:txBody>
        </p:sp>
        <p:sp>
          <p:nvSpPr>
            <p:cNvPr id="117" name="Freeform 6">
              <a:extLst>
                <a:ext uri="{FF2B5EF4-FFF2-40B4-BE49-F238E27FC236}">
                  <a16:creationId xmlns:a16="http://schemas.microsoft.com/office/drawing/2014/main" id="{062A7B5A-54ED-4381-80E0-8FA4BC16D684}"/>
                </a:ext>
              </a:extLst>
            </p:cNvPr>
            <p:cNvSpPr>
              <a:spLocks/>
            </p:cNvSpPr>
            <p:nvPr/>
          </p:nvSpPr>
          <p:spPr bwMode="auto">
            <a:xfrm>
              <a:off x="1895" y="927"/>
              <a:ext cx="638" cy="762"/>
            </a:xfrm>
            <a:custGeom>
              <a:avLst/>
              <a:gdLst>
                <a:gd name="T0" fmla="*/ 638 w 638"/>
                <a:gd name="T1" fmla="*/ 762 h 762"/>
                <a:gd name="T2" fmla="*/ 0 w 638"/>
                <a:gd name="T3" fmla="*/ 762 h 762"/>
                <a:gd name="T4" fmla="*/ 0 w 638"/>
                <a:gd name="T5" fmla="*/ 0 h 762"/>
                <a:gd name="T6" fmla="*/ 160 w 638"/>
                <a:gd name="T7" fmla="*/ 0 h 762"/>
                <a:gd name="T8" fmla="*/ 160 w 638"/>
                <a:gd name="T9" fmla="*/ 18 h 762"/>
                <a:gd name="T10" fmla="*/ 18 w 638"/>
                <a:gd name="T11" fmla="*/ 18 h 762"/>
                <a:gd name="T12" fmla="*/ 18 w 638"/>
                <a:gd name="T13" fmla="*/ 744 h 762"/>
                <a:gd name="T14" fmla="*/ 620 w 638"/>
                <a:gd name="T15" fmla="*/ 744 h 762"/>
                <a:gd name="T16" fmla="*/ 620 w 638"/>
                <a:gd name="T17" fmla="*/ 18 h 762"/>
                <a:gd name="T18" fmla="*/ 480 w 638"/>
                <a:gd name="T19" fmla="*/ 18 h 762"/>
                <a:gd name="T20" fmla="*/ 480 w 638"/>
                <a:gd name="T21" fmla="*/ 0 h 762"/>
                <a:gd name="T22" fmla="*/ 638 w 638"/>
                <a:gd name="T23" fmla="*/ 0 h 762"/>
                <a:gd name="T24" fmla="*/ 638 w 638"/>
                <a:gd name="T25" fmla="*/ 762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8" h="762">
                  <a:moveTo>
                    <a:pt x="638" y="762"/>
                  </a:moveTo>
                  <a:lnTo>
                    <a:pt x="0" y="762"/>
                  </a:lnTo>
                  <a:lnTo>
                    <a:pt x="0" y="0"/>
                  </a:lnTo>
                  <a:lnTo>
                    <a:pt x="160" y="0"/>
                  </a:lnTo>
                  <a:lnTo>
                    <a:pt x="160" y="18"/>
                  </a:lnTo>
                  <a:lnTo>
                    <a:pt x="18" y="18"/>
                  </a:lnTo>
                  <a:lnTo>
                    <a:pt x="18" y="744"/>
                  </a:lnTo>
                  <a:lnTo>
                    <a:pt x="620" y="744"/>
                  </a:lnTo>
                  <a:lnTo>
                    <a:pt x="620" y="18"/>
                  </a:lnTo>
                  <a:lnTo>
                    <a:pt x="480" y="18"/>
                  </a:lnTo>
                  <a:lnTo>
                    <a:pt x="480" y="0"/>
                  </a:lnTo>
                  <a:lnTo>
                    <a:pt x="638" y="0"/>
                  </a:lnTo>
                  <a:lnTo>
                    <a:pt x="638" y="7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b="1" dirty="0">
                <a:solidFill>
                  <a:srgbClr val="000000"/>
                </a:solidFill>
                <a:latin typeface="EYInterstate Light" pitchFamily="2" charset="0"/>
                <a:ea typeface="+mn-ea"/>
                <a:cs typeface="+mn-cs"/>
              </a:endParaRPr>
            </a:p>
          </p:txBody>
        </p:sp>
        <p:sp>
          <p:nvSpPr>
            <p:cNvPr id="118" name="Rectangle 7">
              <a:extLst>
                <a:ext uri="{FF2B5EF4-FFF2-40B4-BE49-F238E27FC236}">
                  <a16:creationId xmlns:a16="http://schemas.microsoft.com/office/drawing/2014/main" id="{39C0B2AD-CAFD-4D13-9862-F546922FE11E}"/>
                </a:ext>
              </a:extLst>
            </p:cNvPr>
            <p:cNvSpPr>
              <a:spLocks noChangeArrowheads="1"/>
            </p:cNvSpPr>
            <p:nvPr/>
          </p:nvSpPr>
          <p:spPr bwMode="auto">
            <a:xfrm>
              <a:off x="2139" y="927"/>
              <a:ext cx="15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b="1" dirty="0">
                <a:solidFill>
                  <a:srgbClr val="000000"/>
                </a:solidFill>
                <a:latin typeface="EYInterstate Light" pitchFamily="2" charset="0"/>
                <a:ea typeface="+mn-ea"/>
                <a:cs typeface="+mn-cs"/>
              </a:endParaRPr>
            </a:p>
          </p:txBody>
        </p:sp>
        <p:sp>
          <p:nvSpPr>
            <p:cNvPr id="119" name="Freeform 8">
              <a:extLst>
                <a:ext uri="{FF2B5EF4-FFF2-40B4-BE49-F238E27FC236}">
                  <a16:creationId xmlns:a16="http://schemas.microsoft.com/office/drawing/2014/main" id="{A096CE6E-C202-4EC3-A099-37B8D377D740}"/>
                </a:ext>
              </a:extLst>
            </p:cNvPr>
            <p:cNvSpPr>
              <a:spLocks noEditPoints="1"/>
            </p:cNvSpPr>
            <p:nvPr/>
          </p:nvSpPr>
          <p:spPr bwMode="auto">
            <a:xfrm>
              <a:off x="2023" y="1137"/>
              <a:ext cx="98" cy="98"/>
            </a:xfrm>
            <a:custGeom>
              <a:avLst/>
              <a:gdLst>
                <a:gd name="T0" fmla="*/ 48 w 98"/>
                <a:gd name="T1" fmla="*/ 98 h 98"/>
                <a:gd name="T2" fmla="*/ 30 w 98"/>
                <a:gd name="T3" fmla="*/ 94 h 98"/>
                <a:gd name="T4" fmla="*/ 14 w 98"/>
                <a:gd name="T5" fmla="*/ 84 h 98"/>
                <a:gd name="T6" fmla="*/ 4 w 98"/>
                <a:gd name="T7" fmla="*/ 68 h 98"/>
                <a:gd name="T8" fmla="*/ 0 w 98"/>
                <a:gd name="T9" fmla="*/ 50 h 98"/>
                <a:gd name="T10" fmla="*/ 0 w 98"/>
                <a:gd name="T11" fmla="*/ 40 h 98"/>
                <a:gd name="T12" fmla="*/ 8 w 98"/>
                <a:gd name="T13" fmla="*/ 22 h 98"/>
                <a:gd name="T14" fmla="*/ 22 w 98"/>
                <a:gd name="T15" fmla="*/ 8 h 98"/>
                <a:gd name="T16" fmla="*/ 38 w 98"/>
                <a:gd name="T17" fmla="*/ 2 h 98"/>
                <a:gd name="T18" fmla="*/ 48 w 98"/>
                <a:gd name="T19" fmla="*/ 0 h 98"/>
                <a:gd name="T20" fmla="*/ 68 w 98"/>
                <a:gd name="T21" fmla="*/ 4 h 98"/>
                <a:gd name="T22" fmla="*/ 84 w 98"/>
                <a:gd name="T23" fmla="*/ 14 h 98"/>
                <a:gd name="T24" fmla="*/ 94 w 98"/>
                <a:gd name="T25" fmla="*/ 30 h 98"/>
                <a:gd name="T26" fmla="*/ 98 w 98"/>
                <a:gd name="T27" fmla="*/ 50 h 98"/>
                <a:gd name="T28" fmla="*/ 96 w 98"/>
                <a:gd name="T29" fmla="*/ 60 h 98"/>
                <a:gd name="T30" fmla="*/ 88 w 98"/>
                <a:gd name="T31" fmla="*/ 76 h 98"/>
                <a:gd name="T32" fmla="*/ 76 w 98"/>
                <a:gd name="T33" fmla="*/ 90 h 98"/>
                <a:gd name="T34" fmla="*/ 58 w 98"/>
                <a:gd name="T35" fmla="*/ 96 h 98"/>
                <a:gd name="T36" fmla="*/ 48 w 98"/>
                <a:gd name="T37" fmla="*/ 98 h 98"/>
                <a:gd name="T38" fmla="*/ 48 w 98"/>
                <a:gd name="T39" fmla="*/ 18 h 98"/>
                <a:gd name="T40" fmla="*/ 36 w 98"/>
                <a:gd name="T41" fmla="*/ 20 h 98"/>
                <a:gd name="T42" fmla="*/ 20 w 98"/>
                <a:gd name="T43" fmla="*/ 38 h 98"/>
                <a:gd name="T44" fmla="*/ 18 w 98"/>
                <a:gd name="T45" fmla="*/ 50 h 98"/>
                <a:gd name="T46" fmla="*/ 18 w 98"/>
                <a:gd name="T47" fmla="*/ 56 h 98"/>
                <a:gd name="T48" fmla="*/ 26 w 98"/>
                <a:gd name="T49" fmla="*/ 70 h 98"/>
                <a:gd name="T50" fmla="*/ 42 w 98"/>
                <a:gd name="T51" fmla="*/ 80 h 98"/>
                <a:gd name="T52" fmla="*/ 48 w 98"/>
                <a:gd name="T53" fmla="*/ 80 h 98"/>
                <a:gd name="T54" fmla="*/ 60 w 98"/>
                <a:gd name="T55" fmla="*/ 78 h 98"/>
                <a:gd name="T56" fmla="*/ 76 w 98"/>
                <a:gd name="T57" fmla="*/ 62 h 98"/>
                <a:gd name="T58" fmla="*/ 80 w 98"/>
                <a:gd name="T59" fmla="*/ 50 h 98"/>
                <a:gd name="T60" fmla="*/ 78 w 98"/>
                <a:gd name="T61" fmla="*/ 44 h 98"/>
                <a:gd name="T62" fmla="*/ 70 w 98"/>
                <a:gd name="T63" fmla="*/ 28 h 98"/>
                <a:gd name="T64" fmla="*/ 54 w 98"/>
                <a:gd name="T65" fmla="*/ 20 h 98"/>
                <a:gd name="T66" fmla="*/ 48 w 98"/>
                <a:gd name="T67"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98">
                  <a:moveTo>
                    <a:pt x="48" y="98"/>
                  </a:moveTo>
                  <a:lnTo>
                    <a:pt x="48" y="98"/>
                  </a:lnTo>
                  <a:lnTo>
                    <a:pt x="38" y="96"/>
                  </a:lnTo>
                  <a:lnTo>
                    <a:pt x="30" y="94"/>
                  </a:lnTo>
                  <a:lnTo>
                    <a:pt x="22" y="90"/>
                  </a:lnTo>
                  <a:lnTo>
                    <a:pt x="14" y="84"/>
                  </a:lnTo>
                  <a:lnTo>
                    <a:pt x="8" y="76"/>
                  </a:lnTo>
                  <a:lnTo>
                    <a:pt x="4" y="68"/>
                  </a:lnTo>
                  <a:lnTo>
                    <a:pt x="0" y="60"/>
                  </a:lnTo>
                  <a:lnTo>
                    <a:pt x="0" y="50"/>
                  </a:lnTo>
                  <a:lnTo>
                    <a:pt x="0" y="50"/>
                  </a:lnTo>
                  <a:lnTo>
                    <a:pt x="0" y="40"/>
                  </a:lnTo>
                  <a:lnTo>
                    <a:pt x="4" y="30"/>
                  </a:lnTo>
                  <a:lnTo>
                    <a:pt x="8" y="22"/>
                  </a:lnTo>
                  <a:lnTo>
                    <a:pt x="14" y="14"/>
                  </a:lnTo>
                  <a:lnTo>
                    <a:pt x="22" y="8"/>
                  </a:lnTo>
                  <a:lnTo>
                    <a:pt x="30" y="4"/>
                  </a:lnTo>
                  <a:lnTo>
                    <a:pt x="38" y="2"/>
                  </a:lnTo>
                  <a:lnTo>
                    <a:pt x="48" y="0"/>
                  </a:lnTo>
                  <a:lnTo>
                    <a:pt x="48" y="0"/>
                  </a:lnTo>
                  <a:lnTo>
                    <a:pt x="58" y="2"/>
                  </a:lnTo>
                  <a:lnTo>
                    <a:pt x="68" y="4"/>
                  </a:lnTo>
                  <a:lnTo>
                    <a:pt x="76" y="8"/>
                  </a:lnTo>
                  <a:lnTo>
                    <a:pt x="84" y="14"/>
                  </a:lnTo>
                  <a:lnTo>
                    <a:pt x="88" y="22"/>
                  </a:lnTo>
                  <a:lnTo>
                    <a:pt x="94" y="30"/>
                  </a:lnTo>
                  <a:lnTo>
                    <a:pt x="96" y="40"/>
                  </a:lnTo>
                  <a:lnTo>
                    <a:pt x="98" y="50"/>
                  </a:lnTo>
                  <a:lnTo>
                    <a:pt x="98" y="50"/>
                  </a:lnTo>
                  <a:lnTo>
                    <a:pt x="96" y="60"/>
                  </a:lnTo>
                  <a:lnTo>
                    <a:pt x="94" y="68"/>
                  </a:lnTo>
                  <a:lnTo>
                    <a:pt x="88" y="76"/>
                  </a:lnTo>
                  <a:lnTo>
                    <a:pt x="84" y="84"/>
                  </a:lnTo>
                  <a:lnTo>
                    <a:pt x="76" y="90"/>
                  </a:lnTo>
                  <a:lnTo>
                    <a:pt x="68" y="94"/>
                  </a:lnTo>
                  <a:lnTo>
                    <a:pt x="58" y="96"/>
                  </a:lnTo>
                  <a:lnTo>
                    <a:pt x="48" y="98"/>
                  </a:lnTo>
                  <a:lnTo>
                    <a:pt x="48" y="98"/>
                  </a:lnTo>
                  <a:close/>
                  <a:moveTo>
                    <a:pt x="48" y="18"/>
                  </a:moveTo>
                  <a:lnTo>
                    <a:pt x="48" y="18"/>
                  </a:lnTo>
                  <a:lnTo>
                    <a:pt x="42" y="20"/>
                  </a:lnTo>
                  <a:lnTo>
                    <a:pt x="36" y="20"/>
                  </a:lnTo>
                  <a:lnTo>
                    <a:pt x="26" y="28"/>
                  </a:lnTo>
                  <a:lnTo>
                    <a:pt x="20" y="38"/>
                  </a:lnTo>
                  <a:lnTo>
                    <a:pt x="18" y="44"/>
                  </a:lnTo>
                  <a:lnTo>
                    <a:pt x="18" y="50"/>
                  </a:lnTo>
                  <a:lnTo>
                    <a:pt x="18" y="50"/>
                  </a:lnTo>
                  <a:lnTo>
                    <a:pt x="18" y="56"/>
                  </a:lnTo>
                  <a:lnTo>
                    <a:pt x="20" y="62"/>
                  </a:lnTo>
                  <a:lnTo>
                    <a:pt x="26" y="70"/>
                  </a:lnTo>
                  <a:lnTo>
                    <a:pt x="36" y="78"/>
                  </a:lnTo>
                  <a:lnTo>
                    <a:pt x="42" y="80"/>
                  </a:lnTo>
                  <a:lnTo>
                    <a:pt x="48" y="80"/>
                  </a:lnTo>
                  <a:lnTo>
                    <a:pt x="48" y="80"/>
                  </a:lnTo>
                  <a:lnTo>
                    <a:pt x="54" y="80"/>
                  </a:lnTo>
                  <a:lnTo>
                    <a:pt x="60" y="78"/>
                  </a:lnTo>
                  <a:lnTo>
                    <a:pt x="70" y="70"/>
                  </a:lnTo>
                  <a:lnTo>
                    <a:pt x="76" y="62"/>
                  </a:lnTo>
                  <a:lnTo>
                    <a:pt x="78" y="56"/>
                  </a:lnTo>
                  <a:lnTo>
                    <a:pt x="80" y="50"/>
                  </a:lnTo>
                  <a:lnTo>
                    <a:pt x="80" y="50"/>
                  </a:lnTo>
                  <a:lnTo>
                    <a:pt x="78" y="44"/>
                  </a:lnTo>
                  <a:lnTo>
                    <a:pt x="76" y="38"/>
                  </a:lnTo>
                  <a:lnTo>
                    <a:pt x="70" y="28"/>
                  </a:lnTo>
                  <a:lnTo>
                    <a:pt x="60" y="20"/>
                  </a:lnTo>
                  <a:lnTo>
                    <a:pt x="54" y="20"/>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b="1" dirty="0">
                <a:solidFill>
                  <a:srgbClr val="000000"/>
                </a:solidFill>
                <a:latin typeface="EYInterstate Light" pitchFamily="2" charset="0"/>
                <a:ea typeface="+mn-ea"/>
                <a:cs typeface="+mn-cs"/>
              </a:endParaRPr>
            </a:p>
          </p:txBody>
        </p:sp>
        <p:sp>
          <p:nvSpPr>
            <p:cNvPr id="120" name="Freeform 9">
              <a:extLst>
                <a:ext uri="{FF2B5EF4-FFF2-40B4-BE49-F238E27FC236}">
                  <a16:creationId xmlns:a16="http://schemas.microsoft.com/office/drawing/2014/main" id="{6AA3A7AA-DCE2-42AC-BCE6-096772BF0FE5}"/>
                </a:ext>
              </a:extLst>
            </p:cNvPr>
            <p:cNvSpPr>
              <a:spLocks noEditPoints="1"/>
            </p:cNvSpPr>
            <p:nvPr/>
          </p:nvSpPr>
          <p:spPr bwMode="auto">
            <a:xfrm>
              <a:off x="2091" y="1419"/>
              <a:ext cx="96" cy="98"/>
            </a:xfrm>
            <a:custGeom>
              <a:avLst/>
              <a:gdLst>
                <a:gd name="T0" fmla="*/ 48 w 96"/>
                <a:gd name="T1" fmla="*/ 98 h 98"/>
                <a:gd name="T2" fmla="*/ 28 w 96"/>
                <a:gd name="T3" fmla="*/ 94 h 98"/>
                <a:gd name="T4" fmla="*/ 14 w 96"/>
                <a:gd name="T5" fmla="*/ 84 h 98"/>
                <a:gd name="T6" fmla="*/ 2 w 96"/>
                <a:gd name="T7" fmla="*/ 68 h 98"/>
                <a:gd name="T8" fmla="*/ 0 w 96"/>
                <a:gd name="T9" fmla="*/ 50 h 98"/>
                <a:gd name="T10" fmla="*/ 0 w 96"/>
                <a:gd name="T11" fmla="*/ 40 h 98"/>
                <a:gd name="T12" fmla="*/ 8 w 96"/>
                <a:gd name="T13" fmla="*/ 22 h 98"/>
                <a:gd name="T14" fmla="*/ 20 w 96"/>
                <a:gd name="T15" fmla="*/ 10 h 98"/>
                <a:gd name="T16" fmla="*/ 38 w 96"/>
                <a:gd name="T17" fmla="*/ 2 h 98"/>
                <a:gd name="T18" fmla="*/ 48 w 96"/>
                <a:gd name="T19" fmla="*/ 0 h 98"/>
                <a:gd name="T20" fmla="*/ 66 w 96"/>
                <a:gd name="T21" fmla="*/ 4 h 98"/>
                <a:gd name="T22" fmla="*/ 82 w 96"/>
                <a:gd name="T23" fmla="*/ 14 h 98"/>
                <a:gd name="T24" fmla="*/ 92 w 96"/>
                <a:gd name="T25" fmla="*/ 30 h 98"/>
                <a:gd name="T26" fmla="*/ 96 w 96"/>
                <a:gd name="T27" fmla="*/ 50 h 98"/>
                <a:gd name="T28" fmla="*/ 96 w 96"/>
                <a:gd name="T29" fmla="*/ 60 h 98"/>
                <a:gd name="T30" fmla="*/ 88 w 96"/>
                <a:gd name="T31" fmla="*/ 76 h 98"/>
                <a:gd name="T32" fmla="*/ 74 w 96"/>
                <a:gd name="T33" fmla="*/ 90 h 98"/>
                <a:gd name="T34" fmla="*/ 58 w 96"/>
                <a:gd name="T35" fmla="*/ 98 h 98"/>
                <a:gd name="T36" fmla="*/ 48 w 96"/>
                <a:gd name="T37" fmla="*/ 98 h 98"/>
                <a:gd name="T38" fmla="*/ 48 w 96"/>
                <a:gd name="T39" fmla="*/ 18 h 98"/>
                <a:gd name="T40" fmla="*/ 36 w 96"/>
                <a:gd name="T41" fmla="*/ 22 h 98"/>
                <a:gd name="T42" fmla="*/ 20 w 96"/>
                <a:gd name="T43" fmla="*/ 38 h 98"/>
                <a:gd name="T44" fmla="*/ 18 w 96"/>
                <a:gd name="T45" fmla="*/ 50 h 98"/>
                <a:gd name="T46" fmla="*/ 18 w 96"/>
                <a:gd name="T47" fmla="*/ 56 h 98"/>
                <a:gd name="T48" fmla="*/ 26 w 96"/>
                <a:gd name="T49" fmla="*/ 72 h 98"/>
                <a:gd name="T50" fmla="*/ 42 w 96"/>
                <a:gd name="T51" fmla="*/ 80 h 98"/>
                <a:gd name="T52" fmla="*/ 48 w 96"/>
                <a:gd name="T53" fmla="*/ 80 h 98"/>
                <a:gd name="T54" fmla="*/ 60 w 96"/>
                <a:gd name="T55" fmla="*/ 78 h 98"/>
                <a:gd name="T56" fmla="*/ 76 w 96"/>
                <a:gd name="T57" fmla="*/ 62 h 98"/>
                <a:gd name="T58" fmla="*/ 78 w 96"/>
                <a:gd name="T59" fmla="*/ 50 h 98"/>
                <a:gd name="T60" fmla="*/ 78 w 96"/>
                <a:gd name="T61" fmla="*/ 44 h 98"/>
                <a:gd name="T62" fmla="*/ 70 w 96"/>
                <a:gd name="T63" fmla="*/ 28 h 98"/>
                <a:gd name="T64" fmla="*/ 54 w 96"/>
                <a:gd name="T65" fmla="*/ 20 h 98"/>
                <a:gd name="T66" fmla="*/ 48 w 96"/>
                <a:gd name="T67"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98">
                  <a:moveTo>
                    <a:pt x="48" y="98"/>
                  </a:moveTo>
                  <a:lnTo>
                    <a:pt x="48" y="98"/>
                  </a:lnTo>
                  <a:lnTo>
                    <a:pt x="38" y="98"/>
                  </a:lnTo>
                  <a:lnTo>
                    <a:pt x="28" y="94"/>
                  </a:lnTo>
                  <a:lnTo>
                    <a:pt x="20" y="90"/>
                  </a:lnTo>
                  <a:lnTo>
                    <a:pt x="14" y="84"/>
                  </a:lnTo>
                  <a:lnTo>
                    <a:pt x="8" y="76"/>
                  </a:lnTo>
                  <a:lnTo>
                    <a:pt x="2" y="68"/>
                  </a:lnTo>
                  <a:lnTo>
                    <a:pt x="0" y="60"/>
                  </a:lnTo>
                  <a:lnTo>
                    <a:pt x="0" y="50"/>
                  </a:lnTo>
                  <a:lnTo>
                    <a:pt x="0" y="50"/>
                  </a:lnTo>
                  <a:lnTo>
                    <a:pt x="0" y="40"/>
                  </a:lnTo>
                  <a:lnTo>
                    <a:pt x="2" y="30"/>
                  </a:lnTo>
                  <a:lnTo>
                    <a:pt x="8" y="22"/>
                  </a:lnTo>
                  <a:lnTo>
                    <a:pt x="14" y="14"/>
                  </a:lnTo>
                  <a:lnTo>
                    <a:pt x="20" y="10"/>
                  </a:lnTo>
                  <a:lnTo>
                    <a:pt x="28" y="4"/>
                  </a:lnTo>
                  <a:lnTo>
                    <a:pt x="38" y="2"/>
                  </a:lnTo>
                  <a:lnTo>
                    <a:pt x="48" y="0"/>
                  </a:lnTo>
                  <a:lnTo>
                    <a:pt x="48" y="0"/>
                  </a:lnTo>
                  <a:lnTo>
                    <a:pt x="58" y="2"/>
                  </a:lnTo>
                  <a:lnTo>
                    <a:pt x="66" y="4"/>
                  </a:lnTo>
                  <a:lnTo>
                    <a:pt x="74" y="10"/>
                  </a:lnTo>
                  <a:lnTo>
                    <a:pt x="82" y="14"/>
                  </a:lnTo>
                  <a:lnTo>
                    <a:pt x="88" y="22"/>
                  </a:lnTo>
                  <a:lnTo>
                    <a:pt x="92" y="30"/>
                  </a:lnTo>
                  <a:lnTo>
                    <a:pt x="96" y="40"/>
                  </a:lnTo>
                  <a:lnTo>
                    <a:pt x="96" y="50"/>
                  </a:lnTo>
                  <a:lnTo>
                    <a:pt x="96" y="50"/>
                  </a:lnTo>
                  <a:lnTo>
                    <a:pt x="96" y="60"/>
                  </a:lnTo>
                  <a:lnTo>
                    <a:pt x="92" y="68"/>
                  </a:lnTo>
                  <a:lnTo>
                    <a:pt x="88" y="76"/>
                  </a:lnTo>
                  <a:lnTo>
                    <a:pt x="82" y="84"/>
                  </a:lnTo>
                  <a:lnTo>
                    <a:pt x="74" y="90"/>
                  </a:lnTo>
                  <a:lnTo>
                    <a:pt x="66" y="94"/>
                  </a:lnTo>
                  <a:lnTo>
                    <a:pt x="58" y="98"/>
                  </a:lnTo>
                  <a:lnTo>
                    <a:pt x="48" y="98"/>
                  </a:lnTo>
                  <a:lnTo>
                    <a:pt x="48" y="98"/>
                  </a:lnTo>
                  <a:close/>
                  <a:moveTo>
                    <a:pt x="48" y="18"/>
                  </a:moveTo>
                  <a:lnTo>
                    <a:pt x="48" y="18"/>
                  </a:lnTo>
                  <a:lnTo>
                    <a:pt x="42" y="20"/>
                  </a:lnTo>
                  <a:lnTo>
                    <a:pt x="36" y="22"/>
                  </a:lnTo>
                  <a:lnTo>
                    <a:pt x="26" y="28"/>
                  </a:lnTo>
                  <a:lnTo>
                    <a:pt x="20" y="38"/>
                  </a:lnTo>
                  <a:lnTo>
                    <a:pt x="18" y="44"/>
                  </a:lnTo>
                  <a:lnTo>
                    <a:pt x="18" y="50"/>
                  </a:lnTo>
                  <a:lnTo>
                    <a:pt x="18" y="50"/>
                  </a:lnTo>
                  <a:lnTo>
                    <a:pt x="18" y="56"/>
                  </a:lnTo>
                  <a:lnTo>
                    <a:pt x="20" y="62"/>
                  </a:lnTo>
                  <a:lnTo>
                    <a:pt x="26" y="72"/>
                  </a:lnTo>
                  <a:lnTo>
                    <a:pt x="36" y="78"/>
                  </a:lnTo>
                  <a:lnTo>
                    <a:pt x="42" y="80"/>
                  </a:lnTo>
                  <a:lnTo>
                    <a:pt x="48" y="80"/>
                  </a:lnTo>
                  <a:lnTo>
                    <a:pt x="48" y="80"/>
                  </a:lnTo>
                  <a:lnTo>
                    <a:pt x="54" y="80"/>
                  </a:lnTo>
                  <a:lnTo>
                    <a:pt x="60" y="78"/>
                  </a:lnTo>
                  <a:lnTo>
                    <a:pt x="70" y="72"/>
                  </a:lnTo>
                  <a:lnTo>
                    <a:pt x="76" y="62"/>
                  </a:lnTo>
                  <a:lnTo>
                    <a:pt x="78" y="56"/>
                  </a:lnTo>
                  <a:lnTo>
                    <a:pt x="78" y="50"/>
                  </a:lnTo>
                  <a:lnTo>
                    <a:pt x="78" y="50"/>
                  </a:lnTo>
                  <a:lnTo>
                    <a:pt x="78" y="44"/>
                  </a:lnTo>
                  <a:lnTo>
                    <a:pt x="76" y="38"/>
                  </a:lnTo>
                  <a:lnTo>
                    <a:pt x="70" y="28"/>
                  </a:lnTo>
                  <a:lnTo>
                    <a:pt x="60" y="22"/>
                  </a:lnTo>
                  <a:lnTo>
                    <a:pt x="54" y="20"/>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b="1" dirty="0">
                <a:solidFill>
                  <a:srgbClr val="000000"/>
                </a:solidFill>
                <a:latin typeface="EYInterstate Light" pitchFamily="2" charset="0"/>
                <a:ea typeface="+mn-ea"/>
                <a:cs typeface="+mn-cs"/>
              </a:endParaRPr>
            </a:p>
          </p:txBody>
        </p:sp>
        <p:sp>
          <p:nvSpPr>
            <p:cNvPr id="121" name="Freeform 10">
              <a:extLst>
                <a:ext uri="{FF2B5EF4-FFF2-40B4-BE49-F238E27FC236}">
                  <a16:creationId xmlns:a16="http://schemas.microsoft.com/office/drawing/2014/main" id="{CFCD1D98-90EA-4F1C-BE8D-7D697CE6CDA0}"/>
                </a:ext>
              </a:extLst>
            </p:cNvPr>
            <p:cNvSpPr>
              <a:spLocks/>
            </p:cNvSpPr>
            <p:nvPr/>
          </p:nvSpPr>
          <p:spPr bwMode="auto">
            <a:xfrm>
              <a:off x="2317" y="1387"/>
              <a:ext cx="86" cy="86"/>
            </a:xfrm>
            <a:custGeom>
              <a:avLst/>
              <a:gdLst>
                <a:gd name="T0" fmla="*/ 74 w 86"/>
                <a:gd name="T1" fmla="*/ 86 h 86"/>
                <a:gd name="T2" fmla="*/ 0 w 86"/>
                <a:gd name="T3" fmla="*/ 12 h 86"/>
                <a:gd name="T4" fmla="*/ 12 w 86"/>
                <a:gd name="T5" fmla="*/ 0 h 86"/>
                <a:gd name="T6" fmla="*/ 86 w 86"/>
                <a:gd name="T7" fmla="*/ 74 h 86"/>
                <a:gd name="T8" fmla="*/ 74 w 86"/>
                <a:gd name="T9" fmla="*/ 86 h 86"/>
              </a:gdLst>
              <a:ahLst/>
              <a:cxnLst>
                <a:cxn ang="0">
                  <a:pos x="T0" y="T1"/>
                </a:cxn>
                <a:cxn ang="0">
                  <a:pos x="T2" y="T3"/>
                </a:cxn>
                <a:cxn ang="0">
                  <a:pos x="T4" y="T5"/>
                </a:cxn>
                <a:cxn ang="0">
                  <a:pos x="T6" y="T7"/>
                </a:cxn>
                <a:cxn ang="0">
                  <a:pos x="T8" y="T9"/>
                </a:cxn>
              </a:cxnLst>
              <a:rect l="0" t="0" r="r" b="b"/>
              <a:pathLst>
                <a:path w="86" h="86">
                  <a:moveTo>
                    <a:pt x="74" y="86"/>
                  </a:moveTo>
                  <a:lnTo>
                    <a:pt x="0" y="12"/>
                  </a:lnTo>
                  <a:lnTo>
                    <a:pt x="12" y="0"/>
                  </a:lnTo>
                  <a:lnTo>
                    <a:pt x="86" y="74"/>
                  </a:lnTo>
                  <a:lnTo>
                    <a:pt x="7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b="1" dirty="0">
                <a:solidFill>
                  <a:srgbClr val="000000"/>
                </a:solidFill>
                <a:latin typeface="EYInterstate Light" pitchFamily="2" charset="0"/>
                <a:ea typeface="+mn-ea"/>
                <a:cs typeface="+mn-cs"/>
              </a:endParaRPr>
            </a:p>
          </p:txBody>
        </p:sp>
        <p:sp>
          <p:nvSpPr>
            <p:cNvPr id="122" name="Freeform 11">
              <a:extLst>
                <a:ext uri="{FF2B5EF4-FFF2-40B4-BE49-F238E27FC236}">
                  <a16:creationId xmlns:a16="http://schemas.microsoft.com/office/drawing/2014/main" id="{139CB4F6-3C9D-4DC9-BDB4-B7A4A4EC48BB}"/>
                </a:ext>
              </a:extLst>
            </p:cNvPr>
            <p:cNvSpPr>
              <a:spLocks/>
            </p:cNvSpPr>
            <p:nvPr/>
          </p:nvSpPr>
          <p:spPr bwMode="auto">
            <a:xfrm>
              <a:off x="2317" y="1387"/>
              <a:ext cx="86" cy="86"/>
            </a:xfrm>
            <a:custGeom>
              <a:avLst/>
              <a:gdLst>
                <a:gd name="T0" fmla="*/ 12 w 86"/>
                <a:gd name="T1" fmla="*/ 86 h 86"/>
                <a:gd name="T2" fmla="*/ 0 w 86"/>
                <a:gd name="T3" fmla="*/ 74 h 86"/>
                <a:gd name="T4" fmla="*/ 74 w 86"/>
                <a:gd name="T5" fmla="*/ 0 h 86"/>
                <a:gd name="T6" fmla="*/ 86 w 86"/>
                <a:gd name="T7" fmla="*/ 12 h 86"/>
                <a:gd name="T8" fmla="*/ 12 w 86"/>
                <a:gd name="T9" fmla="*/ 86 h 86"/>
              </a:gdLst>
              <a:ahLst/>
              <a:cxnLst>
                <a:cxn ang="0">
                  <a:pos x="T0" y="T1"/>
                </a:cxn>
                <a:cxn ang="0">
                  <a:pos x="T2" y="T3"/>
                </a:cxn>
                <a:cxn ang="0">
                  <a:pos x="T4" y="T5"/>
                </a:cxn>
                <a:cxn ang="0">
                  <a:pos x="T6" y="T7"/>
                </a:cxn>
                <a:cxn ang="0">
                  <a:pos x="T8" y="T9"/>
                </a:cxn>
              </a:cxnLst>
              <a:rect l="0" t="0" r="r" b="b"/>
              <a:pathLst>
                <a:path w="86" h="86">
                  <a:moveTo>
                    <a:pt x="12" y="86"/>
                  </a:moveTo>
                  <a:lnTo>
                    <a:pt x="0" y="74"/>
                  </a:lnTo>
                  <a:lnTo>
                    <a:pt x="74" y="0"/>
                  </a:lnTo>
                  <a:lnTo>
                    <a:pt x="86" y="12"/>
                  </a:lnTo>
                  <a:lnTo>
                    <a:pt x="12"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b="1" dirty="0">
                <a:solidFill>
                  <a:srgbClr val="000000"/>
                </a:solidFill>
                <a:latin typeface="EYInterstate Light" pitchFamily="2" charset="0"/>
                <a:ea typeface="+mn-ea"/>
                <a:cs typeface="+mn-cs"/>
              </a:endParaRPr>
            </a:p>
          </p:txBody>
        </p:sp>
        <p:sp>
          <p:nvSpPr>
            <p:cNvPr id="123" name="Freeform 12">
              <a:extLst>
                <a:ext uri="{FF2B5EF4-FFF2-40B4-BE49-F238E27FC236}">
                  <a16:creationId xmlns:a16="http://schemas.microsoft.com/office/drawing/2014/main" id="{9727D181-A27E-400C-AF6E-E52E0CBBCA16}"/>
                </a:ext>
              </a:extLst>
            </p:cNvPr>
            <p:cNvSpPr>
              <a:spLocks/>
            </p:cNvSpPr>
            <p:nvPr/>
          </p:nvSpPr>
          <p:spPr bwMode="auto">
            <a:xfrm>
              <a:off x="2129" y="1139"/>
              <a:ext cx="178" cy="290"/>
            </a:xfrm>
            <a:custGeom>
              <a:avLst/>
              <a:gdLst>
                <a:gd name="T0" fmla="*/ 18 w 178"/>
                <a:gd name="T1" fmla="*/ 290 h 290"/>
                <a:gd name="T2" fmla="*/ 0 w 178"/>
                <a:gd name="T3" fmla="*/ 290 h 290"/>
                <a:gd name="T4" fmla="*/ 0 w 178"/>
                <a:gd name="T5" fmla="*/ 140 h 290"/>
                <a:gd name="T6" fmla="*/ 160 w 178"/>
                <a:gd name="T7" fmla="*/ 140 h 290"/>
                <a:gd name="T8" fmla="*/ 160 w 178"/>
                <a:gd name="T9" fmla="*/ 0 h 290"/>
                <a:gd name="T10" fmla="*/ 178 w 178"/>
                <a:gd name="T11" fmla="*/ 0 h 290"/>
                <a:gd name="T12" fmla="*/ 178 w 178"/>
                <a:gd name="T13" fmla="*/ 158 h 290"/>
                <a:gd name="T14" fmla="*/ 18 w 178"/>
                <a:gd name="T15" fmla="*/ 158 h 290"/>
                <a:gd name="T16" fmla="*/ 18 w 178"/>
                <a:gd name="T17"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290">
                  <a:moveTo>
                    <a:pt x="18" y="290"/>
                  </a:moveTo>
                  <a:lnTo>
                    <a:pt x="0" y="290"/>
                  </a:lnTo>
                  <a:lnTo>
                    <a:pt x="0" y="140"/>
                  </a:lnTo>
                  <a:lnTo>
                    <a:pt x="160" y="140"/>
                  </a:lnTo>
                  <a:lnTo>
                    <a:pt x="160" y="0"/>
                  </a:lnTo>
                  <a:lnTo>
                    <a:pt x="178" y="0"/>
                  </a:lnTo>
                  <a:lnTo>
                    <a:pt x="178" y="158"/>
                  </a:lnTo>
                  <a:lnTo>
                    <a:pt x="18" y="158"/>
                  </a:lnTo>
                  <a:lnTo>
                    <a:pt x="18"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b="1" dirty="0">
                <a:solidFill>
                  <a:srgbClr val="000000"/>
                </a:solidFill>
                <a:latin typeface="EYInterstate Light" pitchFamily="2" charset="0"/>
                <a:ea typeface="+mn-ea"/>
                <a:cs typeface="+mn-cs"/>
              </a:endParaRPr>
            </a:p>
          </p:txBody>
        </p:sp>
        <p:sp>
          <p:nvSpPr>
            <p:cNvPr id="124" name="Freeform 13">
              <a:extLst>
                <a:ext uri="{FF2B5EF4-FFF2-40B4-BE49-F238E27FC236}">
                  <a16:creationId xmlns:a16="http://schemas.microsoft.com/office/drawing/2014/main" id="{5EA32E69-C947-41D2-AA92-C6DEBFDF4B57}"/>
                </a:ext>
              </a:extLst>
            </p:cNvPr>
            <p:cNvSpPr>
              <a:spLocks/>
            </p:cNvSpPr>
            <p:nvPr/>
          </p:nvSpPr>
          <p:spPr bwMode="auto">
            <a:xfrm>
              <a:off x="2255" y="1115"/>
              <a:ext cx="88" cy="56"/>
            </a:xfrm>
            <a:custGeom>
              <a:avLst/>
              <a:gdLst>
                <a:gd name="T0" fmla="*/ 74 w 88"/>
                <a:gd name="T1" fmla="*/ 56 h 56"/>
                <a:gd name="T2" fmla="*/ 44 w 88"/>
                <a:gd name="T3" fmla="*/ 26 h 56"/>
                <a:gd name="T4" fmla="*/ 14 w 88"/>
                <a:gd name="T5" fmla="*/ 56 h 56"/>
                <a:gd name="T6" fmla="*/ 0 w 88"/>
                <a:gd name="T7" fmla="*/ 44 h 56"/>
                <a:gd name="T8" fmla="*/ 44 w 88"/>
                <a:gd name="T9" fmla="*/ 0 h 56"/>
                <a:gd name="T10" fmla="*/ 88 w 88"/>
                <a:gd name="T11" fmla="*/ 44 h 56"/>
                <a:gd name="T12" fmla="*/ 74 w 8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8" h="56">
                  <a:moveTo>
                    <a:pt x="74" y="56"/>
                  </a:moveTo>
                  <a:lnTo>
                    <a:pt x="44" y="26"/>
                  </a:lnTo>
                  <a:lnTo>
                    <a:pt x="14" y="56"/>
                  </a:lnTo>
                  <a:lnTo>
                    <a:pt x="0" y="44"/>
                  </a:lnTo>
                  <a:lnTo>
                    <a:pt x="44" y="0"/>
                  </a:lnTo>
                  <a:lnTo>
                    <a:pt x="88" y="44"/>
                  </a:lnTo>
                  <a:lnTo>
                    <a:pt x="7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pPr defTabSz="829361" eaLnBrk="1" hangingPunct="1">
                <a:spcAft>
                  <a:spcPct val="50000"/>
                </a:spcAft>
                <a:buClr>
                  <a:srgbClr val="FFE600"/>
                </a:buClr>
                <a:buSzPct val="80000"/>
                <a:defRPr/>
              </a:pPr>
              <a:endParaRPr lang="en-US" sz="816" b="1" dirty="0">
                <a:solidFill>
                  <a:srgbClr val="000000"/>
                </a:solidFill>
                <a:latin typeface="EYInterstate Light" pitchFamily="2" charset="0"/>
                <a:ea typeface="+mn-ea"/>
                <a:cs typeface="+mn-cs"/>
              </a:endParaRPr>
            </a:p>
          </p:txBody>
        </p:sp>
      </p:grpSp>
      <p:sp>
        <p:nvSpPr>
          <p:cNvPr id="125" name="Rectangle 15">
            <a:extLst>
              <a:ext uri="{FF2B5EF4-FFF2-40B4-BE49-F238E27FC236}">
                <a16:creationId xmlns:a16="http://schemas.microsoft.com/office/drawing/2014/main" id="{AA30A934-8BD4-48DB-9857-26AC542BC242}"/>
              </a:ext>
            </a:extLst>
          </p:cNvPr>
          <p:cNvSpPr/>
          <p:nvPr/>
        </p:nvSpPr>
        <p:spPr>
          <a:xfrm>
            <a:off x="6559600" y="1308579"/>
            <a:ext cx="5422741" cy="4765518"/>
          </a:xfrm>
          <a:custGeom>
            <a:avLst/>
            <a:gdLst>
              <a:gd name="connsiteX0" fmla="*/ 0 w 5422741"/>
              <a:gd name="connsiteY0" fmla="*/ 0 h 4765518"/>
              <a:gd name="connsiteX1" fmla="*/ 650729 w 5422741"/>
              <a:gd name="connsiteY1" fmla="*/ 0 h 4765518"/>
              <a:gd name="connsiteX2" fmla="*/ 1247230 w 5422741"/>
              <a:gd name="connsiteY2" fmla="*/ 0 h 4765518"/>
              <a:gd name="connsiteX3" fmla="*/ 1897959 w 5422741"/>
              <a:gd name="connsiteY3" fmla="*/ 0 h 4765518"/>
              <a:gd name="connsiteX4" fmla="*/ 2548688 w 5422741"/>
              <a:gd name="connsiteY4" fmla="*/ 0 h 4765518"/>
              <a:gd name="connsiteX5" fmla="*/ 2982508 w 5422741"/>
              <a:gd name="connsiteY5" fmla="*/ 0 h 4765518"/>
              <a:gd name="connsiteX6" fmla="*/ 3579009 w 5422741"/>
              <a:gd name="connsiteY6" fmla="*/ 0 h 4765518"/>
              <a:gd name="connsiteX7" fmla="*/ 3958601 w 5422741"/>
              <a:gd name="connsiteY7" fmla="*/ 0 h 4765518"/>
              <a:gd name="connsiteX8" fmla="*/ 4609330 w 5422741"/>
              <a:gd name="connsiteY8" fmla="*/ 0 h 4765518"/>
              <a:gd name="connsiteX9" fmla="*/ 5422741 w 5422741"/>
              <a:gd name="connsiteY9" fmla="*/ 0 h 4765518"/>
              <a:gd name="connsiteX10" fmla="*/ 5422741 w 5422741"/>
              <a:gd name="connsiteY10" fmla="*/ 691000 h 4765518"/>
              <a:gd name="connsiteX11" fmla="*/ 5422741 w 5422741"/>
              <a:gd name="connsiteY11" fmla="*/ 1334345 h 4765518"/>
              <a:gd name="connsiteX12" fmla="*/ 5422741 w 5422741"/>
              <a:gd name="connsiteY12" fmla="*/ 1787069 h 4765518"/>
              <a:gd name="connsiteX13" fmla="*/ 5422741 w 5422741"/>
              <a:gd name="connsiteY13" fmla="*/ 2430414 h 4765518"/>
              <a:gd name="connsiteX14" fmla="*/ 5422741 w 5422741"/>
              <a:gd name="connsiteY14" fmla="*/ 2930794 h 4765518"/>
              <a:gd name="connsiteX15" fmla="*/ 5422741 w 5422741"/>
              <a:gd name="connsiteY15" fmla="*/ 3383518 h 4765518"/>
              <a:gd name="connsiteX16" fmla="*/ 5422741 w 5422741"/>
              <a:gd name="connsiteY16" fmla="*/ 4074518 h 4765518"/>
              <a:gd name="connsiteX17" fmla="*/ 5422741 w 5422741"/>
              <a:gd name="connsiteY17" fmla="*/ 4765518 h 4765518"/>
              <a:gd name="connsiteX18" fmla="*/ 4880467 w 5422741"/>
              <a:gd name="connsiteY18" fmla="*/ 4765518 h 4765518"/>
              <a:gd name="connsiteX19" fmla="*/ 4500875 w 5422741"/>
              <a:gd name="connsiteY19" fmla="*/ 4765518 h 4765518"/>
              <a:gd name="connsiteX20" fmla="*/ 4012828 w 5422741"/>
              <a:gd name="connsiteY20" fmla="*/ 4765518 h 4765518"/>
              <a:gd name="connsiteX21" fmla="*/ 3362099 w 5422741"/>
              <a:gd name="connsiteY21" fmla="*/ 4765518 h 4765518"/>
              <a:gd name="connsiteX22" fmla="*/ 2928280 w 5422741"/>
              <a:gd name="connsiteY22" fmla="*/ 4765518 h 4765518"/>
              <a:gd name="connsiteX23" fmla="*/ 2277551 w 5422741"/>
              <a:gd name="connsiteY23" fmla="*/ 4765518 h 4765518"/>
              <a:gd name="connsiteX24" fmla="*/ 1897959 w 5422741"/>
              <a:gd name="connsiteY24" fmla="*/ 4765518 h 4765518"/>
              <a:gd name="connsiteX25" fmla="*/ 1247230 w 5422741"/>
              <a:gd name="connsiteY25" fmla="*/ 4765518 h 4765518"/>
              <a:gd name="connsiteX26" fmla="*/ 704956 w 5422741"/>
              <a:gd name="connsiteY26" fmla="*/ 4765518 h 4765518"/>
              <a:gd name="connsiteX27" fmla="*/ 0 w 5422741"/>
              <a:gd name="connsiteY27" fmla="*/ 4765518 h 4765518"/>
              <a:gd name="connsiteX28" fmla="*/ 0 w 5422741"/>
              <a:gd name="connsiteY28" fmla="*/ 4217483 h 4765518"/>
              <a:gd name="connsiteX29" fmla="*/ 0 w 5422741"/>
              <a:gd name="connsiteY29" fmla="*/ 3764759 h 4765518"/>
              <a:gd name="connsiteX30" fmla="*/ 0 w 5422741"/>
              <a:gd name="connsiteY30" fmla="*/ 3216725 h 4765518"/>
              <a:gd name="connsiteX31" fmla="*/ 0 w 5422741"/>
              <a:gd name="connsiteY31" fmla="*/ 2573380 h 4765518"/>
              <a:gd name="connsiteX32" fmla="*/ 0 w 5422741"/>
              <a:gd name="connsiteY32" fmla="*/ 1882380 h 4765518"/>
              <a:gd name="connsiteX33" fmla="*/ 0 w 5422741"/>
              <a:gd name="connsiteY33" fmla="*/ 1429655 h 4765518"/>
              <a:gd name="connsiteX34" fmla="*/ 0 w 5422741"/>
              <a:gd name="connsiteY34" fmla="*/ 833966 h 4765518"/>
              <a:gd name="connsiteX35" fmla="*/ 0 w 5422741"/>
              <a:gd name="connsiteY35" fmla="*/ 0 h 476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422741" h="4765518" extrusionOk="0">
                <a:moveTo>
                  <a:pt x="0" y="0"/>
                </a:moveTo>
                <a:cubicBezTo>
                  <a:pt x="157198" y="-25379"/>
                  <a:pt x="426257" y="51047"/>
                  <a:pt x="650729" y="0"/>
                </a:cubicBezTo>
                <a:cubicBezTo>
                  <a:pt x="875201" y="-51047"/>
                  <a:pt x="1067296" y="65678"/>
                  <a:pt x="1247230" y="0"/>
                </a:cubicBezTo>
                <a:cubicBezTo>
                  <a:pt x="1427164" y="-65678"/>
                  <a:pt x="1624041" y="22194"/>
                  <a:pt x="1897959" y="0"/>
                </a:cubicBezTo>
                <a:cubicBezTo>
                  <a:pt x="2171877" y="-22194"/>
                  <a:pt x="2360577" y="68713"/>
                  <a:pt x="2548688" y="0"/>
                </a:cubicBezTo>
                <a:cubicBezTo>
                  <a:pt x="2736799" y="-68713"/>
                  <a:pt x="2890953" y="51760"/>
                  <a:pt x="2982508" y="0"/>
                </a:cubicBezTo>
                <a:cubicBezTo>
                  <a:pt x="3074063" y="-51760"/>
                  <a:pt x="3421138" y="24165"/>
                  <a:pt x="3579009" y="0"/>
                </a:cubicBezTo>
                <a:cubicBezTo>
                  <a:pt x="3736880" y="-24165"/>
                  <a:pt x="3774694" y="10220"/>
                  <a:pt x="3958601" y="0"/>
                </a:cubicBezTo>
                <a:cubicBezTo>
                  <a:pt x="4142508" y="-10220"/>
                  <a:pt x="4298148" y="10885"/>
                  <a:pt x="4609330" y="0"/>
                </a:cubicBezTo>
                <a:cubicBezTo>
                  <a:pt x="4920512" y="-10885"/>
                  <a:pt x="5178258" y="36291"/>
                  <a:pt x="5422741" y="0"/>
                </a:cubicBezTo>
                <a:cubicBezTo>
                  <a:pt x="5423160" y="220397"/>
                  <a:pt x="5365390" y="445761"/>
                  <a:pt x="5422741" y="691000"/>
                </a:cubicBezTo>
                <a:cubicBezTo>
                  <a:pt x="5480092" y="936239"/>
                  <a:pt x="5395397" y="1134396"/>
                  <a:pt x="5422741" y="1334345"/>
                </a:cubicBezTo>
                <a:cubicBezTo>
                  <a:pt x="5450085" y="1534294"/>
                  <a:pt x="5372774" y="1646877"/>
                  <a:pt x="5422741" y="1787069"/>
                </a:cubicBezTo>
                <a:cubicBezTo>
                  <a:pt x="5472708" y="1927261"/>
                  <a:pt x="5398748" y="2113527"/>
                  <a:pt x="5422741" y="2430414"/>
                </a:cubicBezTo>
                <a:cubicBezTo>
                  <a:pt x="5446734" y="2747302"/>
                  <a:pt x="5385833" y="2752729"/>
                  <a:pt x="5422741" y="2930794"/>
                </a:cubicBezTo>
                <a:cubicBezTo>
                  <a:pt x="5459649" y="3108859"/>
                  <a:pt x="5369284" y="3215747"/>
                  <a:pt x="5422741" y="3383518"/>
                </a:cubicBezTo>
                <a:cubicBezTo>
                  <a:pt x="5476198" y="3551289"/>
                  <a:pt x="5418874" y="3734758"/>
                  <a:pt x="5422741" y="4074518"/>
                </a:cubicBezTo>
                <a:cubicBezTo>
                  <a:pt x="5426608" y="4414278"/>
                  <a:pt x="5351069" y="4570955"/>
                  <a:pt x="5422741" y="4765518"/>
                </a:cubicBezTo>
                <a:cubicBezTo>
                  <a:pt x="5161627" y="4811806"/>
                  <a:pt x="5077108" y="4738551"/>
                  <a:pt x="4880467" y="4765518"/>
                </a:cubicBezTo>
                <a:cubicBezTo>
                  <a:pt x="4683826" y="4792485"/>
                  <a:pt x="4619044" y="4725312"/>
                  <a:pt x="4500875" y="4765518"/>
                </a:cubicBezTo>
                <a:cubicBezTo>
                  <a:pt x="4382706" y="4805724"/>
                  <a:pt x="4226630" y="4756691"/>
                  <a:pt x="4012828" y="4765518"/>
                </a:cubicBezTo>
                <a:cubicBezTo>
                  <a:pt x="3799026" y="4774345"/>
                  <a:pt x="3556718" y="4706566"/>
                  <a:pt x="3362099" y="4765518"/>
                </a:cubicBezTo>
                <a:cubicBezTo>
                  <a:pt x="3167480" y="4824470"/>
                  <a:pt x="3122335" y="4744876"/>
                  <a:pt x="2928280" y="4765518"/>
                </a:cubicBezTo>
                <a:cubicBezTo>
                  <a:pt x="2734225" y="4786160"/>
                  <a:pt x="2482326" y="4744036"/>
                  <a:pt x="2277551" y="4765518"/>
                </a:cubicBezTo>
                <a:cubicBezTo>
                  <a:pt x="2072776" y="4787000"/>
                  <a:pt x="2085003" y="4721053"/>
                  <a:pt x="1897959" y="4765518"/>
                </a:cubicBezTo>
                <a:cubicBezTo>
                  <a:pt x="1710915" y="4809983"/>
                  <a:pt x="1388179" y="4688179"/>
                  <a:pt x="1247230" y="4765518"/>
                </a:cubicBezTo>
                <a:cubicBezTo>
                  <a:pt x="1106281" y="4842857"/>
                  <a:pt x="887174" y="4740300"/>
                  <a:pt x="704956" y="4765518"/>
                </a:cubicBezTo>
                <a:cubicBezTo>
                  <a:pt x="522738" y="4790736"/>
                  <a:pt x="284384" y="4681597"/>
                  <a:pt x="0" y="4765518"/>
                </a:cubicBezTo>
                <a:cubicBezTo>
                  <a:pt x="-27104" y="4646423"/>
                  <a:pt x="6209" y="4424703"/>
                  <a:pt x="0" y="4217483"/>
                </a:cubicBezTo>
                <a:cubicBezTo>
                  <a:pt x="-6209" y="4010263"/>
                  <a:pt x="2186" y="3934407"/>
                  <a:pt x="0" y="3764759"/>
                </a:cubicBezTo>
                <a:cubicBezTo>
                  <a:pt x="-2186" y="3595111"/>
                  <a:pt x="26475" y="3334621"/>
                  <a:pt x="0" y="3216725"/>
                </a:cubicBezTo>
                <a:cubicBezTo>
                  <a:pt x="-26475" y="3098829"/>
                  <a:pt x="69609" y="2727282"/>
                  <a:pt x="0" y="2573380"/>
                </a:cubicBezTo>
                <a:cubicBezTo>
                  <a:pt x="-69609" y="2419478"/>
                  <a:pt x="70364" y="2088724"/>
                  <a:pt x="0" y="1882380"/>
                </a:cubicBezTo>
                <a:cubicBezTo>
                  <a:pt x="-70364" y="1676036"/>
                  <a:pt x="51915" y="1655357"/>
                  <a:pt x="0" y="1429655"/>
                </a:cubicBezTo>
                <a:cubicBezTo>
                  <a:pt x="-51915" y="1203953"/>
                  <a:pt x="53688" y="953446"/>
                  <a:pt x="0" y="833966"/>
                </a:cubicBezTo>
                <a:cubicBezTo>
                  <a:pt x="-53688" y="714486"/>
                  <a:pt x="34877" y="391885"/>
                  <a:pt x="0" y="0"/>
                </a:cubicBezTo>
                <a:close/>
              </a:path>
            </a:pathLst>
          </a:custGeom>
          <a:noFill/>
          <a:ln w="19050">
            <a:solidFill>
              <a:schemeClr val="accent5"/>
            </a:solidFill>
            <a:prstDash val="sysDash"/>
            <a:extLst>
              <a:ext uri="{C807C97D-BFC1-408E-A445-0C87EB9F89A2}">
                <ask:lineSketchStyleProps xmlns:ask="http://schemas.microsoft.com/office/drawing/2018/sketchyshapes" sd="2272932538">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9361" eaLnBrk="1" hangingPunct="1">
              <a:spcAft>
                <a:spcPct val="50000"/>
              </a:spcAft>
              <a:buClr>
                <a:srgbClr val="FFE600"/>
              </a:buClr>
              <a:buSzPct val="80000"/>
            </a:pPr>
            <a:endParaRPr lang="en-US" sz="1088" dirty="0">
              <a:solidFill>
                <a:srgbClr val="000000"/>
              </a:solidFill>
              <a:latin typeface="EYInterstate"/>
            </a:endParaRPr>
          </a:p>
        </p:txBody>
      </p:sp>
      <p:sp>
        <p:nvSpPr>
          <p:cNvPr id="126" name="Rectangle 125">
            <a:extLst>
              <a:ext uri="{FF2B5EF4-FFF2-40B4-BE49-F238E27FC236}">
                <a16:creationId xmlns:a16="http://schemas.microsoft.com/office/drawing/2014/main" id="{EF84A8FB-F596-4A99-9A5A-7F3D28792D97}"/>
              </a:ext>
            </a:extLst>
          </p:cNvPr>
          <p:cNvSpPr/>
          <p:nvPr/>
        </p:nvSpPr>
        <p:spPr>
          <a:xfrm>
            <a:off x="6559599" y="951161"/>
            <a:ext cx="1726306" cy="315599"/>
          </a:xfrm>
          <a:prstGeom prst="rect">
            <a:avLst/>
          </a:prstGeom>
        </p:spPr>
        <p:txBody>
          <a:bodyPr wrap="none">
            <a:spAutoFit/>
          </a:bodyPr>
          <a:lstStyle/>
          <a:p>
            <a:pPr defTabSz="829361" eaLnBrk="1" fontAlgn="auto" hangingPunct="1">
              <a:spcAft>
                <a:spcPts val="0"/>
              </a:spcAft>
              <a:buClr>
                <a:srgbClr val="000000"/>
              </a:buClr>
              <a:buSzPct val="80000"/>
              <a:defRPr/>
            </a:pPr>
            <a:r>
              <a:rPr lang="en-US" sz="1451" dirty="0">
                <a:solidFill>
                  <a:srgbClr val="00A3AE"/>
                </a:solidFill>
                <a:latin typeface="EYInterstate"/>
                <a:ea typeface="+mn-ea"/>
                <a:cs typeface="+mn-cs"/>
              </a:rPr>
              <a:t>Your specific asks</a:t>
            </a:r>
          </a:p>
        </p:txBody>
      </p:sp>
      <p:pic>
        <p:nvPicPr>
          <p:cNvPr id="104" name="Picture 103">
            <a:extLst>
              <a:ext uri="{FF2B5EF4-FFF2-40B4-BE49-F238E27FC236}">
                <a16:creationId xmlns:a16="http://schemas.microsoft.com/office/drawing/2014/main" id="{8C8FC2F1-8086-4C3F-A1C9-71E28CB6CA42}"/>
              </a:ext>
            </a:extLst>
          </p:cNvPr>
          <p:cNvPicPr>
            <a:picLocks noChangeAspect="1"/>
          </p:cNvPicPr>
          <p:nvPr/>
        </p:nvPicPr>
        <p:blipFill>
          <a:blip r:embed="rId11"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866936" y="3171244"/>
            <a:ext cx="349133" cy="349133"/>
          </a:xfrm>
          <a:prstGeom prst="rect">
            <a:avLst/>
          </a:prstGeom>
        </p:spPr>
      </p:pic>
      <p:pic>
        <p:nvPicPr>
          <p:cNvPr id="105" name="Picture 104">
            <a:extLst>
              <a:ext uri="{FF2B5EF4-FFF2-40B4-BE49-F238E27FC236}">
                <a16:creationId xmlns:a16="http://schemas.microsoft.com/office/drawing/2014/main" id="{C35936D7-88B3-4A30-A6AA-48C90B03582E}"/>
              </a:ext>
            </a:extLst>
          </p:cNvPr>
          <p:cNvPicPr>
            <a:picLocks noChangeAspect="1"/>
          </p:cNvPicPr>
          <p:nvPr/>
        </p:nvPicPr>
        <p:blipFill>
          <a:blip r:embed="rId12"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811921" y="4752061"/>
            <a:ext cx="366329" cy="366329"/>
          </a:xfrm>
          <a:prstGeom prst="rect">
            <a:avLst/>
          </a:prstGeom>
        </p:spPr>
      </p:pic>
      <p:pic>
        <p:nvPicPr>
          <p:cNvPr id="106" name="Picture 105">
            <a:extLst>
              <a:ext uri="{FF2B5EF4-FFF2-40B4-BE49-F238E27FC236}">
                <a16:creationId xmlns:a16="http://schemas.microsoft.com/office/drawing/2014/main" id="{9E4C8BFA-CDB6-4009-A311-F6DDC4BED5B7}"/>
              </a:ext>
            </a:extLst>
          </p:cNvPr>
          <p:cNvPicPr>
            <a:picLocks noChangeAspect="1"/>
          </p:cNvPicPr>
          <p:nvPr/>
        </p:nvPicPr>
        <p:blipFill>
          <a:blip r:embed="rId1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18864" y="4203303"/>
            <a:ext cx="447666" cy="447666"/>
          </a:xfrm>
          <a:prstGeom prst="rect">
            <a:avLst/>
          </a:prstGeom>
        </p:spPr>
      </p:pic>
      <p:pic>
        <p:nvPicPr>
          <p:cNvPr id="107" name="Picture 106">
            <a:extLst>
              <a:ext uri="{FF2B5EF4-FFF2-40B4-BE49-F238E27FC236}">
                <a16:creationId xmlns:a16="http://schemas.microsoft.com/office/drawing/2014/main" id="{837BD93A-AB32-49F7-A20D-81C94E516A7F}"/>
              </a:ext>
            </a:extLst>
          </p:cNvPr>
          <p:cNvPicPr>
            <a:picLocks noChangeAspect="1"/>
          </p:cNvPicPr>
          <p:nvPr/>
        </p:nvPicPr>
        <p:blipFill>
          <a:blip r:embed="rId1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00318" y="4847416"/>
            <a:ext cx="467596" cy="467596"/>
          </a:xfrm>
          <a:prstGeom prst="rect">
            <a:avLst/>
          </a:prstGeom>
        </p:spPr>
      </p:pic>
      <p:pic>
        <p:nvPicPr>
          <p:cNvPr id="108" name="Picture 107">
            <a:extLst>
              <a:ext uri="{FF2B5EF4-FFF2-40B4-BE49-F238E27FC236}">
                <a16:creationId xmlns:a16="http://schemas.microsoft.com/office/drawing/2014/main" id="{66774831-FA32-4EBC-A6AA-3BC5DDDDCE9F}"/>
              </a:ext>
            </a:extLst>
          </p:cNvPr>
          <p:cNvPicPr>
            <a:picLocks noChangeAspect="1"/>
          </p:cNvPicPr>
          <p:nvPr/>
        </p:nvPicPr>
        <p:blipFill>
          <a:blip r:embed="rId1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19674" y="5490916"/>
            <a:ext cx="415587" cy="415587"/>
          </a:xfrm>
          <a:prstGeom prst="rect">
            <a:avLst/>
          </a:prstGeom>
        </p:spPr>
      </p:pic>
      <p:pic>
        <p:nvPicPr>
          <p:cNvPr id="109" name="Picture 108">
            <a:extLst>
              <a:ext uri="{FF2B5EF4-FFF2-40B4-BE49-F238E27FC236}">
                <a16:creationId xmlns:a16="http://schemas.microsoft.com/office/drawing/2014/main" id="{58B8FAC6-9E74-4417-A31D-2E81136C0BB9}"/>
              </a:ext>
            </a:extLst>
          </p:cNvPr>
          <p:cNvPicPr>
            <a:picLocks noChangeAspect="1"/>
          </p:cNvPicPr>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773190" y="5345140"/>
            <a:ext cx="472313" cy="472313"/>
          </a:xfrm>
          <a:prstGeom prst="rect">
            <a:avLst/>
          </a:prstGeom>
        </p:spPr>
      </p:pic>
    </p:spTree>
    <p:extLst>
      <p:ext uri="{BB962C8B-B14F-4D97-AF65-F5344CB8AC3E}">
        <p14:creationId xmlns:p14="http://schemas.microsoft.com/office/powerpoint/2010/main" val="34280408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76489"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361"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a:t>Case Study 1: Enterprise Data Warehouse Migration and Cloud Based Data and Analytics Platform for AIA HK</a:t>
            </a:r>
          </a:p>
        </p:txBody>
      </p:sp>
      <p:grpSp>
        <p:nvGrpSpPr>
          <p:cNvPr id="10" name="Group 9">
            <a:extLst>
              <a:ext uri="{FF2B5EF4-FFF2-40B4-BE49-F238E27FC236}">
                <a16:creationId xmlns:a16="http://schemas.microsoft.com/office/drawing/2014/main" id="{7C6AF280-80C9-452F-A64E-7EA9A2AE31DD}"/>
              </a:ext>
            </a:extLst>
          </p:cNvPr>
          <p:cNvGrpSpPr/>
          <p:nvPr/>
        </p:nvGrpSpPr>
        <p:grpSpPr>
          <a:xfrm>
            <a:off x="4131597" y="1202562"/>
            <a:ext cx="7417771" cy="179867"/>
            <a:chOff x="4552129" y="1390071"/>
            <a:chExt cx="8178436" cy="198312"/>
          </a:xfrm>
        </p:grpSpPr>
        <p:cxnSp>
          <p:nvCxnSpPr>
            <p:cNvPr id="109" name="Straight Connector 108">
              <a:extLst>
                <a:ext uri="{FF2B5EF4-FFF2-40B4-BE49-F238E27FC236}">
                  <a16:creationId xmlns:a16="http://schemas.microsoft.com/office/drawing/2014/main" id="{492FBBDE-0EED-4F0B-8761-B6F3C369BF61}"/>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110" name="Rectangle 109">
              <a:extLst>
                <a:ext uri="{FF2B5EF4-FFF2-40B4-BE49-F238E27FC236}">
                  <a16:creationId xmlns:a16="http://schemas.microsoft.com/office/drawing/2014/main" id="{93360ED6-8BFF-4EE2-BFCD-90C778987CA4}"/>
                </a:ext>
              </a:extLst>
            </p:cNvPr>
            <p:cNvSpPr>
              <a:spLocks/>
            </p:cNvSpPr>
            <p:nvPr/>
          </p:nvSpPr>
          <p:spPr>
            <a:xfrm>
              <a:off x="4552129" y="1390071"/>
              <a:ext cx="6799759" cy="169669"/>
            </a:xfrm>
            <a:prstGeom prst="rect">
              <a:avLst/>
            </a:prstGeom>
          </p:spPr>
          <p:txBody>
            <a:bodyPr wrap="square" lIns="0" tIns="0" rIns="0" bIns="0">
              <a:spAutoFit/>
            </a:bodyPr>
            <a:lstStyle/>
            <a:p>
              <a:pPr defTabSz="829361" eaLnBrk="1" hangingPunct="1">
                <a:spcAft>
                  <a:spcPts val="600"/>
                </a:spcAft>
                <a:buClr>
                  <a:srgbClr val="FFE600"/>
                </a:buClr>
                <a:buSzPct val="80000"/>
              </a:pPr>
              <a:r>
                <a:rPr lang="en-US" sz="1000" b="1" kern="0">
                  <a:solidFill>
                    <a:srgbClr val="006BAF"/>
                  </a:solidFill>
                  <a:latin typeface="EYInterstate"/>
                  <a:ea typeface="+mn-ea"/>
                  <a:cs typeface="Arial" panose="020B0604020202020204" pitchFamily="34" charset="0"/>
                </a:rPr>
                <a:t>Challenge</a:t>
              </a:r>
            </a:p>
          </p:txBody>
        </p:sp>
      </p:grpSp>
      <p:grpSp>
        <p:nvGrpSpPr>
          <p:cNvPr id="11" name="Group 10">
            <a:extLst>
              <a:ext uri="{FF2B5EF4-FFF2-40B4-BE49-F238E27FC236}">
                <a16:creationId xmlns:a16="http://schemas.microsoft.com/office/drawing/2014/main" id="{9DF01959-A6D6-4940-A6F9-89C5ED931228}"/>
              </a:ext>
            </a:extLst>
          </p:cNvPr>
          <p:cNvGrpSpPr/>
          <p:nvPr/>
        </p:nvGrpSpPr>
        <p:grpSpPr>
          <a:xfrm>
            <a:off x="4131597" y="2604827"/>
            <a:ext cx="7387305" cy="18145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668"/>
            </a:xfrm>
            <a:prstGeom prst="rect">
              <a:avLst/>
            </a:prstGeom>
          </p:spPr>
          <p:txBody>
            <a:bodyPr wrap="square" lIns="0" tIns="0" rIns="0" bIns="0">
              <a:spAutoFit/>
            </a:bodyPr>
            <a:lstStyle/>
            <a:p>
              <a:pPr defTabSz="829361" eaLnBrk="1" hangingPunct="1">
                <a:spcAft>
                  <a:spcPts val="600"/>
                </a:spcAft>
                <a:buClr>
                  <a:srgbClr val="FFE600"/>
                </a:buClr>
                <a:buSzPct val="80000"/>
              </a:pPr>
              <a:r>
                <a:rPr lang="en-US" sz="1000" b="1" kern="0">
                  <a:solidFill>
                    <a:srgbClr val="006BAF"/>
                  </a:solidFill>
                  <a:latin typeface="EYInterstate"/>
                  <a:ea typeface="+mn-ea"/>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597" y="5021641"/>
            <a:ext cx="7326374" cy="19472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668"/>
            </a:xfrm>
            <a:prstGeom prst="rect">
              <a:avLst/>
            </a:prstGeom>
          </p:spPr>
          <p:txBody>
            <a:bodyPr wrap="square" lIns="0" tIns="0" rIns="0" bIns="0">
              <a:spAutoFit/>
            </a:bodyPr>
            <a:lstStyle/>
            <a:p>
              <a:pPr defTabSz="829361" eaLnBrk="1" hangingPunct="1">
                <a:spcAft>
                  <a:spcPts val="600"/>
                </a:spcAft>
                <a:buClr>
                  <a:srgbClr val="FFE600"/>
                </a:buClr>
                <a:buSzPct val="80000"/>
              </a:pPr>
              <a:r>
                <a:rPr lang="en-IN" sz="1000" b="1" kern="0">
                  <a:solidFill>
                    <a:srgbClr val="006BAF"/>
                  </a:solidFill>
                  <a:latin typeface="EYInterstate"/>
                  <a:ea typeface="+mn-ea"/>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597" y="1443075"/>
            <a:ext cx="7387304" cy="1075294"/>
          </a:xfrm>
          <a:prstGeom prst="rect">
            <a:avLst/>
          </a:prstGeom>
          <a:noFill/>
        </p:spPr>
        <p:txBody>
          <a:bodyPr wrap="square" lIns="0" tIns="0" rIns="0" bIns="0" rtlCol="0">
            <a:spAutoFit/>
          </a:bodyPr>
          <a:lstStyle/>
          <a:p>
            <a:pPr marL="177714" indent="-177714" defTabSz="829361" eaLnBrk="1" hangingPunct="1">
              <a:spcAft>
                <a:spcPts val="600"/>
              </a:spcAft>
              <a:buClr>
                <a:srgbClr val="FFD503"/>
              </a:buClr>
              <a:buSzPct val="70000"/>
              <a:buFont typeface="Arial" pitchFamily="34" charset="0"/>
              <a:buChar char="►"/>
              <a:defRPr/>
            </a:pPr>
            <a:r>
              <a:rPr lang="en-US" sz="998">
                <a:solidFill>
                  <a:srgbClr val="000000"/>
                </a:solidFill>
                <a:latin typeface="EYInterstate Light" pitchFamily="2" charset="0"/>
                <a:ea typeface="EYInterstate" charset="0"/>
                <a:cs typeface="Arial" panose="020B0604020202020204" pitchFamily="34" charset="0"/>
              </a:rPr>
              <a:t>In line with the group’s broader Group Cloud strategy, AIA HK team was seeking to migrate their current on-premise data warehouse to an on cloud solution. </a:t>
            </a:r>
          </a:p>
          <a:p>
            <a:pPr marL="177714" indent="-177714" defTabSz="829361" eaLnBrk="1" hangingPunct="1">
              <a:spcAft>
                <a:spcPts val="600"/>
              </a:spcAft>
              <a:buClr>
                <a:srgbClr val="FFD503"/>
              </a:buClr>
              <a:buSzPct val="70000"/>
              <a:buFont typeface="Arial" pitchFamily="34" charset="0"/>
              <a:buChar char="►"/>
              <a:defRPr/>
            </a:pPr>
            <a:r>
              <a:rPr lang="en-US" sz="998">
                <a:solidFill>
                  <a:srgbClr val="000000"/>
                </a:solidFill>
                <a:latin typeface="EYInterstate Light" pitchFamily="2" charset="0"/>
                <a:ea typeface="EYInterstate" charset="0"/>
                <a:cs typeface="Arial" panose="020B0604020202020204" pitchFamily="34" charset="0"/>
              </a:rPr>
              <a:t>The existing on-premise solution was made up of multiple disparate data sources with hundreds of source system tables which fed downstream applications used for operational business and reporting purposes. </a:t>
            </a:r>
          </a:p>
          <a:p>
            <a:pPr marL="177714" indent="-177714" defTabSz="829361" eaLnBrk="1" hangingPunct="1">
              <a:spcAft>
                <a:spcPts val="600"/>
              </a:spcAft>
              <a:buClr>
                <a:srgbClr val="FFD503"/>
              </a:buClr>
              <a:buSzPct val="70000"/>
              <a:buFont typeface="Arial" pitchFamily="34" charset="0"/>
              <a:buChar char="►"/>
              <a:defRPr/>
            </a:pPr>
            <a:r>
              <a:rPr lang="en-US" sz="998">
                <a:solidFill>
                  <a:srgbClr val="000000"/>
                </a:solidFill>
                <a:latin typeface="EYInterstate Light" pitchFamily="2" charset="0"/>
                <a:ea typeface="EYInterstate" charset="0"/>
                <a:cs typeface="Arial" panose="020B0604020202020204" pitchFamily="34" charset="0"/>
              </a:rPr>
              <a:t>The main challenge faced by the client was to securely migrate all data onto the new platform on Azure within 18 months in order to minimize the time required to run two systems concurrently. </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597" y="2858320"/>
            <a:ext cx="7326373" cy="2265685"/>
          </a:xfrm>
          <a:prstGeom prst="rect">
            <a:avLst/>
          </a:prstGeom>
          <a:noFill/>
        </p:spPr>
        <p:txBody>
          <a:bodyPr wrap="square" lIns="0" tIns="0" rIns="0" bIns="0" rtlCol="0">
            <a:spAutoFit/>
          </a:bodyPr>
          <a:lstStyle/>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mn-ea"/>
                <a:cs typeface="Arial" panose="020B0604020202020204" pitchFamily="34" charset="0"/>
              </a:rPr>
              <a:t>Conducted a modernization assessment to understand the as-is architecture, integration interdependencies, risk and compliance/regulatory factors, business criticality and business use of the application. </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mn-ea"/>
                <a:cs typeface="Arial" panose="020B0604020202020204" pitchFamily="34" charset="0"/>
              </a:rPr>
              <a:t>The application modernization assessment produced a target state Azure based Enterprise Data Platform architecture that was used to build and migrate the existing platform architecture within 12 weeks. EY cloud migration accelerators were used to expedite the migration of the base tables.</a:t>
            </a:r>
          </a:p>
          <a:p>
            <a:pPr marL="592032" lvl="1" indent="-177714" defTabSz="829361" eaLnBrk="1" hangingPunct="1">
              <a:spcAft>
                <a:spcPts val="300"/>
              </a:spcAft>
              <a:buClr>
                <a:srgbClr val="FFD503"/>
              </a:buClr>
              <a:buSzPct val="70000"/>
              <a:buFont typeface="Wingdings" panose="05000000000000000000" pitchFamily="2" charset="2"/>
              <a:buChar char="v"/>
              <a:defRPr/>
            </a:pPr>
            <a:r>
              <a:rPr lang="en-US" altLang="zh-TW" sz="998">
                <a:solidFill>
                  <a:srgbClr val="000000"/>
                </a:solidFill>
                <a:latin typeface="EYInterstate Light" pitchFamily="2" charset="0"/>
                <a:ea typeface="+mn-ea"/>
                <a:cs typeface="Arial" panose="020B0604020202020204" pitchFamily="34" charset="0"/>
              </a:rPr>
              <a:t>Informatica BDM was used to transform thousands of lines of PL/SQL from multiple source systems into a Data Lake built using Azure blob storage</a:t>
            </a:r>
          </a:p>
          <a:p>
            <a:pPr marL="592032" lvl="1" indent="-177714" defTabSz="829361" eaLnBrk="1" hangingPunct="1">
              <a:spcAft>
                <a:spcPts val="300"/>
              </a:spcAft>
              <a:buClr>
                <a:srgbClr val="FFD503"/>
              </a:buClr>
              <a:buSzPct val="70000"/>
              <a:buFont typeface="Wingdings" panose="05000000000000000000" pitchFamily="2" charset="2"/>
              <a:buChar char="v"/>
              <a:defRPr/>
            </a:pPr>
            <a:r>
              <a:rPr lang="en-US" altLang="zh-TW" sz="998">
                <a:solidFill>
                  <a:srgbClr val="000000"/>
                </a:solidFill>
                <a:latin typeface="EYInterstate Light" pitchFamily="2" charset="0"/>
                <a:ea typeface="+mn-ea"/>
                <a:cs typeface="Arial" panose="020B0604020202020204" pitchFamily="34" charset="0"/>
              </a:rPr>
              <a:t>Azure Blob Storage Data Lake was used to feed an MS SQL database which integrated data from multiple source systems into a single view of customer database which was used to feed Dynamics 365</a:t>
            </a:r>
          </a:p>
          <a:p>
            <a:pPr marL="592032" lvl="1" indent="-177714" defTabSz="829361" eaLnBrk="1" hangingPunct="1">
              <a:spcAft>
                <a:spcPts val="300"/>
              </a:spcAft>
              <a:buClr>
                <a:srgbClr val="FFD503"/>
              </a:buClr>
              <a:buSzPct val="70000"/>
              <a:buFont typeface="Wingdings" panose="05000000000000000000" pitchFamily="2" charset="2"/>
              <a:buChar char="v"/>
              <a:defRPr/>
            </a:pPr>
            <a:r>
              <a:rPr lang="en-US" altLang="zh-TW" sz="998">
                <a:solidFill>
                  <a:srgbClr val="000000"/>
                </a:solidFill>
                <a:latin typeface="EYInterstate Light" pitchFamily="2" charset="0"/>
                <a:ea typeface="+mn-ea"/>
                <a:cs typeface="Arial" panose="020B0604020202020204" pitchFamily="34" charset="0"/>
              </a:rPr>
              <a:t>DevOps and DevSecOps pipelines were built to facilitate CI:CD and secure code assessment</a:t>
            </a:r>
          </a:p>
          <a:p>
            <a:pPr marL="592032" lvl="1" indent="-177714" defTabSz="829361" eaLnBrk="1" hangingPunct="1">
              <a:spcAft>
                <a:spcPts val="300"/>
              </a:spcAft>
              <a:buClr>
                <a:srgbClr val="FFD503"/>
              </a:buClr>
              <a:buSzPct val="70000"/>
              <a:buFont typeface="Wingdings" panose="05000000000000000000" pitchFamily="2" charset="2"/>
              <a:buChar char="v"/>
              <a:defRPr/>
            </a:pPr>
            <a:r>
              <a:rPr lang="en-US" altLang="zh-TW" sz="998">
                <a:solidFill>
                  <a:srgbClr val="000000"/>
                </a:solidFill>
                <a:latin typeface="EYInterstate Light" pitchFamily="2" charset="0"/>
                <a:ea typeface="+mn-ea"/>
                <a:cs typeface="Arial" panose="020B0604020202020204" pitchFamily="34" charset="0"/>
              </a:rPr>
              <a:t>A reusable secure Cloud Data Tokenization framework was developed to tokenize PII and PCI-DSS data</a:t>
            </a:r>
          </a:p>
          <a:p>
            <a:pPr marL="592032" lvl="1" indent="-177714" defTabSz="829361" eaLnBrk="1" hangingPunct="1">
              <a:spcAft>
                <a:spcPts val="300"/>
              </a:spcAft>
              <a:buClr>
                <a:srgbClr val="FFD503"/>
              </a:buClr>
              <a:buSzPct val="70000"/>
              <a:buFont typeface="Wingdings" panose="05000000000000000000" pitchFamily="2" charset="2"/>
              <a:buChar char="v"/>
              <a:defRPr/>
            </a:pPr>
            <a:r>
              <a:rPr lang="en-US" altLang="zh-TW" sz="998">
                <a:solidFill>
                  <a:srgbClr val="000000"/>
                </a:solidFill>
                <a:latin typeface="EYInterstate Light" pitchFamily="2" charset="0"/>
                <a:ea typeface="+mn-ea"/>
                <a:cs typeface="Arial" panose="020B0604020202020204" pitchFamily="34" charset="0"/>
              </a:rPr>
              <a:t>Azure Key Vault was used for storage of shared secrets and system credentials</a:t>
            </a:r>
          </a:p>
          <a:p>
            <a:pPr marL="177714" indent="-177714" defTabSz="829361" eaLnBrk="1" hangingPunct="1">
              <a:spcAft>
                <a:spcPts val="300"/>
              </a:spcAft>
              <a:buClr>
                <a:srgbClr val="FFD503"/>
              </a:buClr>
              <a:buSzPct val="70000"/>
              <a:buFont typeface="Arial" pitchFamily="34" charset="0"/>
              <a:buChar char="►"/>
              <a:defRPr/>
            </a:pPr>
            <a:endParaRPr lang="en-US" altLang="zh-TW" sz="998">
              <a:solidFill>
                <a:srgbClr val="000000"/>
              </a:solidFill>
              <a:latin typeface="EYInterstate Light" pitchFamily="2" charset="0"/>
              <a:ea typeface="+mn-ea"/>
              <a:cs typeface="Arial" panose="020B0604020202020204" pitchFamily="34" charset="0"/>
            </a:endParaRP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597" y="5252376"/>
            <a:ext cx="7326373" cy="1036822"/>
          </a:xfrm>
          <a:prstGeom prst="rect">
            <a:avLst/>
          </a:prstGeom>
          <a:noFill/>
        </p:spPr>
        <p:txBody>
          <a:bodyPr wrap="square" lIns="0" tIns="0" rIns="0" bIns="0" rtlCol="0">
            <a:spAutoFit/>
          </a:bodyPr>
          <a:lstStyle/>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新細明體" panose="02020500000000000000" pitchFamily="18" charset="-120"/>
                <a:cs typeface="+mn-cs"/>
              </a:rPr>
              <a:t>Development of a fully modernized secure cloud data platform within 12 weeks which enabled early demonstration of the value of the platform investment and ability to execute the full migration within target timeframes. </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新細明體" panose="02020500000000000000" pitchFamily="18" charset="-120"/>
                <a:cs typeface="+mn-cs"/>
              </a:rPr>
              <a:t>Alignment to the group’s ‘cloud first’ strategy with the use of Azure to host the analytics platform</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新細明體" panose="02020500000000000000" pitchFamily="18" charset="-120"/>
                <a:cs typeface="+mn-cs"/>
              </a:rPr>
              <a:t>Delivery of a DevOps and Secure DevOps framework to allow fast releases and secure code assessment</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新細明體" panose="02020500000000000000" pitchFamily="18" charset="-120"/>
                <a:cs typeface="+mn-cs"/>
              </a:rPr>
              <a:t>Delivery of cloud data migration accelerators using Informatica BDM dynamic mapping framework that allowed for fast migration of large amounts of data at scale</a:t>
            </a:r>
          </a:p>
        </p:txBody>
      </p:sp>
      <p:pic>
        <p:nvPicPr>
          <p:cNvPr id="19" name="Picture 18">
            <a:extLst>
              <a:ext uri="{FF2B5EF4-FFF2-40B4-BE49-F238E27FC236}">
                <a16:creationId xmlns:a16="http://schemas.microsoft.com/office/drawing/2014/main" id="{0E46227D-4C3A-4362-9C32-3B54F0106AD6}"/>
              </a:ext>
            </a:extLst>
          </p:cNvPr>
          <p:cNvPicPr>
            <a:picLocks noChangeAspect="1"/>
          </p:cNvPicPr>
          <p:nvPr/>
        </p:nvPicPr>
        <p:blipFill rotWithShape="1">
          <a:blip r:embed="rId8">
            <a:extLst>
              <a:ext uri="{28A0092B-C50C-407E-A947-70E740481C1C}">
                <a14:useLocalDpi xmlns:a14="http://schemas.microsoft.com/office/drawing/2010/main" val="0"/>
              </a:ext>
            </a:extLst>
          </a:blip>
          <a:srcRect l="3929" t="294" r="2332" b="1987"/>
          <a:stretch/>
        </p:blipFill>
        <p:spPr>
          <a:xfrm>
            <a:off x="930151" y="1249852"/>
            <a:ext cx="2681131" cy="3758395"/>
          </a:xfrm>
          <a:prstGeom prst="rect">
            <a:avLst/>
          </a:prstGeom>
        </p:spPr>
      </p:pic>
      <p:pic>
        <p:nvPicPr>
          <p:cNvPr id="20" name="Picture 19">
            <a:extLst>
              <a:ext uri="{FF2B5EF4-FFF2-40B4-BE49-F238E27FC236}">
                <a16:creationId xmlns:a16="http://schemas.microsoft.com/office/drawing/2014/main" id="{D9D3F4F3-3F3C-49E9-85D2-951659971F2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2686" y="5089402"/>
            <a:ext cx="3151541" cy="1650117"/>
          </a:xfrm>
          <a:prstGeom prst="rect">
            <a:avLst/>
          </a:prstGeom>
        </p:spPr>
      </p:pic>
    </p:spTree>
    <p:extLst>
      <p:ext uri="{BB962C8B-B14F-4D97-AF65-F5344CB8AC3E}">
        <p14:creationId xmlns:p14="http://schemas.microsoft.com/office/powerpoint/2010/main" val="23008980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7148" y="3046"/>
          <a:ext cx="1439" cy="1439"/>
        </p:xfrm>
        <a:graphic>
          <a:graphicData uri="http://schemas.openxmlformats.org/presentationml/2006/ole">
            <mc:AlternateContent xmlns:mc="http://schemas.openxmlformats.org/markup-compatibility/2006">
              <mc:Choice xmlns:v="urn:schemas-microsoft-com:vml" Requires="v">
                <p:oleObj spid="_x0000_s314377"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7148" y="3046"/>
                        <a:ext cx="1439"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5709" y="1605"/>
            <a:ext cx="143918" cy="14391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8958" eaLnBrk="1" hangingPunct="1">
              <a:spcAft>
                <a:spcPct val="50000"/>
              </a:spcAft>
              <a:buClr>
                <a:srgbClr val="FFE600"/>
              </a:buClr>
              <a:buSzPct val="80000"/>
              <a:defRPr/>
            </a:pPr>
            <a:endParaRPr lang="en-US" sz="2176" b="1">
              <a:solidFill>
                <a:srgbClr val="000000"/>
              </a:solidFill>
              <a:latin typeface="EYInterstate"/>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60783" y="553162"/>
            <a:ext cx="10606832" cy="672310"/>
          </a:xfrm>
        </p:spPr>
        <p:txBody>
          <a:bodyPr vert="horz" lIns="0" tIns="0" rIns="0" bIns="0" rtlCol="0" anchor="t" anchorCtr="0">
            <a:noAutofit/>
          </a:bodyPr>
          <a:lstStyle/>
          <a:p>
            <a:r>
              <a:rPr lang="en-US" dirty="0"/>
              <a:t>Case Study 2: Migration of application systems from on-premise servers to Azure cloud for AIA SG</a:t>
            </a:r>
          </a:p>
        </p:txBody>
      </p:sp>
      <p:grpSp>
        <p:nvGrpSpPr>
          <p:cNvPr id="10" name="Group 9">
            <a:extLst>
              <a:ext uri="{FF2B5EF4-FFF2-40B4-BE49-F238E27FC236}">
                <a16:creationId xmlns:a16="http://schemas.microsoft.com/office/drawing/2014/main" id="{7C6AF280-80C9-452F-A64E-7EA9A2AE31DD}"/>
              </a:ext>
            </a:extLst>
          </p:cNvPr>
          <p:cNvGrpSpPr/>
          <p:nvPr/>
        </p:nvGrpSpPr>
        <p:grpSpPr>
          <a:xfrm>
            <a:off x="4132518" y="1117692"/>
            <a:ext cx="7414299" cy="179783"/>
            <a:chOff x="4552129" y="1390071"/>
            <a:chExt cx="8178436" cy="198312"/>
          </a:xfrm>
        </p:grpSpPr>
        <p:cxnSp>
          <p:nvCxnSpPr>
            <p:cNvPr id="109" name="Straight Connector 108">
              <a:extLst>
                <a:ext uri="{FF2B5EF4-FFF2-40B4-BE49-F238E27FC236}">
                  <a16:creationId xmlns:a16="http://schemas.microsoft.com/office/drawing/2014/main" id="{492FBBDE-0EED-4F0B-8761-B6F3C369BF61}"/>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110" name="Rectangle 109">
              <a:extLst>
                <a:ext uri="{FF2B5EF4-FFF2-40B4-BE49-F238E27FC236}">
                  <a16:creationId xmlns:a16="http://schemas.microsoft.com/office/drawing/2014/main" id="{93360ED6-8BFF-4EE2-BFCD-90C778987CA4}"/>
                </a:ext>
              </a:extLst>
            </p:cNvPr>
            <p:cNvSpPr>
              <a:spLocks/>
            </p:cNvSpPr>
            <p:nvPr/>
          </p:nvSpPr>
          <p:spPr>
            <a:xfrm>
              <a:off x="4552129" y="1390071"/>
              <a:ext cx="6799759" cy="169748"/>
            </a:xfrm>
            <a:prstGeom prst="rect">
              <a:avLst/>
            </a:prstGeom>
          </p:spPr>
          <p:txBody>
            <a:bodyPr wrap="square" lIns="0" tIns="0" rIns="0" bIns="0">
              <a:spAutoFit/>
            </a:bodyPr>
            <a:lstStyle/>
            <a:p>
              <a:pPr defTabSz="828958" eaLnBrk="1" hangingPunct="1">
                <a:spcAft>
                  <a:spcPts val="600"/>
                </a:spcAft>
                <a:buClr>
                  <a:srgbClr val="FFE600"/>
                </a:buClr>
                <a:buSzPct val="80000"/>
              </a:pPr>
              <a:r>
                <a:rPr lang="en-US" sz="1000" b="1" kern="0" dirty="0">
                  <a:solidFill>
                    <a:srgbClr val="006BAF"/>
                  </a:solidFill>
                  <a:latin typeface="EYInterstate"/>
                  <a:ea typeface="+mn-ea"/>
                  <a:cs typeface="Arial" panose="020B0604020202020204" pitchFamily="34" charset="0"/>
                </a:rPr>
                <a:t>Challenge</a:t>
              </a:r>
            </a:p>
          </p:txBody>
        </p:sp>
      </p:grpSp>
      <p:grpSp>
        <p:nvGrpSpPr>
          <p:cNvPr id="11" name="Group 10">
            <a:extLst>
              <a:ext uri="{FF2B5EF4-FFF2-40B4-BE49-F238E27FC236}">
                <a16:creationId xmlns:a16="http://schemas.microsoft.com/office/drawing/2014/main" id="{9DF01959-A6D6-4940-A6F9-89C5ED931228}"/>
              </a:ext>
            </a:extLst>
          </p:cNvPr>
          <p:cNvGrpSpPr/>
          <p:nvPr/>
        </p:nvGrpSpPr>
        <p:grpSpPr>
          <a:xfrm>
            <a:off x="4132519" y="2694392"/>
            <a:ext cx="7383847" cy="181370"/>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748"/>
            </a:xfrm>
            <a:prstGeom prst="rect">
              <a:avLst/>
            </a:prstGeom>
          </p:spPr>
          <p:txBody>
            <a:bodyPr wrap="square" lIns="0" tIns="0" rIns="0" bIns="0">
              <a:spAutoFit/>
            </a:bodyPr>
            <a:lstStyle/>
            <a:p>
              <a:pPr defTabSz="828958" eaLnBrk="1" hangingPunct="1">
                <a:spcAft>
                  <a:spcPts val="600"/>
                </a:spcAft>
                <a:buClr>
                  <a:srgbClr val="FFE600"/>
                </a:buClr>
                <a:buSzPct val="80000"/>
              </a:pPr>
              <a:r>
                <a:rPr lang="en-US" sz="1000" b="1" kern="0" dirty="0">
                  <a:solidFill>
                    <a:srgbClr val="006BAF"/>
                  </a:solidFill>
                  <a:latin typeface="EYInterstate"/>
                  <a:ea typeface="+mn-ea"/>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2518" y="4967237"/>
            <a:ext cx="7322944" cy="194633"/>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748"/>
            </a:xfrm>
            <a:prstGeom prst="rect">
              <a:avLst/>
            </a:prstGeom>
          </p:spPr>
          <p:txBody>
            <a:bodyPr wrap="square" lIns="0" tIns="0" rIns="0" bIns="0">
              <a:spAutoFit/>
            </a:bodyPr>
            <a:lstStyle/>
            <a:p>
              <a:pPr defTabSz="828958" eaLnBrk="1" hangingPunct="1">
                <a:spcAft>
                  <a:spcPts val="600"/>
                </a:spcAft>
                <a:buClr>
                  <a:srgbClr val="FFE600"/>
                </a:buClr>
                <a:buSzPct val="80000"/>
              </a:pPr>
              <a:r>
                <a:rPr lang="en-IN" sz="1000" b="1" kern="0" dirty="0">
                  <a:solidFill>
                    <a:srgbClr val="006BAF"/>
                  </a:solidFill>
                  <a:latin typeface="EYInterstate"/>
                  <a:ea typeface="+mn-ea"/>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2518" y="1358092"/>
            <a:ext cx="7383846" cy="1228863"/>
          </a:xfrm>
          <a:prstGeom prst="rect">
            <a:avLst/>
          </a:prstGeom>
          <a:noFill/>
        </p:spPr>
        <p:txBody>
          <a:bodyPr wrap="square" lIns="0" tIns="0" rIns="0" bIns="0" rtlCol="0">
            <a:spAutoFit/>
          </a:bodyPr>
          <a:lstStyle/>
          <a:p>
            <a:pPr marL="177628" indent="-177628" defTabSz="828958" eaLnBrk="1" hangingPunct="1">
              <a:spcAft>
                <a:spcPts val="600"/>
              </a:spcAft>
              <a:buClr>
                <a:srgbClr val="FFD503"/>
              </a:buClr>
              <a:buSzPct val="70000"/>
              <a:buFont typeface="Arial" pitchFamily="34" charset="0"/>
              <a:buChar char="►"/>
              <a:defRPr/>
            </a:pPr>
            <a:r>
              <a:rPr lang="en-US" sz="998" dirty="0">
                <a:solidFill>
                  <a:srgbClr val="000000"/>
                </a:solidFill>
                <a:latin typeface="EYInterstate Light" pitchFamily="2" charset="0"/>
                <a:ea typeface="EYInterstate" charset="0"/>
                <a:cs typeface="Arial" panose="020B0604020202020204" pitchFamily="34" charset="0"/>
              </a:rPr>
              <a:t>In line with the group’s broader Group Cloud strategy, AIA SG team started their cloud transformation journey more than a year ago. The cloud migration program has been planned in 3 phases which involves migrating 140 applications, including system modules &amp; components, from on-premise to Azure cloud. </a:t>
            </a:r>
          </a:p>
          <a:p>
            <a:pPr marL="177628" indent="-177628" defTabSz="828958" eaLnBrk="1" hangingPunct="1">
              <a:spcAft>
                <a:spcPts val="600"/>
              </a:spcAft>
              <a:buClr>
                <a:srgbClr val="FFD503"/>
              </a:buClr>
              <a:buSzPct val="70000"/>
              <a:buFont typeface="Arial" pitchFamily="34" charset="0"/>
              <a:buChar char="►"/>
              <a:defRPr/>
            </a:pPr>
            <a:r>
              <a:rPr lang="en-US" sz="998" dirty="0">
                <a:solidFill>
                  <a:srgbClr val="000000"/>
                </a:solidFill>
                <a:latin typeface="EYInterstate Light" pitchFamily="2" charset="0"/>
                <a:ea typeface="EYInterstate" charset="0"/>
                <a:cs typeface="Arial" panose="020B0604020202020204" pitchFamily="34" charset="0"/>
              </a:rPr>
              <a:t>Phase 2 Cloud migration was achieved through 3 simultaneous workstreams – Project Management Office (PMO), Application Migration Services and Quality &amp; Test Management service</a:t>
            </a:r>
          </a:p>
          <a:p>
            <a:pPr marL="177628" indent="-177628" defTabSz="828958" eaLnBrk="1" hangingPunct="1">
              <a:spcAft>
                <a:spcPts val="600"/>
              </a:spcAft>
              <a:buClr>
                <a:srgbClr val="FFD503"/>
              </a:buClr>
              <a:buSzPct val="70000"/>
              <a:buFont typeface="Arial" pitchFamily="34" charset="0"/>
              <a:buChar char="►"/>
              <a:defRPr/>
            </a:pPr>
            <a:r>
              <a:rPr lang="en-US" sz="998" dirty="0">
                <a:solidFill>
                  <a:srgbClr val="000000"/>
                </a:solidFill>
                <a:latin typeface="EYInterstate Light" pitchFamily="2" charset="0"/>
                <a:ea typeface="EYInterstate" charset="0"/>
                <a:cs typeface="Arial" panose="020B0604020202020204" pitchFamily="34" charset="0"/>
              </a:rPr>
              <a:t>The main challenge faced by the client was to migrate both legacy applications securely onto the new platform on Azure within 9 months while ensuring no loss in their performance and functionality vis-à-vis on-premise standards</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2518" y="2947766"/>
            <a:ext cx="7322943" cy="1958549"/>
          </a:xfrm>
          <a:prstGeom prst="rect">
            <a:avLst/>
          </a:prstGeom>
          <a:noFill/>
        </p:spPr>
        <p:txBody>
          <a:bodyPr wrap="square" lIns="0" tIns="0" rIns="0" bIns="0" rtlCol="0">
            <a:spAutoFit/>
          </a:bodyPr>
          <a:lstStyle/>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mn-ea"/>
                <a:cs typeface="Arial" panose="020B0604020202020204" pitchFamily="34" charset="0"/>
              </a:rPr>
              <a:t>Conducted a discovery assessment to understand the as-is network architecture, upstream and downstream dependencies, data &amp; file structure, business criticality and business use of the application. </a:t>
            </a:r>
          </a:p>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mn-ea"/>
                <a:cs typeface="Arial" panose="020B0604020202020204" pitchFamily="34" charset="0"/>
              </a:rPr>
              <a:t>Designed target state patterns that addressed both legacy systems in an effective and future-proof way while maintaining performance and functionality standards as seen on-premise</a:t>
            </a:r>
          </a:p>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mn-ea"/>
                <a:cs typeface="Arial" panose="020B0604020202020204" pitchFamily="34" charset="0"/>
              </a:rPr>
              <a:t>Created an agile migration timeline across the span of 6 months</a:t>
            </a:r>
          </a:p>
          <a:p>
            <a:pPr marL="591945" lvl="1"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mn-ea"/>
                <a:cs typeface="Arial" panose="020B0604020202020204" pitchFamily="34" charset="0"/>
              </a:rPr>
              <a:t>Both applications were broken down into modules to be migrated in each sprint</a:t>
            </a:r>
          </a:p>
          <a:p>
            <a:pPr marL="591945" lvl="1"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mn-ea"/>
                <a:cs typeface="Arial" panose="020B0604020202020204" pitchFamily="34" charset="0"/>
              </a:rPr>
              <a:t>Modules were grouped based on its interdependencies and logical similarities</a:t>
            </a:r>
          </a:p>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mn-ea"/>
                <a:cs typeface="Arial" panose="020B0604020202020204" pitchFamily="34" charset="0"/>
              </a:rPr>
              <a:t>Migrated both applications into 4 environments – SIT, UAT 1, UAT 2 &amp; Prod across the span of 6 months</a:t>
            </a:r>
          </a:p>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mn-ea"/>
                <a:cs typeface="Arial" panose="020B0604020202020204" pitchFamily="34" charset="0"/>
              </a:rPr>
              <a:t>Tested the performance and functionality of both applications and ensured both systems performed equal or better than on-premise</a:t>
            </a:r>
          </a:p>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mn-ea"/>
                <a:cs typeface="Arial" panose="020B0604020202020204" pitchFamily="34" charset="0"/>
              </a:rPr>
              <a:t>Provided warranty support to resolve any operational issues for the in-scope applications migrated to cloud</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2518" y="5197864"/>
            <a:ext cx="7322943" cy="1535998"/>
          </a:xfrm>
          <a:prstGeom prst="rect">
            <a:avLst/>
          </a:prstGeom>
          <a:noFill/>
        </p:spPr>
        <p:txBody>
          <a:bodyPr wrap="square" lIns="0" tIns="0" rIns="0" bIns="0" rtlCol="0">
            <a:spAutoFit/>
          </a:bodyPr>
          <a:lstStyle/>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新細明體" panose="02020500000000000000" pitchFamily="18" charset="-120"/>
              </a:rPr>
              <a:t>Development of 3 timelines – high level, low level and sprint timeline which enabled early communication of the overall migration progress to key stakeholders</a:t>
            </a:r>
          </a:p>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新細明體" panose="02020500000000000000" pitchFamily="18" charset="-120"/>
              </a:rPr>
              <a:t>Development of a migration playbook which consists of the migration approach, blueprint, pre- and post-migration checklist and mapping to cloud resources and groups to ensure smooth migration within the target timeframe</a:t>
            </a:r>
          </a:p>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新細明體" panose="02020500000000000000" pitchFamily="18" charset="-120"/>
              </a:rPr>
              <a:t>Delivery of both legacy applications onto Azure cloud using agile methodology fully utilizing agile artefacts and ceremonies to ensure quick response to key risks &amp; issues</a:t>
            </a:r>
          </a:p>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新細明體" panose="02020500000000000000" pitchFamily="18" charset="-120"/>
              </a:rPr>
              <a:t>Conducted performance and functional tests within sprints which enabled early response to errors and mitigated cutover risk</a:t>
            </a:r>
          </a:p>
          <a:p>
            <a:pPr marL="177628" indent="-177628" defTabSz="828958" eaLnBrk="1" hangingPunct="1">
              <a:spcAft>
                <a:spcPts val="300"/>
              </a:spcAft>
              <a:buClr>
                <a:srgbClr val="FFD503"/>
              </a:buClr>
              <a:buSzPct val="70000"/>
              <a:buFont typeface="Arial" pitchFamily="34" charset="0"/>
              <a:buChar char="►"/>
              <a:defRPr/>
            </a:pPr>
            <a:r>
              <a:rPr lang="en-US" altLang="zh-TW" sz="998" dirty="0">
                <a:solidFill>
                  <a:srgbClr val="000000"/>
                </a:solidFill>
                <a:latin typeface="EYInterstate Light" pitchFamily="2" charset="0"/>
                <a:ea typeface="新細明體" panose="02020500000000000000" pitchFamily="18" charset="-120"/>
              </a:rPr>
              <a:t>Provided 3 months of warranty support to ensure all operational issues were resolved</a:t>
            </a:r>
          </a:p>
        </p:txBody>
      </p:sp>
      <p:pic>
        <p:nvPicPr>
          <p:cNvPr id="2" name="Picture 1">
            <a:extLst>
              <a:ext uri="{FF2B5EF4-FFF2-40B4-BE49-F238E27FC236}">
                <a16:creationId xmlns:a16="http://schemas.microsoft.com/office/drawing/2014/main" id="{C1E9CF9C-B5E3-4C22-BC3D-A4176BBBE6F1}"/>
              </a:ext>
            </a:extLst>
          </p:cNvPr>
          <p:cNvPicPr>
            <a:picLocks noChangeAspect="1"/>
          </p:cNvPicPr>
          <p:nvPr/>
        </p:nvPicPr>
        <p:blipFill>
          <a:blip r:embed="rId8"/>
          <a:stretch>
            <a:fillRect/>
          </a:stretch>
        </p:blipFill>
        <p:spPr>
          <a:xfrm>
            <a:off x="859310" y="1297475"/>
            <a:ext cx="3084376" cy="1933118"/>
          </a:xfrm>
          <a:prstGeom prst="rect">
            <a:avLst/>
          </a:prstGeom>
        </p:spPr>
      </p:pic>
      <p:pic>
        <p:nvPicPr>
          <p:cNvPr id="8" name="Picture 7">
            <a:extLst>
              <a:ext uri="{FF2B5EF4-FFF2-40B4-BE49-F238E27FC236}">
                <a16:creationId xmlns:a16="http://schemas.microsoft.com/office/drawing/2014/main" id="{2D4D0364-8C31-49A1-8525-47BA3D96B330}"/>
              </a:ext>
            </a:extLst>
          </p:cNvPr>
          <p:cNvPicPr>
            <a:picLocks noChangeAspect="1"/>
          </p:cNvPicPr>
          <p:nvPr/>
        </p:nvPicPr>
        <p:blipFill>
          <a:blip r:embed="rId9"/>
          <a:stretch>
            <a:fillRect/>
          </a:stretch>
        </p:blipFill>
        <p:spPr>
          <a:xfrm>
            <a:off x="859310" y="3627408"/>
            <a:ext cx="3084376" cy="1942363"/>
          </a:xfrm>
          <a:prstGeom prst="rect">
            <a:avLst/>
          </a:prstGeom>
        </p:spPr>
      </p:pic>
    </p:spTree>
    <p:extLst>
      <p:ext uri="{BB962C8B-B14F-4D97-AF65-F5344CB8AC3E}">
        <p14:creationId xmlns:p14="http://schemas.microsoft.com/office/powerpoint/2010/main" val="27755957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78537"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361"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dirty="0"/>
              <a:t>Case Study 3: </a:t>
            </a:r>
            <a:r>
              <a:rPr lang="en-US" altLang="zh-TW" dirty="0">
                <a:solidFill>
                  <a:srgbClr val="646464"/>
                </a:solidFill>
              </a:rPr>
              <a:t>Built the Cloud Strategy &amp; Cloud Centre of Excellence for AIA Group</a:t>
            </a:r>
            <a:endParaRPr lang="en-US" dirty="0"/>
          </a:p>
        </p:txBody>
      </p:sp>
      <p:grpSp>
        <p:nvGrpSpPr>
          <p:cNvPr id="10" name="Group 9">
            <a:extLst>
              <a:ext uri="{FF2B5EF4-FFF2-40B4-BE49-F238E27FC236}">
                <a16:creationId xmlns:a16="http://schemas.microsoft.com/office/drawing/2014/main" id="{7C6AF280-80C9-452F-A64E-7EA9A2AE31DD}"/>
              </a:ext>
            </a:extLst>
          </p:cNvPr>
          <p:cNvGrpSpPr/>
          <p:nvPr/>
        </p:nvGrpSpPr>
        <p:grpSpPr>
          <a:xfrm>
            <a:off x="4131597" y="1202562"/>
            <a:ext cx="7417771" cy="179867"/>
            <a:chOff x="4552129" y="1390071"/>
            <a:chExt cx="8178436" cy="198312"/>
          </a:xfrm>
        </p:grpSpPr>
        <p:cxnSp>
          <p:nvCxnSpPr>
            <p:cNvPr id="109" name="Straight Connector 108">
              <a:extLst>
                <a:ext uri="{FF2B5EF4-FFF2-40B4-BE49-F238E27FC236}">
                  <a16:creationId xmlns:a16="http://schemas.microsoft.com/office/drawing/2014/main" id="{492FBBDE-0EED-4F0B-8761-B6F3C369BF61}"/>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110" name="Rectangle 109">
              <a:extLst>
                <a:ext uri="{FF2B5EF4-FFF2-40B4-BE49-F238E27FC236}">
                  <a16:creationId xmlns:a16="http://schemas.microsoft.com/office/drawing/2014/main" id="{93360ED6-8BFF-4EE2-BFCD-90C778987CA4}"/>
                </a:ext>
              </a:extLst>
            </p:cNvPr>
            <p:cNvSpPr>
              <a:spLocks/>
            </p:cNvSpPr>
            <p:nvPr/>
          </p:nvSpPr>
          <p:spPr>
            <a:xfrm>
              <a:off x="4552129" y="1390071"/>
              <a:ext cx="6799759" cy="169669"/>
            </a:xfrm>
            <a:prstGeom prst="rect">
              <a:avLst/>
            </a:prstGeom>
          </p:spPr>
          <p:txBody>
            <a:bodyPr wrap="square" lIns="0" tIns="0" rIns="0" bIns="0">
              <a:spAutoFit/>
            </a:bodyPr>
            <a:lstStyle/>
            <a:p>
              <a:pPr defTabSz="829361" eaLnBrk="1" hangingPunct="1">
                <a:spcAft>
                  <a:spcPts val="600"/>
                </a:spcAft>
                <a:buClr>
                  <a:srgbClr val="FFE600"/>
                </a:buClr>
                <a:buSzPct val="80000"/>
              </a:pPr>
              <a:r>
                <a:rPr lang="en-US" sz="1000" b="1" kern="0">
                  <a:solidFill>
                    <a:srgbClr val="006BAF"/>
                  </a:solidFill>
                  <a:latin typeface="EYInterstate"/>
                  <a:ea typeface="+mn-ea"/>
                  <a:cs typeface="Arial" panose="020B0604020202020204" pitchFamily="34" charset="0"/>
                </a:rPr>
                <a:t>Challenge</a:t>
              </a:r>
            </a:p>
          </p:txBody>
        </p:sp>
      </p:grpSp>
      <p:grpSp>
        <p:nvGrpSpPr>
          <p:cNvPr id="11" name="Group 10">
            <a:extLst>
              <a:ext uri="{FF2B5EF4-FFF2-40B4-BE49-F238E27FC236}">
                <a16:creationId xmlns:a16="http://schemas.microsoft.com/office/drawing/2014/main" id="{9DF01959-A6D6-4940-A6F9-89C5ED931228}"/>
              </a:ext>
            </a:extLst>
          </p:cNvPr>
          <p:cNvGrpSpPr/>
          <p:nvPr/>
        </p:nvGrpSpPr>
        <p:grpSpPr>
          <a:xfrm>
            <a:off x="4131597" y="2340939"/>
            <a:ext cx="7387305" cy="18145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668"/>
            </a:xfrm>
            <a:prstGeom prst="rect">
              <a:avLst/>
            </a:prstGeom>
          </p:spPr>
          <p:txBody>
            <a:bodyPr wrap="square" lIns="0" tIns="0" rIns="0" bIns="0">
              <a:spAutoFit/>
            </a:bodyPr>
            <a:lstStyle/>
            <a:p>
              <a:pPr defTabSz="829361" eaLnBrk="1" hangingPunct="1">
                <a:spcAft>
                  <a:spcPts val="600"/>
                </a:spcAft>
                <a:buClr>
                  <a:srgbClr val="FFE600"/>
                </a:buClr>
                <a:buSzPct val="80000"/>
              </a:pPr>
              <a:r>
                <a:rPr lang="en-US" sz="1000" b="1" kern="0">
                  <a:solidFill>
                    <a:srgbClr val="006BAF"/>
                  </a:solidFill>
                  <a:latin typeface="EYInterstate"/>
                  <a:ea typeface="+mn-ea"/>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597" y="5436321"/>
            <a:ext cx="7326374" cy="19472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668"/>
            </a:xfrm>
            <a:prstGeom prst="rect">
              <a:avLst/>
            </a:prstGeom>
          </p:spPr>
          <p:txBody>
            <a:bodyPr wrap="square" lIns="0" tIns="0" rIns="0" bIns="0">
              <a:spAutoFit/>
            </a:bodyPr>
            <a:lstStyle/>
            <a:p>
              <a:pPr defTabSz="829361" eaLnBrk="1" hangingPunct="1">
                <a:spcAft>
                  <a:spcPts val="600"/>
                </a:spcAft>
                <a:buClr>
                  <a:srgbClr val="FFE600"/>
                </a:buClr>
                <a:buSzPct val="80000"/>
              </a:pPr>
              <a:r>
                <a:rPr lang="en-IN" sz="1000" b="1" kern="0">
                  <a:solidFill>
                    <a:srgbClr val="006BAF"/>
                  </a:solidFill>
                  <a:latin typeface="EYInterstate"/>
                  <a:ea typeface="+mn-ea"/>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597" y="1443075"/>
            <a:ext cx="7387304" cy="844783"/>
          </a:xfrm>
          <a:prstGeom prst="rect">
            <a:avLst/>
          </a:prstGeom>
          <a:noFill/>
        </p:spPr>
        <p:txBody>
          <a:bodyPr wrap="square" lIns="0" tIns="0" rIns="0" bIns="0" rtlCol="0">
            <a:spAutoFit/>
          </a:bodyPr>
          <a:lstStyle/>
          <a:p>
            <a:pPr marL="177714" indent="-177714" defTabSz="829361" eaLnBrk="1" hangingPunct="1">
              <a:spcAft>
                <a:spcPts val="600"/>
              </a:spcAft>
              <a:buClr>
                <a:srgbClr val="FFD503"/>
              </a:buClr>
              <a:buSzPct val="70000"/>
              <a:buFont typeface="Arial" pitchFamily="34" charset="0"/>
              <a:buChar char="►"/>
              <a:defRPr/>
            </a:pPr>
            <a:r>
              <a:rPr lang="en-US" sz="998">
                <a:solidFill>
                  <a:srgbClr val="000000"/>
                </a:solidFill>
                <a:latin typeface="EYInterstate Light" pitchFamily="2" charset="0"/>
                <a:ea typeface="EYInterstate" charset="0"/>
                <a:cs typeface="Arial" panose="020B0604020202020204" pitchFamily="34" charset="0"/>
              </a:rPr>
              <a:t>In alignment with AIA’s broader infrastructure strategy to reduce its on-premises data center footprint, AIA required a Cloud Strategy to help drive cloud adoption and set the guardrails for applications seeking to migrate workload to Cloud</a:t>
            </a:r>
          </a:p>
          <a:p>
            <a:pPr marL="177714" indent="-177714" defTabSz="829361" eaLnBrk="1" hangingPunct="1">
              <a:spcAft>
                <a:spcPts val="600"/>
              </a:spcAft>
              <a:buClr>
                <a:srgbClr val="FFD503"/>
              </a:buClr>
              <a:buSzPct val="70000"/>
              <a:buFont typeface="Arial" pitchFamily="34" charset="0"/>
              <a:buChar char="►"/>
              <a:defRPr/>
            </a:pPr>
            <a:r>
              <a:rPr lang="en-US" sz="998">
                <a:solidFill>
                  <a:srgbClr val="000000"/>
                </a:solidFill>
                <a:latin typeface="EYInterstate Light" pitchFamily="2" charset="0"/>
                <a:ea typeface="EYInterstate" charset="0"/>
                <a:cs typeface="Arial" panose="020B0604020202020204" pitchFamily="34" charset="0"/>
              </a:rPr>
              <a:t>To be successful in Cloud adoption, AIA identified the need for a Cloud Centre of Excellence(CCoE). The CCoE would be the accountable business unit for cloud governance oversight and would be established with specific skills &amp; objectives to be instilled in relevant end users</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597" y="2594432"/>
            <a:ext cx="7326373" cy="2777683"/>
          </a:xfrm>
          <a:prstGeom prst="rect">
            <a:avLst/>
          </a:prstGeom>
          <a:noFill/>
        </p:spPr>
        <p:txBody>
          <a:bodyPr wrap="square" lIns="0" tIns="0" rIns="0" bIns="0" rtlCol="0">
            <a:spAutoFit/>
          </a:bodyPr>
          <a:lstStyle/>
          <a:p>
            <a:pPr marL="177714" indent="-177714" defTabSz="829361" eaLnBrk="1" hangingPunct="1">
              <a:spcAft>
                <a:spcPts val="300"/>
              </a:spcAft>
              <a:buClr>
                <a:srgbClr val="FFD503"/>
              </a:buClr>
              <a:buSzPct val="70000"/>
              <a:buFont typeface="Arial" pitchFamily="34" charset="0"/>
              <a:buChar char="►"/>
              <a:defRPr/>
            </a:pPr>
            <a:r>
              <a:rPr lang="en-AU" altLang="zh-TW" sz="998">
                <a:solidFill>
                  <a:srgbClr val="000000"/>
                </a:solidFill>
                <a:latin typeface="EYInterstate Light" pitchFamily="2" charset="0"/>
                <a:ea typeface="+mn-ea"/>
                <a:cs typeface="Arial" panose="020B0604020202020204" pitchFamily="34" charset="0"/>
              </a:rPr>
              <a:t>EY defined the Cloud Strategy in line with AIA’s Propel Business Strategy</a:t>
            </a:r>
            <a:endParaRPr lang="en-US" sz="998">
              <a:solidFill>
                <a:srgbClr val="646464">
                  <a:lumMod val="50000"/>
                </a:srgbClr>
              </a:solidFill>
              <a:latin typeface="EYInterstate Light" pitchFamily="2" charset="0"/>
              <a:ea typeface="EYInterstate" charset="0"/>
              <a:cs typeface="Arial" panose="020B0604020202020204" pitchFamily="34" charset="0"/>
            </a:endParaRPr>
          </a:p>
          <a:p>
            <a:pPr marL="177714" indent="-177714" defTabSz="829361" eaLnBrk="1" hangingPunct="1">
              <a:spcAft>
                <a:spcPts val="300"/>
              </a:spcAft>
              <a:buClr>
                <a:srgbClr val="FFD503"/>
              </a:buClr>
              <a:buSzPct val="70000"/>
              <a:buFont typeface="Arial" pitchFamily="34" charset="0"/>
              <a:buChar char="►"/>
              <a:defRPr/>
            </a:pPr>
            <a:r>
              <a:rPr lang="en-AU" altLang="zh-TW" sz="998">
                <a:solidFill>
                  <a:srgbClr val="000000"/>
                </a:solidFill>
                <a:latin typeface="EYInterstate Light" pitchFamily="2" charset="0"/>
                <a:ea typeface="+mn-ea"/>
                <a:cs typeface="Arial" panose="020B0604020202020204" pitchFamily="34" charset="0"/>
              </a:rPr>
              <a:t>The following activities were undertaken as part of the Strategy formulation: </a:t>
            </a:r>
          </a:p>
          <a:p>
            <a:pPr marL="569823" lvl="1" indent="-155505" algn="just" defTabSz="808918">
              <a:spcBef>
                <a:spcPts val="91"/>
              </a:spcBef>
              <a:spcAft>
                <a:spcPts val="91"/>
              </a:spcAft>
              <a:buClr>
                <a:srgbClr val="FFE600"/>
              </a:buClr>
              <a:buSzPct val="70000"/>
              <a:buFont typeface="Wingdings" panose="05000000000000000000" pitchFamily="2" charset="2"/>
              <a:buChar char="v"/>
            </a:pPr>
            <a:r>
              <a:rPr lang="en-US" sz="998">
                <a:solidFill>
                  <a:srgbClr val="000000"/>
                </a:solidFill>
                <a:latin typeface="EYInterstate Light" pitchFamily="2" charset="0"/>
                <a:ea typeface="+mn-ea"/>
                <a:cs typeface="Arial" panose="020B0604020202020204" pitchFamily="34" charset="0"/>
              </a:rPr>
              <a:t>Assessment of AIA’s current state technology environment to determine maturity and application readiness</a:t>
            </a:r>
          </a:p>
          <a:p>
            <a:pPr marL="569823" lvl="1" indent="-155505" algn="just" defTabSz="808918">
              <a:spcBef>
                <a:spcPts val="91"/>
              </a:spcBef>
              <a:spcAft>
                <a:spcPts val="91"/>
              </a:spcAft>
              <a:buClr>
                <a:srgbClr val="FFE600"/>
              </a:buClr>
              <a:buSzPct val="70000"/>
              <a:buFont typeface="Wingdings" panose="05000000000000000000" pitchFamily="2" charset="2"/>
              <a:buChar char="v"/>
            </a:pPr>
            <a:r>
              <a:rPr lang="en-US" sz="998">
                <a:solidFill>
                  <a:srgbClr val="000000"/>
                </a:solidFill>
                <a:latin typeface="EYInterstate Light" pitchFamily="2" charset="0"/>
                <a:ea typeface="+mn-ea"/>
                <a:cs typeface="Arial" panose="020B0604020202020204" pitchFamily="34" charset="0"/>
              </a:rPr>
              <a:t>Develop cloud technology vision and high-level delivery models that are tailored to AIA's strategy</a:t>
            </a:r>
          </a:p>
          <a:p>
            <a:pPr marL="569823" lvl="1" indent="-155505" algn="just" defTabSz="808918">
              <a:spcBef>
                <a:spcPts val="91"/>
              </a:spcBef>
              <a:spcAft>
                <a:spcPts val="91"/>
              </a:spcAft>
              <a:buClr>
                <a:srgbClr val="FFE600"/>
              </a:buClr>
              <a:buSzPct val="70000"/>
              <a:buFont typeface="Wingdings" panose="05000000000000000000" pitchFamily="2" charset="2"/>
              <a:buChar char="v"/>
            </a:pPr>
            <a:r>
              <a:rPr lang="en-US" sz="998">
                <a:solidFill>
                  <a:srgbClr val="000000"/>
                </a:solidFill>
                <a:latin typeface="EYInterstate Light" pitchFamily="2" charset="0"/>
                <a:ea typeface="+mn-ea"/>
                <a:cs typeface="Arial" panose="020B0604020202020204" pitchFamily="34" charset="0"/>
              </a:rPr>
              <a:t>Defined the C</a:t>
            </a:r>
            <a:r>
              <a:rPr lang="en-US" altLang="zh-TW" sz="998">
                <a:solidFill>
                  <a:srgbClr val="000000"/>
                </a:solidFill>
                <a:latin typeface="EYInterstate Light" pitchFamily="2" charset="0"/>
                <a:ea typeface="+mn-ea"/>
                <a:cs typeface="Arial" panose="020B0604020202020204" pitchFamily="34" charset="0"/>
              </a:rPr>
              <a:t>loud Adoption Approach, Cloud Services Catalog, Cloud Suitability and Migration framework and Guiding Principles for Cloud-Native Applications</a:t>
            </a:r>
          </a:p>
          <a:p>
            <a:pPr marL="155505" indent="-155505" algn="just" defTabSz="808918">
              <a:spcBef>
                <a:spcPts val="91"/>
              </a:spcBef>
              <a:spcAft>
                <a:spcPts val="91"/>
              </a:spcAft>
              <a:buClr>
                <a:srgbClr val="FFE600"/>
              </a:buClr>
              <a:buSzPct val="70000"/>
              <a:buFont typeface="Arial" panose="020B0604020202020204" pitchFamily="34" charset="0"/>
              <a:buChar char="►"/>
            </a:pPr>
            <a:r>
              <a:rPr lang="en-AU" altLang="zh-TW" sz="998">
                <a:solidFill>
                  <a:srgbClr val="000000"/>
                </a:solidFill>
                <a:latin typeface="EYInterstate Light" pitchFamily="2" charset="0"/>
                <a:ea typeface="+mn-ea"/>
                <a:cs typeface="Arial" panose="020B0604020202020204" pitchFamily="34" charset="0"/>
              </a:rPr>
              <a:t>Below activities were taken as part of the Cloud Centre of Excellence (CCoE) formulation</a:t>
            </a:r>
          </a:p>
          <a:p>
            <a:pPr marL="569823" lvl="1" indent="-155505" algn="just" defTabSz="808918">
              <a:spcBef>
                <a:spcPts val="91"/>
              </a:spcBef>
              <a:spcAft>
                <a:spcPts val="91"/>
              </a:spcAft>
              <a:buClr>
                <a:srgbClr val="FFE600"/>
              </a:buClr>
              <a:buSzPct val="70000"/>
              <a:buFont typeface="Wingdings" panose="05000000000000000000" pitchFamily="2" charset="2"/>
              <a:buChar char="v"/>
            </a:pPr>
            <a:r>
              <a:rPr lang="en-AU" altLang="zh-TW" sz="998">
                <a:solidFill>
                  <a:srgbClr val="000000"/>
                </a:solidFill>
                <a:latin typeface="EYInterstate Light" pitchFamily="2" charset="0"/>
                <a:ea typeface="+mn-ea"/>
                <a:cs typeface="Arial" panose="020B0604020202020204" pitchFamily="34" charset="0"/>
              </a:rPr>
              <a:t>Defined the roles &amp; responsibilities required to staff a CCoE</a:t>
            </a:r>
          </a:p>
          <a:p>
            <a:pPr marL="569823" lvl="1" indent="-155505" algn="just" defTabSz="808918">
              <a:spcBef>
                <a:spcPts val="91"/>
              </a:spcBef>
              <a:spcAft>
                <a:spcPts val="91"/>
              </a:spcAft>
              <a:buClr>
                <a:srgbClr val="FFE600"/>
              </a:buClr>
              <a:buSzPct val="70000"/>
              <a:buFont typeface="Wingdings" panose="05000000000000000000" pitchFamily="2" charset="2"/>
              <a:buChar char="v"/>
            </a:pPr>
            <a:r>
              <a:rPr lang="en-AU" altLang="zh-TW" sz="998">
                <a:solidFill>
                  <a:srgbClr val="000000"/>
                </a:solidFill>
                <a:latin typeface="EYInterstate Light" pitchFamily="2" charset="0"/>
                <a:ea typeface="+mn-ea"/>
                <a:cs typeface="Arial" panose="020B0604020202020204" pitchFamily="34" charset="0"/>
              </a:rPr>
              <a:t>Built the Cloud Governance model which </a:t>
            </a:r>
            <a:r>
              <a:rPr lang="en-US" sz="998">
                <a:solidFill>
                  <a:srgbClr val="000000"/>
                </a:solidFill>
                <a:latin typeface="EYInterstate Light" pitchFamily="2" charset="0"/>
                <a:ea typeface="+mn-ea"/>
                <a:cs typeface="Arial" panose="020B0604020202020204" pitchFamily="34" charset="0"/>
              </a:rPr>
              <a:t>included the decision-rights and accountability framework for adoption and sustenance of cloud services in AIA. </a:t>
            </a:r>
          </a:p>
          <a:p>
            <a:pPr marL="569823" lvl="1" indent="-155505" algn="just" defTabSz="808918">
              <a:spcBef>
                <a:spcPts val="91"/>
              </a:spcBef>
              <a:spcAft>
                <a:spcPts val="91"/>
              </a:spcAft>
              <a:buClr>
                <a:srgbClr val="FFE600"/>
              </a:buClr>
              <a:buSzPct val="70000"/>
              <a:buFont typeface="Wingdings" panose="05000000000000000000" pitchFamily="2" charset="2"/>
              <a:buChar char="v"/>
            </a:pPr>
            <a:r>
              <a:rPr lang="en-AU" sz="998">
                <a:solidFill>
                  <a:srgbClr val="000000"/>
                </a:solidFill>
                <a:latin typeface="EYInterstate Light" pitchFamily="2" charset="0"/>
                <a:ea typeface="+mn-ea"/>
                <a:cs typeface="Arial" panose="020B0604020202020204" pitchFamily="34" charset="0"/>
              </a:rPr>
              <a:t>Designed the CCoE Operating Framework which was</a:t>
            </a:r>
            <a:r>
              <a:rPr lang="en-US" sz="998">
                <a:solidFill>
                  <a:srgbClr val="000000"/>
                </a:solidFill>
                <a:latin typeface="EYInterstate Light" pitchFamily="2" charset="0"/>
                <a:ea typeface="+mn-ea"/>
                <a:cs typeface="Arial" panose="020B0604020202020204" pitchFamily="34" charset="0"/>
              </a:rPr>
              <a:t> structured into 3 horizontal functional areas (People, Billing, Security &amp; Control</a:t>
            </a:r>
            <a:r>
              <a:rPr lang="en-AU" sz="998">
                <a:solidFill>
                  <a:srgbClr val="000000"/>
                </a:solidFill>
                <a:latin typeface="EYInterstate Light" pitchFamily="2" charset="0"/>
                <a:ea typeface="+mn-ea"/>
                <a:cs typeface="Arial" panose="020B0604020202020204" pitchFamily="34" charset="0"/>
              </a:rPr>
              <a:t>) </a:t>
            </a:r>
            <a:r>
              <a:rPr lang="en-US" sz="998">
                <a:solidFill>
                  <a:srgbClr val="000000"/>
                </a:solidFill>
                <a:latin typeface="EYInterstate Light" pitchFamily="2" charset="0"/>
                <a:ea typeface="+mn-ea"/>
                <a:cs typeface="Arial" panose="020B0604020202020204" pitchFamily="34" charset="0"/>
              </a:rPr>
              <a:t>to mitigate the enterprise risks associated with Cloud adoption</a:t>
            </a:r>
          </a:p>
          <a:p>
            <a:pPr marL="569823" lvl="1" indent="-155505" algn="just" defTabSz="808918">
              <a:spcBef>
                <a:spcPts val="91"/>
              </a:spcBef>
              <a:spcAft>
                <a:spcPts val="91"/>
              </a:spcAft>
              <a:buClr>
                <a:srgbClr val="FFE600"/>
              </a:buClr>
              <a:buSzPct val="70000"/>
              <a:buFont typeface="Wingdings" panose="05000000000000000000" pitchFamily="2" charset="2"/>
              <a:buChar char="v"/>
            </a:pPr>
            <a:r>
              <a:rPr lang="en-US" altLang="zh-TW" sz="998">
                <a:solidFill>
                  <a:srgbClr val="000000"/>
                </a:solidFill>
                <a:latin typeface="EYInterstate Light" pitchFamily="2" charset="0"/>
                <a:ea typeface="+mn-ea"/>
                <a:cs typeface="Arial" panose="020B0604020202020204" pitchFamily="34" charset="0"/>
              </a:rPr>
              <a:t>Setup the CCoE process maps for Incident, Problem, Change, Provisioning, Patching, Images and billing to support the CCoE run model</a:t>
            </a:r>
          </a:p>
          <a:p>
            <a:pPr marL="569823" lvl="1" indent="-155505" algn="just" defTabSz="808918">
              <a:spcBef>
                <a:spcPts val="91"/>
              </a:spcBef>
              <a:spcAft>
                <a:spcPts val="91"/>
              </a:spcAft>
              <a:buClr>
                <a:srgbClr val="FFE600"/>
              </a:buClr>
              <a:buSzPct val="70000"/>
              <a:buFont typeface="Wingdings" panose="05000000000000000000" pitchFamily="2" charset="2"/>
              <a:buChar char="v"/>
            </a:pPr>
            <a:r>
              <a:rPr lang="en-AU" altLang="zh-TW" sz="998">
                <a:solidFill>
                  <a:srgbClr val="000000"/>
                </a:solidFill>
                <a:latin typeface="EYInterstate Light" pitchFamily="2" charset="0"/>
                <a:ea typeface="+mn-ea"/>
                <a:cs typeface="Arial" panose="020B0604020202020204" pitchFamily="34" charset="0"/>
              </a:rPr>
              <a:t>D</a:t>
            </a:r>
            <a:r>
              <a:rPr lang="en-US" altLang="zh-TW" sz="998" err="1">
                <a:solidFill>
                  <a:srgbClr val="000000"/>
                </a:solidFill>
                <a:latin typeface="EYInterstate Light" pitchFamily="2" charset="0"/>
                <a:ea typeface="+mn-ea"/>
                <a:cs typeface="Arial" panose="020B0604020202020204" pitchFamily="34" charset="0"/>
              </a:rPr>
              <a:t>efined</a:t>
            </a:r>
            <a:r>
              <a:rPr lang="en-US" altLang="zh-TW" sz="998">
                <a:solidFill>
                  <a:srgbClr val="000000"/>
                </a:solidFill>
                <a:latin typeface="EYInterstate Light" pitchFamily="2" charset="0"/>
                <a:ea typeface="+mn-ea"/>
                <a:cs typeface="Arial" panose="020B0604020202020204" pitchFamily="34" charset="0"/>
              </a:rPr>
              <a:t> the service catalog &amp; request process to request IaaS &amp; PaaS based Azure services in an automated manner</a:t>
            </a:r>
          </a:p>
          <a:p>
            <a:pPr marL="569823" lvl="1" indent="-155505" algn="just" defTabSz="808918">
              <a:spcBef>
                <a:spcPts val="91"/>
              </a:spcBef>
              <a:spcAft>
                <a:spcPts val="91"/>
              </a:spcAft>
              <a:buClr>
                <a:srgbClr val="FFE600"/>
              </a:buClr>
              <a:buSzPct val="70000"/>
              <a:buFont typeface="Wingdings" panose="05000000000000000000" pitchFamily="2" charset="2"/>
              <a:buChar char="v"/>
            </a:pPr>
            <a:r>
              <a:rPr lang="en-AU" altLang="zh-TW" sz="998">
                <a:solidFill>
                  <a:srgbClr val="000000"/>
                </a:solidFill>
                <a:latin typeface="EYInterstate Light" pitchFamily="2" charset="0"/>
                <a:ea typeface="+mn-ea"/>
                <a:cs typeface="Arial" panose="020B0604020202020204" pitchFamily="34" charset="0"/>
              </a:rPr>
              <a:t>D</a:t>
            </a:r>
            <a:r>
              <a:rPr lang="en-US" altLang="zh-TW" sz="998" err="1">
                <a:solidFill>
                  <a:srgbClr val="000000"/>
                </a:solidFill>
                <a:latin typeface="EYInterstate Light" pitchFamily="2" charset="0"/>
                <a:ea typeface="+mn-ea"/>
                <a:cs typeface="Arial" panose="020B0604020202020204" pitchFamily="34" charset="0"/>
              </a:rPr>
              <a:t>efined</a:t>
            </a:r>
            <a:r>
              <a:rPr lang="en-US" altLang="zh-TW" sz="998">
                <a:solidFill>
                  <a:srgbClr val="000000"/>
                </a:solidFill>
                <a:latin typeface="EYInterstate Light" pitchFamily="2" charset="0"/>
                <a:ea typeface="+mn-ea"/>
                <a:cs typeface="Arial" panose="020B0604020202020204" pitchFamily="34" charset="0"/>
              </a:rPr>
              <a:t> the Cloud orchestration, cloud tagging &amp; billing processes and procedures</a:t>
            </a:r>
            <a:endParaRPr lang="en-US" sz="998">
              <a:solidFill>
                <a:srgbClr val="646464">
                  <a:lumMod val="50000"/>
                </a:srgbClr>
              </a:solidFill>
              <a:latin typeface="EYInterstate Light" pitchFamily="2" charset="0"/>
              <a:ea typeface="EYInterstate" charset="0"/>
              <a:cs typeface="Arial" panose="020B0604020202020204" pitchFamily="34" charset="0"/>
            </a:endParaRP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597" y="5667057"/>
            <a:ext cx="7326373" cy="806311"/>
          </a:xfrm>
          <a:prstGeom prst="rect">
            <a:avLst/>
          </a:prstGeom>
          <a:noFill/>
        </p:spPr>
        <p:txBody>
          <a:bodyPr wrap="square" lIns="0" tIns="0" rIns="0" bIns="0" rtlCol="0">
            <a:spAutoFit/>
          </a:bodyPr>
          <a:lstStyle/>
          <a:p>
            <a:pPr marL="177714" indent="-177714" defTabSz="829361" eaLnBrk="1" hangingPunct="1">
              <a:spcAft>
                <a:spcPts val="300"/>
              </a:spcAft>
              <a:buClr>
                <a:srgbClr val="FFD503"/>
              </a:buClr>
              <a:buSzPct val="70000"/>
              <a:buFont typeface="Arial" pitchFamily="34" charset="0"/>
              <a:buChar char="►"/>
              <a:defRPr/>
            </a:pPr>
            <a:r>
              <a:rPr lang="en-AU" altLang="zh-TW" sz="998">
                <a:solidFill>
                  <a:srgbClr val="000000"/>
                </a:solidFill>
                <a:latin typeface="EYInterstate Light" pitchFamily="2" charset="0"/>
                <a:ea typeface="新細明體" panose="02020500000000000000" pitchFamily="18" charset="-120"/>
                <a:cs typeface="+mn-cs"/>
              </a:rPr>
              <a:t>The Cloud Strategy set the guardrails and boundaries for cloud adoption across AIA Group and its business units and provided an underpinning strategy that enabled AIA to migrate 500 apps to Azure</a:t>
            </a:r>
          </a:p>
          <a:p>
            <a:pPr marL="177714" indent="-177714" defTabSz="829361" eaLnBrk="1" hangingPunct="1">
              <a:spcAft>
                <a:spcPts val="300"/>
              </a:spcAft>
              <a:buClr>
                <a:srgbClr val="FFD503"/>
              </a:buClr>
              <a:buSzPct val="70000"/>
              <a:buFont typeface="Arial" pitchFamily="34" charset="0"/>
              <a:buChar char="►"/>
              <a:defRPr/>
            </a:pPr>
            <a:r>
              <a:rPr lang="en-AU" altLang="zh-TW" sz="998">
                <a:solidFill>
                  <a:srgbClr val="000000"/>
                </a:solidFill>
                <a:latin typeface="EYInterstate Light" pitchFamily="2" charset="0"/>
                <a:ea typeface="新細明體" panose="02020500000000000000" pitchFamily="18" charset="-120"/>
                <a:cs typeface="+mn-cs"/>
              </a:rPr>
              <a:t>The Cloud Centre of Excellence was established and is providing governance, provisioning, billing, management &amp; support to applications seeking to migrate workload to cloud &amp; also supporting those applications that are built using cloud-native services</a:t>
            </a:r>
            <a:endParaRPr lang="en-US" altLang="zh-TW" sz="998">
              <a:solidFill>
                <a:srgbClr val="000000"/>
              </a:solidFill>
              <a:latin typeface="EYInterstate Light" pitchFamily="2" charset="0"/>
              <a:ea typeface="新細明體" panose="02020500000000000000" pitchFamily="18" charset="-120"/>
              <a:cs typeface="+mn-cs"/>
            </a:endParaRPr>
          </a:p>
        </p:txBody>
      </p:sp>
      <p:pic>
        <p:nvPicPr>
          <p:cNvPr id="2" name="Picture 1">
            <a:extLst>
              <a:ext uri="{FF2B5EF4-FFF2-40B4-BE49-F238E27FC236}">
                <a16:creationId xmlns:a16="http://schemas.microsoft.com/office/drawing/2014/main" id="{B6888005-54AD-4863-BBFD-61843B83C757}"/>
              </a:ext>
            </a:extLst>
          </p:cNvPr>
          <p:cNvPicPr>
            <a:picLocks noChangeAspect="1"/>
          </p:cNvPicPr>
          <p:nvPr/>
        </p:nvPicPr>
        <p:blipFill>
          <a:blip r:embed="rId8"/>
          <a:stretch>
            <a:fillRect/>
          </a:stretch>
        </p:blipFill>
        <p:spPr>
          <a:xfrm>
            <a:off x="858330" y="2923613"/>
            <a:ext cx="2773042" cy="1534160"/>
          </a:xfrm>
          <a:prstGeom prst="rect">
            <a:avLst/>
          </a:prstGeom>
        </p:spPr>
      </p:pic>
      <p:pic>
        <p:nvPicPr>
          <p:cNvPr id="6" name="Picture 5">
            <a:extLst>
              <a:ext uri="{FF2B5EF4-FFF2-40B4-BE49-F238E27FC236}">
                <a16:creationId xmlns:a16="http://schemas.microsoft.com/office/drawing/2014/main" id="{2EB0B9A3-6049-4B0E-8BD1-3ECC5EE772D7}"/>
              </a:ext>
            </a:extLst>
          </p:cNvPr>
          <p:cNvPicPr>
            <a:picLocks noChangeAspect="1"/>
          </p:cNvPicPr>
          <p:nvPr/>
        </p:nvPicPr>
        <p:blipFill rotWithShape="1">
          <a:blip r:embed="rId9"/>
          <a:srcRect t="3066" b="1015"/>
          <a:stretch/>
        </p:blipFill>
        <p:spPr>
          <a:xfrm>
            <a:off x="858329" y="4669171"/>
            <a:ext cx="2770039" cy="1438981"/>
          </a:xfrm>
          <a:prstGeom prst="rect">
            <a:avLst/>
          </a:prstGeom>
        </p:spPr>
      </p:pic>
      <p:pic>
        <p:nvPicPr>
          <p:cNvPr id="8" name="Picture 7">
            <a:extLst>
              <a:ext uri="{FF2B5EF4-FFF2-40B4-BE49-F238E27FC236}">
                <a16:creationId xmlns:a16="http://schemas.microsoft.com/office/drawing/2014/main" id="{4E0680B8-5A9A-4090-A8CE-0DCAFC26FC19}"/>
              </a:ext>
            </a:extLst>
          </p:cNvPr>
          <p:cNvPicPr>
            <a:picLocks noChangeAspect="1"/>
          </p:cNvPicPr>
          <p:nvPr/>
        </p:nvPicPr>
        <p:blipFill>
          <a:blip r:embed="rId10"/>
          <a:stretch>
            <a:fillRect/>
          </a:stretch>
        </p:blipFill>
        <p:spPr>
          <a:xfrm>
            <a:off x="858329" y="1224439"/>
            <a:ext cx="2770039" cy="1567633"/>
          </a:xfrm>
          <a:prstGeom prst="rect">
            <a:avLst/>
          </a:prstGeom>
        </p:spPr>
      </p:pic>
    </p:spTree>
    <p:extLst>
      <p:ext uri="{BB962C8B-B14F-4D97-AF65-F5344CB8AC3E}">
        <p14:creationId xmlns:p14="http://schemas.microsoft.com/office/powerpoint/2010/main" val="4363085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80585"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361"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dirty="0"/>
              <a:t>Case Study 4: AIA Corporate Healthcare (Analytica)</a:t>
            </a:r>
          </a:p>
        </p:txBody>
      </p:sp>
      <p:grpSp>
        <p:nvGrpSpPr>
          <p:cNvPr id="10" name="Group 9">
            <a:extLst>
              <a:ext uri="{FF2B5EF4-FFF2-40B4-BE49-F238E27FC236}">
                <a16:creationId xmlns:a16="http://schemas.microsoft.com/office/drawing/2014/main" id="{7C6AF280-80C9-452F-A64E-7EA9A2AE31DD}"/>
              </a:ext>
            </a:extLst>
          </p:cNvPr>
          <p:cNvGrpSpPr/>
          <p:nvPr/>
        </p:nvGrpSpPr>
        <p:grpSpPr>
          <a:xfrm>
            <a:off x="4131597" y="1202562"/>
            <a:ext cx="7417771" cy="179867"/>
            <a:chOff x="4552129" y="1390071"/>
            <a:chExt cx="8178436" cy="198312"/>
          </a:xfrm>
        </p:grpSpPr>
        <p:cxnSp>
          <p:nvCxnSpPr>
            <p:cNvPr id="109" name="Straight Connector 108">
              <a:extLst>
                <a:ext uri="{FF2B5EF4-FFF2-40B4-BE49-F238E27FC236}">
                  <a16:creationId xmlns:a16="http://schemas.microsoft.com/office/drawing/2014/main" id="{492FBBDE-0EED-4F0B-8761-B6F3C369BF61}"/>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110" name="Rectangle 109">
              <a:extLst>
                <a:ext uri="{FF2B5EF4-FFF2-40B4-BE49-F238E27FC236}">
                  <a16:creationId xmlns:a16="http://schemas.microsoft.com/office/drawing/2014/main" id="{93360ED6-8BFF-4EE2-BFCD-90C778987CA4}"/>
                </a:ext>
              </a:extLst>
            </p:cNvPr>
            <p:cNvSpPr>
              <a:spLocks/>
            </p:cNvSpPr>
            <p:nvPr/>
          </p:nvSpPr>
          <p:spPr>
            <a:xfrm>
              <a:off x="4552129" y="1390071"/>
              <a:ext cx="6799759" cy="169669"/>
            </a:xfrm>
            <a:prstGeom prst="rect">
              <a:avLst/>
            </a:prstGeom>
          </p:spPr>
          <p:txBody>
            <a:bodyPr wrap="square" lIns="0" tIns="0" rIns="0" bIns="0">
              <a:spAutoFit/>
            </a:bodyPr>
            <a:lstStyle/>
            <a:p>
              <a:pPr defTabSz="829361" eaLnBrk="1" hangingPunct="1">
                <a:spcAft>
                  <a:spcPts val="600"/>
                </a:spcAft>
                <a:buClr>
                  <a:srgbClr val="FFE600"/>
                </a:buClr>
                <a:buSzPct val="80000"/>
                <a:defRPr/>
              </a:pPr>
              <a:r>
                <a:rPr lang="en-US" sz="1000" b="1" kern="0">
                  <a:solidFill>
                    <a:srgbClr val="006BAF"/>
                  </a:solidFill>
                  <a:latin typeface="EYInterstate"/>
                  <a:ea typeface="+mn-ea"/>
                  <a:cs typeface="Arial" panose="020B0604020202020204" pitchFamily="34" charset="0"/>
                </a:rPr>
                <a:t>Challenge</a:t>
              </a:r>
            </a:p>
          </p:txBody>
        </p:sp>
      </p:grpSp>
      <p:grpSp>
        <p:nvGrpSpPr>
          <p:cNvPr id="11" name="Group 10">
            <a:extLst>
              <a:ext uri="{FF2B5EF4-FFF2-40B4-BE49-F238E27FC236}">
                <a16:creationId xmlns:a16="http://schemas.microsoft.com/office/drawing/2014/main" id="{9DF01959-A6D6-4940-A6F9-89C5ED931228}"/>
              </a:ext>
            </a:extLst>
          </p:cNvPr>
          <p:cNvGrpSpPr/>
          <p:nvPr/>
        </p:nvGrpSpPr>
        <p:grpSpPr>
          <a:xfrm>
            <a:off x="4131597" y="3125272"/>
            <a:ext cx="7387305" cy="18145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668"/>
            </a:xfrm>
            <a:prstGeom prst="rect">
              <a:avLst/>
            </a:prstGeom>
          </p:spPr>
          <p:txBody>
            <a:bodyPr wrap="square" lIns="0" tIns="0" rIns="0" bIns="0">
              <a:spAutoFit/>
            </a:bodyPr>
            <a:lstStyle/>
            <a:p>
              <a:pPr defTabSz="829361" eaLnBrk="1" hangingPunct="1">
                <a:spcAft>
                  <a:spcPts val="600"/>
                </a:spcAft>
                <a:buClr>
                  <a:srgbClr val="FFE600"/>
                </a:buClr>
                <a:buSzPct val="80000"/>
                <a:defRPr/>
              </a:pPr>
              <a:r>
                <a:rPr lang="en-US" sz="1000" b="1" kern="0">
                  <a:solidFill>
                    <a:srgbClr val="006BAF"/>
                  </a:solidFill>
                  <a:latin typeface="EYInterstate"/>
                  <a:ea typeface="+mn-ea"/>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597" y="5567394"/>
            <a:ext cx="7326374" cy="19472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668"/>
            </a:xfrm>
            <a:prstGeom prst="rect">
              <a:avLst/>
            </a:prstGeom>
          </p:spPr>
          <p:txBody>
            <a:bodyPr wrap="square" lIns="0" tIns="0" rIns="0" bIns="0">
              <a:spAutoFit/>
            </a:bodyPr>
            <a:lstStyle/>
            <a:p>
              <a:pPr defTabSz="829361" eaLnBrk="1" hangingPunct="1">
                <a:spcAft>
                  <a:spcPts val="600"/>
                </a:spcAft>
                <a:buClr>
                  <a:srgbClr val="FFE600"/>
                </a:buClr>
                <a:buSzPct val="80000"/>
                <a:defRPr/>
              </a:pPr>
              <a:r>
                <a:rPr lang="en-IN" sz="1000" b="1" kern="0">
                  <a:solidFill>
                    <a:srgbClr val="006BAF"/>
                  </a:solidFill>
                  <a:latin typeface="EYInterstate"/>
                  <a:ea typeface="+mn-ea"/>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597" y="1443074"/>
            <a:ext cx="7387304" cy="1612942"/>
          </a:xfrm>
          <a:prstGeom prst="rect">
            <a:avLst/>
          </a:prstGeom>
          <a:noFill/>
        </p:spPr>
        <p:txBody>
          <a:bodyPr wrap="square" lIns="0" tIns="0" rIns="0" bIns="0" rtlCol="0">
            <a:spAutoFit/>
          </a:bodyPr>
          <a:lstStyle/>
          <a:p>
            <a:pPr marL="177714" indent="-177714" defTabSz="829361" eaLnBrk="1" hangingPunct="1">
              <a:spcAft>
                <a:spcPts val="600"/>
              </a:spcAft>
              <a:buClr>
                <a:srgbClr val="FFD503"/>
              </a:buClr>
              <a:buSzPct val="70000"/>
              <a:buFont typeface="Arial" pitchFamily="34" charset="0"/>
              <a:buChar char="►"/>
              <a:defRPr/>
            </a:pPr>
            <a:r>
              <a:rPr lang="en-US" sz="998">
                <a:solidFill>
                  <a:srgbClr val="000000"/>
                </a:solidFill>
                <a:latin typeface="EYInterstate Light" pitchFamily="2" charset="0"/>
                <a:ea typeface="EYInterstate" charset="0"/>
                <a:cs typeface="Arial" panose="020B0604020202020204" pitchFamily="34" charset="0"/>
              </a:rPr>
              <a:t>AIA Group provides an optional subscription based self-service reporting capability to corporates called ‘Analytica’ that enables them to report on the health of their employees as part of the corporate health insurance</a:t>
            </a:r>
          </a:p>
          <a:p>
            <a:pPr marL="177714" indent="-177714" defTabSz="829361" eaLnBrk="1" hangingPunct="1">
              <a:spcAft>
                <a:spcPts val="600"/>
              </a:spcAft>
              <a:buClr>
                <a:srgbClr val="FFD503"/>
              </a:buClr>
              <a:buSzPct val="70000"/>
              <a:buFont typeface="Arial" pitchFamily="34" charset="0"/>
              <a:buChar char="►"/>
              <a:defRPr/>
            </a:pPr>
            <a:r>
              <a:rPr lang="en-US" sz="998">
                <a:solidFill>
                  <a:srgbClr val="000000"/>
                </a:solidFill>
                <a:latin typeface="EYInterstate Light" pitchFamily="2" charset="0"/>
                <a:ea typeface="EYInterstate" charset="0"/>
                <a:cs typeface="Arial" panose="020B0604020202020204" pitchFamily="34" charset="0"/>
              </a:rPr>
              <a:t>The existing solution integrated data from multiple APAC countries , where each set of reports served via Analytica provided required a separate set of integrated data and a set of custom dashboards</a:t>
            </a:r>
          </a:p>
          <a:p>
            <a:pPr marL="177714" indent="-177714" defTabSz="829361" eaLnBrk="1" hangingPunct="1">
              <a:spcAft>
                <a:spcPts val="600"/>
              </a:spcAft>
              <a:buClr>
                <a:srgbClr val="FFD503"/>
              </a:buClr>
              <a:buSzPct val="70000"/>
              <a:buFont typeface="Arial" pitchFamily="34" charset="0"/>
              <a:buChar char="►"/>
              <a:defRPr/>
            </a:pPr>
            <a:r>
              <a:rPr lang="en-US" sz="998">
                <a:solidFill>
                  <a:srgbClr val="000000"/>
                </a:solidFill>
                <a:latin typeface="EYInterstate Light" pitchFamily="2" charset="0"/>
                <a:ea typeface="EYInterstate" charset="0"/>
                <a:cs typeface="Arial" panose="020B0604020202020204" pitchFamily="34" charset="0"/>
              </a:rPr>
              <a:t>The Reports allowed corporates to analyze the types of claims, the hospitals/doctors providing the services and the cost of those claims in comparison to the cost of the policy, but</a:t>
            </a:r>
            <a:r>
              <a:rPr lang="th-TH" sz="998">
                <a:solidFill>
                  <a:srgbClr val="000000"/>
                </a:solidFill>
                <a:latin typeface="EYInterstate Light" pitchFamily="2" charset="0"/>
                <a:ea typeface="EYInterstate" charset="0"/>
                <a:cs typeface="Arial" panose="020B0604020202020204" pitchFamily="34" charset="0"/>
              </a:rPr>
              <a:t> </a:t>
            </a:r>
            <a:r>
              <a:rPr lang="en-US" sz="998">
                <a:solidFill>
                  <a:srgbClr val="000000"/>
                </a:solidFill>
                <a:latin typeface="EYInterstate Light" pitchFamily="2" charset="0"/>
                <a:ea typeface="EYInterstate" charset="0"/>
                <a:cs typeface="Arial" panose="020B0604020202020204" pitchFamily="34" charset="0"/>
              </a:rPr>
              <a:t>HR department within multi-national corporates had no regional view of this information and struggled to consolidate this information into a cohesive dataset</a:t>
            </a:r>
          </a:p>
          <a:p>
            <a:pPr marL="177714" indent="-177714" defTabSz="829361" eaLnBrk="1" hangingPunct="1">
              <a:spcAft>
                <a:spcPts val="600"/>
              </a:spcAft>
              <a:buClr>
                <a:srgbClr val="FFD503"/>
              </a:buClr>
              <a:buSzPct val="70000"/>
              <a:buFont typeface="Arial" pitchFamily="34" charset="0"/>
              <a:buChar char="►"/>
              <a:defRPr/>
            </a:pPr>
            <a:r>
              <a:rPr lang="en-US" sz="998">
                <a:solidFill>
                  <a:srgbClr val="000000"/>
                </a:solidFill>
                <a:latin typeface="EYInterstate Light" pitchFamily="2" charset="0"/>
                <a:ea typeface="EYInterstate" charset="0"/>
                <a:cs typeface="Arial" panose="020B0604020202020204" pitchFamily="34" charset="0"/>
              </a:rPr>
              <a:t>Rendering of the Reports via the user interface was taking up to 30seconds resulting in a poor user experience and adoption by multi-nationals. The existing Analytica solution was not scalable or portable to Cloud</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597" y="3378765"/>
            <a:ext cx="7326373" cy="2342308"/>
          </a:xfrm>
          <a:prstGeom prst="rect">
            <a:avLst/>
          </a:prstGeom>
          <a:noFill/>
        </p:spPr>
        <p:txBody>
          <a:bodyPr wrap="square" lIns="0" tIns="0" rIns="0" bIns="0" rtlCol="0">
            <a:spAutoFit/>
          </a:bodyPr>
          <a:lstStyle/>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mn-ea"/>
                <a:cs typeface="Arial" panose="020B0604020202020204" pitchFamily="34" charset="0"/>
              </a:rPr>
              <a:t>EY conducted an assessment of the Architecture and recommended that AIA engage EY DnA to re-write the solution to address the usability and performance concerns </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mn-ea"/>
                <a:cs typeface="Arial" panose="020B0604020202020204" pitchFamily="34" charset="0"/>
              </a:rPr>
              <a:t>EY defined a new Target Architecture for the solution encompassing a newly modelled Operational Data Store and Data Warehouse with ETL integrating data from multiple countries into a single data set. This was built using SSIS on a SQL Server MPP database. The Architecture was designed to be portable to Public Cloud</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mn-ea"/>
                <a:cs typeface="Arial" panose="020B0604020202020204" pitchFamily="34" charset="0"/>
              </a:rPr>
              <a:t>To solve for the Reporting issues, EY designed a set of tool agnostic wireframes that could be built on any visualization tool. The wireframes provided a templated approach to reporting that would facilitate deployment to multi-nationals and local companies. The wireframes were implemented on AIA’s existing tooling SAS Visual Analytics and exposed to end users through a web based portal</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mn-ea"/>
                <a:cs typeface="Arial" panose="020B0604020202020204" pitchFamily="34" charset="0"/>
              </a:rPr>
              <a:t>Fine grained access control was implemented at row level to ensure that corporate data from separate countries was isolated. HR was provided with a regional view of ALL data to facilitate Asia Pacific regional reporting</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mn-ea"/>
                <a:cs typeface="Arial" panose="020B0604020202020204" pitchFamily="34" charset="0"/>
              </a:rPr>
              <a:t>EY also wrote an independent BI tooling assessment that assessed AIA’s future state requirements against market leading BI tools. The report will be used to inform AIA’s future reporting &amp; visualization direction for Analytica</a:t>
            </a:r>
          </a:p>
          <a:p>
            <a:pPr marL="177714" indent="-177714" defTabSz="829361" eaLnBrk="1" hangingPunct="1">
              <a:spcAft>
                <a:spcPts val="300"/>
              </a:spcAft>
              <a:buClr>
                <a:srgbClr val="FFD503"/>
              </a:buClr>
              <a:buSzPct val="70000"/>
              <a:buFont typeface="Arial" pitchFamily="34" charset="0"/>
              <a:buChar char="►"/>
              <a:defRPr/>
            </a:pPr>
            <a:endParaRPr lang="en-US" altLang="zh-TW" sz="998">
              <a:solidFill>
                <a:srgbClr val="000000"/>
              </a:solidFill>
              <a:latin typeface="EYInterstate Light" pitchFamily="2" charset="0"/>
              <a:ea typeface="+mn-ea"/>
              <a:cs typeface="Arial" panose="020B0604020202020204" pitchFamily="34" charset="0"/>
            </a:endParaRP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597" y="5798130"/>
            <a:ext cx="7326373" cy="998350"/>
          </a:xfrm>
          <a:prstGeom prst="rect">
            <a:avLst/>
          </a:prstGeom>
          <a:noFill/>
        </p:spPr>
        <p:txBody>
          <a:bodyPr wrap="square" lIns="0" tIns="0" rIns="0" bIns="0" rtlCol="0">
            <a:spAutoFit/>
          </a:bodyPr>
          <a:lstStyle/>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新細明體" panose="02020500000000000000" pitchFamily="18" charset="-120"/>
                <a:cs typeface="+mn-cs"/>
              </a:rPr>
              <a:t>AIA Group Health saw significant performance improvements on report rendering from 30seconds to 3 seconds</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新細明體" panose="02020500000000000000" pitchFamily="18" charset="-120"/>
                <a:cs typeface="+mn-cs"/>
              </a:rPr>
              <a:t>The development of a single Operational Data Store and DataMart has reduced the support and maintenance costs significantly</a:t>
            </a:r>
          </a:p>
          <a:p>
            <a:pPr marL="177714" indent="-177714" defTabSz="829361" eaLnBrk="1" hangingPunct="1">
              <a:spcAft>
                <a:spcPts val="300"/>
              </a:spcAft>
              <a:buClr>
                <a:srgbClr val="FFD503"/>
              </a:buClr>
              <a:buSzPct val="70000"/>
              <a:buFont typeface="Arial" pitchFamily="34" charset="0"/>
              <a:buChar char="►"/>
              <a:defRPr/>
            </a:pPr>
            <a:r>
              <a:rPr lang="en-US" altLang="zh-TW" sz="998">
                <a:solidFill>
                  <a:srgbClr val="000000"/>
                </a:solidFill>
                <a:latin typeface="EYInterstate Light" pitchFamily="2" charset="0"/>
                <a:ea typeface="新細明體" panose="02020500000000000000" pitchFamily="18" charset="-120"/>
                <a:cs typeface="+mn-cs"/>
              </a:rPr>
              <a:t>Analytica is now scheduled to be rolled out to a further 18 countries with the new wireframes and dashboards providing a more modern user interface coupled with enhanced usability and the new solution was built within 8 weeks in comparison to the original development of Analytica which took 2 years to build and deploy</a:t>
            </a:r>
          </a:p>
        </p:txBody>
      </p:sp>
      <p:pic>
        <p:nvPicPr>
          <p:cNvPr id="18" name="Picture 17">
            <a:extLst>
              <a:ext uri="{FF2B5EF4-FFF2-40B4-BE49-F238E27FC236}">
                <a16:creationId xmlns:a16="http://schemas.microsoft.com/office/drawing/2014/main" id="{1312622F-6D79-4FB8-84A2-1B4D382D4B71}"/>
              </a:ext>
            </a:extLst>
          </p:cNvPr>
          <p:cNvPicPr>
            <a:picLocks noChangeAspect="1"/>
          </p:cNvPicPr>
          <p:nvPr/>
        </p:nvPicPr>
        <p:blipFill>
          <a:blip r:embed="rId8"/>
          <a:stretch>
            <a:fillRect/>
          </a:stretch>
        </p:blipFill>
        <p:spPr>
          <a:xfrm>
            <a:off x="732686" y="1193412"/>
            <a:ext cx="3151541" cy="1772698"/>
          </a:xfrm>
          <a:prstGeom prst="rect">
            <a:avLst/>
          </a:prstGeom>
        </p:spPr>
      </p:pic>
      <p:pic>
        <p:nvPicPr>
          <p:cNvPr id="21" name="Picture 20">
            <a:extLst>
              <a:ext uri="{FF2B5EF4-FFF2-40B4-BE49-F238E27FC236}">
                <a16:creationId xmlns:a16="http://schemas.microsoft.com/office/drawing/2014/main" id="{CDA471A8-C509-44A0-B81C-AE6296844047}"/>
              </a:ext>
            </a:extLst>
          </p:cNvPr>
          <p:cNvPicPr>
            <a:picLocks noChangeAspect="1"/>
          </p:cNvPicPr>
          <p:nvPr/>
        </p:nvPicPr>
        <p:blipFill>
          <a:blip r:embed="rId9"/>
          <a:stretch>
            <a:fillRect/>
          </a:stretch>
        </p:blipFill>
        <p:spPr>
          <a:xfrm>
            <a:off x="732686" y="3040960"/>
            <a:ext cx="3151541" cy="1772698"/>
          </a:xfrm>
          <a:prstGeom prst="rect">
            <a:avLst/>
          </a:prstGeom>
        </p:spPr>
      </p:pic>
      <p:pic>
        <p:nvPicPr>
          <p:cNvPr id="22" name="Picture 21">
            <a:extLst>
              <a:ext uri="{FF2B5EF4-FFF2-40B4-BE49-F238E27FC236}">
                <a16:creationId xmlns:a16="http://schemas.microsoft.com/office/drawing/2014/main" id="{CAFF3DD4-6CAF-45F7-90B1-BE34A1ADA8C2}"/>
              </a:ext>
            </a:extLst>
          </p:cNvPr>
          <p:cNvPicPr>
            <a:picLocks noChangeAspect="1"/>
          </p:cNvPicPr>
          <p:nvPr/>
        </p:nvPicPr>
        <p:blipFill>
          <a:blip r:embed="rId10"/>
          <a:stretch>
            <a:fillRect/>
          </a:stretch>
        </p:blipFill>
        <p:spPr>
          <a:xfrm>
            <a:off x="732686" y="4932133"/>
            <a:ext cx="3151541" cy="1772698"/>
          </a:xfrm>
          <a:prstGeom prst="rect">
            <a:avLst/>
          </a:prstGeom>
        </p:spPr>
      </p:pic>
    </p:spTree>
    <p:extLst>
      <p:ext uri="{BB962C8B-B14F-4D97-AF65-F5344CB8AC3E}">
        <p14:creationId xmlns:p14="http://schemas.microsoft.com/office/powerpoint/2010/main" val="20805595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295" y="1441"/>
          <a:ext cx="1440" cy="1440"/>
        </p:xfrm>
        <a:graphic>
          <a:graphicData uri="http://schemas.openxmlformats.org/presentationml/2006/ole">
            <mc:AlternateContent xmlns:mc="http://schemas.openxmlformats.org/markup-compatibility/2006">
              <mc:Choice xmlns:v="urn:schemas-microsoft-com:vml" Requires="v">
                <p:oleObj spid="_x0000_s282633"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295" y="144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2855" y="0"/>
            <a:ext cx="143985" cy="1439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361"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2628184F-BB51-4520-9982-EA93EF50D704}"/>
              </a:ext>
            </a:extLst>
          </p:cNvPr>
          <p:cNvSpPr>
            <a:spLocks noGrp="1"/>
          </p:cNvSpPr>
          <p:nvPr>
            <p:ph type="title"/>
          </p:nvPr>
        </p:nvSpPr>
        <p:spPr>
          <a:xfrm>
            <a:off x="858329" y="551814"/>
            <a:ext cx="10611799" cy="672625"/>
          </a:xfrm>
        </p:spPr>
        <p:txBody>
          <a:bodyPr vert="horz" lIns="0" tIns="0" rIns="0" bIns="0" rtlCol="0" anchor="t" anchorCtr="0">
            <a:noAutofit/>
          </a:bodyPr>
          <a:lstStyle/>
          <a:p>
            <a:r>
              <a:rPr lang="en-US" dirty="0"/>
              <a:t>Case Study 5: AIA Vitality Analytics for AIA Group</a:t>
            </a:r>
          </a:p>
        </p:txBody>
      </p:sp>
      <p:grpSp>
        <p:nvGrpSpPr>
          <p:cNvPr id="10" name="Group 9">
            <a:extLst>
              <a:ext uri="{FF2B5EF4-FFF2-40B4-BE49-F238E27FC236}">
                <a16:creationId xmlns:a16="http://schemas.microsoft.com/office/drawing/2014/main" id="{7C6AF280-80C9-452F-A64E-7EA9A2AE31DD}"/>
              </a:ext>
            </a:extLst>
          </p:cNvPr>
          <p:cNvGrpSpPr/>
          <p:nvPr/>
        </p:nvGrpSpPr>
        <p:grpSpPr>
          <a:xfrm>
            <a:off x="4131597" y="1202562"/>
            <a:ext cx="7417771" cy="179867"/>
            <a:chOff x="4552129" y="1390071"/>
            <a:chExt cx="8178436" cy="198312"/>
          </a:xfrm>
        </p:grpSpPr>
        <p:cxnSp>
          <p:nvCxnSpPr>
            <p:cNvPr id="109" name="Straight Connector 108">
              <a:extLst>
                <a:ext uri="{FF2B5EF4-FFF2-40B4-BE49-F238E27FC236}">
                  <a16:creationId xmlns:a16="http://schemas.microsoft.com/office/drawing/2014/main" id="{492FBBDE-0EED-4F0B-8761-B6F3C369BF61}"/>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110" name="Rectangle 109">
              <a:extLst>
                <a:ext uri="{FF2B5EF4-FFF2-40B4-BE49-F238E27FC236}">
                  <a16:creationId xmlns:a16="http://schemas.microsoft.com/office/drawing/2014/main" id="{93360ED6-8BFF-4EE2-BFCD-90C778987CA4}"/>
                </a:ext>
              </a:extLst>
            </p:cNvPr>
            <p:cNvSpPr>
              <a:spLocks/>
            </p:cNvSpPr>
            <p:nvPr/>
          </p:nvSpPr>
          <p:spPr>
            <a:xfrm>
              <a:off x="4552129" y="1390071"/>
              <a:ext cx="6799759" cy="169669"/>
            </a:xfrm>
            <a:prstGeom prst="rect">
              <a:avLst/>
            </a:prstGeom>
          </p:spPr>
          <p:txBody>
            <a:bodyPr wrap="square" lIns="0" tIns="0" rIns="0" bIns="0">
              <a:spAutoFit/>
            </a:bodyPr>
            <a:lstStyle/>
            <a:p>
              <a:pPr defTabSz="829361" eaLnBrk="1" hangingPunct="1">
                <a:spcAft>
                  <a:spcPts val="600"/>
                </a:spcAft>
                <a:buClr>
                  <a:srgbClr val="FFE600"/>
                </a:buClr>
                <a:buSzPct val="80000"/>
                <a:defRPr/>
              </a:pPr>
              <a:r>
                <a:rPr lang="en-US" sz="1000" b="1" kern="0">
                  <a:solidFill>
                    <a:srgbClr val="006BAF"/>
                  </a:solidFill>
                  <a:latin typeface="EYInterstate"/>
                  <a:ea typeface="EYInterstate" charset="0"/>
                  <a:cs typeface="Arial" panose="020B0604020202020204" pitchFamily="34" charset="0"/>
                </a:rPr>
                <a:t>Challenge</a:t>
              </a:r>
            </a:p>
          </p:txBody>
        </p:sp>
      </p:grpSp>
      <p:grpSp>
        <p:nvGrpSpPr>
          <p:cNvPr id="11" name="Group 10">
            <a:extLst>
              <a:ext uri="{FF2B5EF4-FFF2-40B4-BE49-F238E27FC236}">
                <a16:creationId xmlns:a16="http://schemas.microsoft.com/office/drawing/2014/main" id="{9DF01959-A6D6-4940-A6F9-89C5ED931228}"/>
              </a:ext>
            </a:extLst>
          </p:cNvPr>
          <p:cNvGrpSpPr/>
          <p:nvPr/>
        </p:nvGrpSpPr>
        <p:grpSpPr>
          <a:xfrm>
            <a:off x="4131597" y="2336452"/>
            <a:ext cx="7387305" cy="18145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668"/>
            </a:xfrm>
            <a:prstGeom prst="rect">
              <a:avLst/>
            </a:prstGeom>
          </p:spPr>
          <p:txBody>
            <a:bodyPr wrap="square" lIns="0" tIns="0" rIns="0" bIns="0">
              <a:spAutoFit/>
            </a:bodyPr>
            <a:lstStyle/>
            <a:p>
              <a:pPr defTabSz="829361" eaLnBrk="1" hangingPunct="1">
                <a:spcAft>
                  <a:spcPts val="600"/>
                </a:spcAft>
                <a:buClr>
                  <a:srgbClr val="FFE600"/>
                </a:buClr>
                <a:buSzPct val="80000"/>
                <a:defRPr/>
              </a:pPr>
              <a:r>
                <a:rPr lang="en-US" sz="1000"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597" y="4861423"/>
            <a:ext cx="7326374" cy="19472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668"/>
            </a:xfrm>
            <a:prstGeom prst="rect">
              <a:avLst/>
            </a:prstGeom>
          </p:spPr>
          <p:txBody>
            <a:bodyPr wrap="square" lIns="0" tIns="0" rIns="0" bIns="0">
              <a:spAutoFit/>
            </a:bodyPr>
            <a:lstStyle/>
            <a:p>
              <a:pPr defTabSz="829361" eaLnBrk="1" hangingPunct="1">
                <a:spcAft>
                  <a:spcPts val="600"/>
                </a:spcAft>
                <a:buClr>
                  <a:srgbClr val="FFE600"/>
                </a:buClr>
                <a:buSzPct val="80000"/>
                <a:defRPr/>
              </a:pPr>
              <a:r>
                <a:rPr lang="en-IN" sz="1000"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597" y="1408518"/>
            <a:ext cx="7387304" cy="846386"/>
          </a:xfrm>
          <a:prstGeom prst="rect">
            <a:avLst/>
          </a:prstGeom>
          <a:noFill/>
        </p:spPr>
        <p:txBody>
          <a:bodyPr wrap="square" lIns="0" tIns="0" rIns="0" bIns="0" rtlCol="0">
            <a:spAutoFit/>
          </a:bodyPr>
          <a:lstStyle/>
          <a:p>
            <a:pPr marL="177714" indent="-177714" defTabSz="829361" eaLnBrk="1" hangingPunct="1">
              <a:spcAft>
                <a:spcPts val="6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AIA Vitality is a science-backed wellness program that works with customers to support them to make real changes to their health. The rollout of Vitality to 11 countries resulted in a massive increase of data provided by customers to AIA. Vitality data could be used to better service customers and develop new product propositions to meet changing customer demands</a:t>
            </a:r>
          </a:p>
          <a:p>
            <a:pPr marL="177714" indent="-177714" defTabSz="829361" eaLnBrk="1" hangingPunct="1">
              <a:spcAft>
                <a:spcPts val="6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Due to the success of Vitality, there was an increasing demand from business users for timely and better access to Vitality data and tools for self-service analytics</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597" y="2580520"/>
            <a:ext cx="7326373" cy="2231380"/>
          </a:xfrm>
          <a:prstGeom prst="rect">
            <a:avLst/>
          </a:prstGeom>
          <a:noFill/>
        </p:spPr>
        <p:txBody>
          <a:bodyPr wrap="square" lIns="0" tIns="0" rIns="0" bIns="0" rtlCol="0">
            <a:spAutoFit/>
          </a:bodyPr>
          <a:lstStyle/>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EY defined a new Target Architecture for Vitality Analytica encompassing data sourcing from 11 countries into newly modelled Operational Data Store and Data Warehouse</a:t>
            </a:r>
          </a:p>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Azure Data Factory was used to integrate data from multiple countries into a Data Lake built using Azure blob storage</a:t>
            </a:r>
          </a:p>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The Data Lake was designed for portability to Azure Data Lake and was used to feed the data marts on Azure SQL Warehouse</a:t>
            </a:r>
          </a:p>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The Datamart was overlaid with a series of Tableau dashboards and reports that were served across multiple countries.</a:t>
            </a:r>
          </a:p>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An Analytics workbench was developed on Azure using VMs pre-built with IDE tooling and libraries such as Jupyter, Anaconda and R. This was built on Azure using SSIS on a SQL Server MPP database. The Architecture was designed to be portable to Public Cloud. This enabled Data Scientists to execute machine learning models that integrated Vitality data with policy, claims and premium data to identify and detect fraudulent claims across the AIA Group</a:t>
            </a:r>
          </a:p>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To ensure success, EY developed an Analytics Target Operating model for Analytics to support Vitality and the wider AIA Analytics teams</a:t>
            </a:r>
          </a:p>
          <a:p>
            <a:pPr marL="177714" indent="-177714" defTabSz="829361" eaLnBrk="1" hangingPunct="1">
              <a:spcAft>
                <a:spcPts val="300"/>
              </a:spcAft>
              <a:buClr>
                <a:srgbClr val="FFD503"/>
              </a:buClr>
              <a:buSzPct val="70000"/>
              <a:buFont typeface="Arial" pitchFamily="34" charset="0"/>
              <a:buChar char="►"/>
              <a:defRPr/>
            </a:pPr>
            <a:endParaRPr lang="en-US" sz="1000">
              <a:solidFill>
                <a:srgbClr val="646464">
                  <a:lumMod val="50000"/>
                </a:srgbClr>
              </a:solidFill>
              <a:latin typeface="EYInterstate Light" pitchFamily="2" charset="0"/>
              <a:ea typeface="EYInterstate" charset="0"/>
              <a:cs typeface="Arial" panose="020B0604020202020204" pitchFamily="34" charset="0"/>
            </a:endParaRP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597" y="5120433"/>
            <a:ext cx="7326373" cy="884858"/>
          </a:xfrm>
          <a:prstGeom prst="rect">
            <a:avLst/>
          </a:prstGeom>
          <a:noFill/>
        </p:spPr>
        <p:txBody>
          <a:bodyPr wrap="square" lIns="0" tIns="0" rIns="0" bIns="0" rtlCol="0">
            <a:spAutoFit/>
          </a:bodyPr>
          <a:lstStyle/>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Integration of once siloed data to facilitate advanced analytics on IOT/Vitality data deployed onto Azure</a:t>
            </a:r>
          </a:p>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Alignment with AIA’s ‘cloud first’ strategy with the use of Azure to host the analytics platform</a:t>
            </a:r>
          </a:p>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Deployment of consistent tooling to support analytics and new ways of working across the region</a:t>
            </a:r>
          </a:p>
          <a:p>
            <a:pPr marL="177714" indent="-177714" defTabSz="829361" eaLnBrk="1" hangingPunct="1">
              <a:spcAft>
                <a:spcPts val="300"/>
              </a:spcAft>
              <a:buClr>
                <a:srgbClr val="FFD503"/>
              </a:buClr>
              <a:buSzPct val="70000"/>
              <a:buFont typeface="Arial" pitchFamily="34" charset="0"/>
              <a:buChar char="►"/>
              <a:defRPr/>
            </a:pPr>
            <a:r>
              <a:rPr lang="en-US" sz="1000">
                <a:solidFill>
                  <a:srgbClr val="646464">
                    <a:lumMod val="50000"/>
                  </a:srgbClr>
                </a:solidFill>
                <a:latin typeface="EYInterstate Light" pitchFamily="2" charset="0"/>
                <a:ea typeface="EYInterstate" charset="0"/>
                <a:cs typeface="Arial" panose="020B0604020202020204" pitchFamily="34" charset="0"/>
              </a:rPr>
              <a:t>Implementation of an Analytics Target Operating model resulting in the appointment of a Chief Data Officer to drive analytics adoption across the wider AIA Group</a:t>
            </a:r>
          </a:p>
        </p:txBody>
      </p:sp>
      <p:pic>
        <p:nvPicPr>
          <p:cNvPr id="2" name="Picture 1">
            <a:extLst>
              <a:ext uri="{FF2B5EF4-FFF2-40B4-BE49-F238E27FC236}">
                <a16:creationId xmlns:a16="http://schemas.microsoft.com/office/drawing/2014/main" id="{CDE3D6E2-659A-4D82-889B-E7159D30A4EA}"/>
              </a:ext>
            </a:extLst>
          </p:cNvPr>
          <p:cNvPicPr>
            <a:picLocks noChangeAspect="1"/>
          </p:cNvPicPr>
          <p:nvPr/>
        </p:nvPicPr>
        <p:blipFill>
          <a:blip r:embed="rId8"/>
          <a:stretch>
            <a:fillRect/>
          </a:stretch>
        </p:blipFill>
        <p:spPr>
          <a:xfrm>
            <a:off x="732686" y="3105641"/>
            <a:ext cx="3151541" cy="1825892"/>
          </a:xfrm>
          <a:prstGeom prst="rect">
            <a:avLst/>
          </a:prstGeom>
        </p:spPr>
      </p:pic>
      <p:pic>
        <p:nvPicPr>
          <p:cNvPr id="7" name="Picture 6">
            <a:extLst>
              <a:ext uri="{FF2B5EF4-FFF2-40B4-BE49-F238E27FC236}">
                <a16:creationId xmlns:a16="http://schemas.microsoft.com/office/drawing/2014/main" id="{D03BC8E3-B9A7-44F5-A292-7288404C12A9}"/>
              </a:ext>
            </a:extLst>
          </p:cNvPr>
          <p:cNvPicPr>
            <a:picLocks noChangeAspect="1"/>
          </p:cNvPicPr>
          <p:nvPr/>
        </p:nvPicPr>
        <p:blipFill>
          <a:blip r:embed="rId9"/>
          <a:stretch>
            <a:fillRect/>
          </a:stretch>
        </p:blipFill>
        <p:spPr>
          <a:xfrm>
            <a:off x="732686" y="1037091"/>
            <a:ext cx="3151541" cy="2036555"/>
          </a:xfrm>
          <a:prstGeom prst="rect">
            <a:avLst/>
          </a:prstGeom>
        </p:spPr>
      </p:pic>
      <p:pic>
        <p:nvPicPr>
          <p:cNvPr id="9" name="Picture 8">
            <a:extLst>
              <a:ext uri="{FF2B5EF4-FFF2-40B4-BE49-F238E27FC236}">
                <a16:creationId xmlns:a16="http://schemas.microsoft.com/office/drawing/2014/main" id="{DB07E346-4B47-489E-A473-6C73641DB0D7}"/>
              </a:ext>
            </a:extLst>
          </p:cNvPr>
          <p:cNvPicPr>
            <a:picLocks noChangeAspect="1"/>
          </p:cNvPicPr>
          <p:nvPr/>
        </p:nvPicPr>
        <p:blipFill>
          <a:blip r:embed="rId10"/>
          <a:stretch>
            <a:fillRect/>
          </a:stretch>
        </p:blipFill>
        <p:spPr>
          <a:xfrm>
            <a:off x="732686" y="4999651"/>
            <a:ext cx="3151541" cy="1739913"/>
          </a:xfrm>
          <a:prstGeom prst="rect">
            <a:avLst/>
          </a:prstGeom>
        </p:spPr>
      </p:pic>
    </p:spTree>
    <p:extLst>
      <p:ext uri="{BB962C8B-B14F-4D97-AF65-F5344CB8AC3E}">
        <p14:creationId xmlns:p14="http://schemas.microsoft.com/office/powerpoint/2010/main" val="2544078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615" y="1621"/>
          <a:ext cx="1440" cy="1440"/>
        </p:xfrm>
        <a:graphic>
          <a:graphicData uri="http://schemas.openxmlformats.org/presentationml/2006/ole">
            <mc:AlternateContent xmlns:mc="http://schemas.openxmlformats.org/markup-compatibility/2006">
              <mc:Choice xmlns:v="urn:schemas-microsoft-com:vml" Requires="v">
                <p:oleObj spid="_x0000_s284681"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615" y="162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3176" y="181"/>
            <a:ext cx="143977" cy="14397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269"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grpSp>
        <p:nvGrpSpPr>
          <p:cNvPr id="11" name="Group 10">
            <a:extLst>
              <a:ext uri="{FF2B5EF4-FFF2-40B4-BE49-F238E27FC236}">
                <a16:creationId xmlns:a16="http://schemas.microsoft.com/office/drawing/2014/main" id="{9DF01959-A6D6-4940-A6F9-89C5ED931228}"/>
              </a:ext>
            </a:extLst>
          </p:cNvPr>
          <p:cNvGrpSpPr/>
          <p:nvPr/>
        </p:nvGrpSpPr>
        <p:grpSpPr>
          <a:xfrm>
            <a:off x="4131701" y="2862495"/>
            <a:ext cx="7386917" cy="18144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701" y="4956272"/>
            <a:ext cx="7325989" cy="19471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IN" sz="999"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701" y="1443180"/>
            <a:ext cx="7386917" cy="1614673"/>
          </a:xfrm>
          <a:prstGeom prst="rect">
            <a:avLst/>
          </a:prstGeom>
          <a:noFill/>
        </p:spPr>
        <p:txBody>
          <a:bodyPr wrap="square" lIns="0" tIns="0" rIns="0" bIns="0" rtlCol="0">
            <a:spAutoFit/>
          </a:bodyPr>
          <a:lstStyle/>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he client has engaged EY’s Data and Analytics team to design and implement a cloud-based Global Data and Analytics Platform (GDAP) to enable scalable and consistent analytics operations to each of its 5 regional divisions – Australia/NZ, North America, Europe, Asia-Pacific and Group. </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nalytics teams have expressed a need for a standard platform that enables data acquisition, provides consistent tools for the model development life cycle and streamlines deployment of insights </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he proposed cloud platform was required to solve critical challenges such as long analytics model development and deployment cycles, fragmented data, lack of consistent tools, difficulty in collaboration and exposed risk due to limited security controls in the current environments</a:t>
            </a:r>
          </a:p>
          <a:p>
            <a:pPr marL="177694" indent="-177694" defTabSz="829269" eaLnBrk="1" hangingPunct="1">
              <a:spcAft>
                <a:spcPts val="599"/>
              </a:spcAft>
              <a:buClr>
                <a:srgbClr val="FFD503"/>
              </a:buClr>
              <a:buSzPct val="70000"/>
              <a:buFont typeface="Arial" pitchFamily="34" charset="0"/>
              <a:buChar char="►"/>
              <a:defRPr/>
            </a:pPr>
            <a:endParaRPr lang="en-US" sz="999">
              <a:solidFill>
                <a:srgbClr val="646464">
                  <a:lumMod val="50000"/>
                </a:srgbClr>
              </a:solidFill>
              <a:latin typeface="EYInterstate Light" pitchFamily="2" charset="0"/>
              <a:ea typeface="EYInterstate" charset="0"/>
              <a:cs typeface="Arial" panose="020B0604020202020204" pitchFamily="34" charset="0"/>
            </a:endParaRP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701" y="3106551"/>
            <a:ext cx="7807607" cy="1728037"/>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EY designed and implemented the platform using a template based Reference Architecture for cloud based analytics platforms </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The architecture embeds security by design, with the solution implementing controls and tools to encrypt, audit and monitor data in motion and at rest, as well as integrated user-access management </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The Client’s legal, compliance and risk teams were engaged early in the design phase to ensure platform compliance with divisional specific regulators and jurisdictions </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Analytics and Actuarial teams were engaged throughout the implementation to incorporate user perspectives and requirements. A business enablement stream was responsible for user training, user acceptance training and user adoption – as well as the co-ordination of the global rollout </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EY leveraged strong resources from its Project Management competency to ensure successful and timely delivery</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A managed services team was deployed to support the platform during BAU </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701" y="5195524"/>
            <a:ext cx="7940556" cy="1422441"/>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Y enabled industry leading data and analytics capabilities to support the analytics teams to deliver on client’s strategic agenda:</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Globally deployed a global data and analytics platform on Azure enabling a consistent and scalable collaborative analytics environment, including self-service capabilities </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ccelerated business value from reduced cycle times for analytics model development </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ccessible data with improved quality and coverage within divisions enabling the focus on analytic insights/delivery </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New analytics ways of working, streamlined collaboration and best practice sharing between divisional spokes and hub </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Improved information security and data controls to ensure data access and privacy, as well as regional compliance across all divisions </a:t>
            </a:r>
          </a:p>
        </p:txBody>
      </p:sp>
      <p:sp>
        <p:nvSpPr>
          <p:cNvPr id="22" name="Title 2">
            <a:extLst>
              <a:ext uri="{FF2B5EF4-FFF2-40B4-BE49-F238E27FC236}">
                <a16:creationId xmlns:a16="http://schemas.microsoft.com/office/drawing/2014/main" id="{26F3A1B1-A050-4639-856C-0E78E591ACB1}"/>
              </a:ext>
            </a:extLst>
          </p:cNvPr>
          <p:cNvSpPr>
            <a:spLocks noGrp="1"/>
          </p:cNvSpPr>
          <p:nvPr>
            <p:ph type="title"/>
          </p:nvPr>
        </p:nvSpPr>
        <p:spPr>
          <a:xfrm>
            <a:off x="855875" y="551814"/>
            <a:ext cx="11216382" cy="672625"/>
          </a:xfrm>
        </p:spPr>
        <p:txBody>
          <a:bodyPr vert="horz" lIns="0" tIns="0" rIns="0" bIns="0" rtlCol="0" anchor="t" anchorCtr="0">
            <a:noAutofit/>
          </a:bodyPr>
          <a:lstStyle/>
          <a:p>
            <a:r>
              <a:rPr lang="en-US" dirty="0"/>
              <a:t>Case Study 6: Global Data and Analytics platform design and implementation for large global insurers in APAC</a:t>
            </a:r>
          </a:p>
        </p:txBody>
      </p:sp>
      <p:grpSp>
        <p:nvGrpSpPr>
          <p:cNvPr id="23" name="Group 22">
            <a:extLst>
              <a:ext uri="{FF2B5EF4-FFF2-40B4-BE49-F238E27FC236}">
                <a16:creationId xmlns:a16="http://schemas.microsoft.com/office/drawing/2014/main" id="{67A33567-8097-47AD-BF2F-7F6D9B9B8B42}"/>
              </a:ext>
            </a:extLst>
          </p:cNvPr>
          <p:cNvGrpSpPr/>
          <p:nvPr/>
        </p:nvGrpSpPr>
        <p:grpSpPr>
          <a:xfrm>
            <a:off x="4131700" y="1201658"/>
            <a:ext cx="7417382" cy="179858"/>
            <a:chOff x="4552129" y="1390071"/>
            <a:chExt cx="8178436" cy="198312"/>
          </a:xfrm>
        </p:grpSpPr>
        <p:cxnSp>
          <p:nvCxnSpPr>
            <p:cNvPr id="24" name="Straight Connector 23">
              <a:extLst>
                <a:ext uri="{FF2B5EF4-FFF2-40B4-BE49-F238E27FC236}">
                  <a16:creationId xmlns:a16="http://schemas.microsoft.com/office/drawing/2014/main" id="{F2097131-4DB8-44CB-BA6C-CF14DD87C2BB}"/>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25" name="Rectangle 24">
              <a:extLst>
                <a:ext uri="{FF2B5EF4-FFF2-40B4-BE49-F238E27FC236}">
                  <a16:creationId xmlns:a16="http://schemas.microsoft.com/office/drawing/2014/main" id="{A92C561B-21BF-43D3-984C-69D772C54B4B}"/>
                </a:ext>
              </a:extLst>
            </p:cNvPr>
            <p:cNvSpPr>
              <a:spLocks/>
            </p:cNvSpPr>
            <p:nvPr/>
          </p:nvSpPr>
          <p:spPr>
            <a:xfrm>
              <a:off x="4552129" y="1390071"/>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Challenge</a:t>
              </a:r>
            </a:p>
          </p:txBody>
        </p:sp>
      </p:grpSp>
      <p:grpSp>
        <p:nvGrpSpPr>
          <p:cNvPr id="21" name="Group 20">
            <a:extLst>
              <a:ext uri="{FF2B5EF4-FFF2-40B4-BE49-F238E27FC236}">
                <a16:creationId xmlns:a16="http://schemas.microsoft.com/office/drawing/2014/main" id="{D40D0D95-AC4F-48DB-9D63-63F053C24FE9}"/>
              </a:ext>
            </a:extLst>
          </p:cNvPr>
          <p:cNvGrpSpPr>
            <a:grpSpLocks/>
          </p:cNvGrpSpPr>
          <p:nvPr/>
        </p:nvGrpSpPr>
        <p:grpSpPr>
          <a:xfrm>
            <a:off x="731520" y="4976106"/>
            <a:ext cx="3154680" cy="1773936"/>
            <a:chOff x="476110" y="3972776"/>
            <a:chExt cx="2016000" cy="1008000"/>
          </a:xfrm>
        </p:grpSpPr>
        <p:sp>
          <p:nvSpPr>
            <p:cNvPr id="26" name="Rectangle 25">
              <a:extLst>
                <a:ext uri="{FF2B5EF4-FFF2-40B4-BE49-F238E27FC236}">
                  <a16:creationId xmlns:a16="http://schemas.microsoft.com/office/drawing/2014/main" id="{0B513327-16E9-4DDB-9FA4-8E93633200E3}"/>
                </a:ext>
              </a:extLst>
            </p:cNvPr>
            <p:cNvSpPr/>
            <p:nvPr/>
          </p:nvSpPr>
          <p:spPr>
            <a:xfrm>
              <a:off x="476110" y="3972776"/>
              <a:ext cx="2016000" cy="1008000"/>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1050">
                  <a:solidFill>
                    <a:schemeClr val="tx1"/>
                  </a:solidFill>
                  <a:latin typeface="EYInterstate Light" panose="02000506000000020004" pitchFamily="2" charset="0"/>
                </a:rPr>
                <a:t>Insert picture/slide screenshot here</a:t>
              </a:r>
            </a:p>
          </p:txBody>
        </p:sp>
        <p:pic>
          <p:nvPicPr>
            <p:cNvPr id="30" name="Picture 29">
              <a:extLst>
                <a:ext uri="{FF2B5EF4-FFF2-40B4-BE49-F238E27FC236}">
                  <a16:creationId xmlns:a16="http://schemas.microsoft.com/office/drawing/2014/main" id="{B47B10BA-A803-45C6-A714-BFEA3C7A9E7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57623" y="4027781"/>
              <a:ext cx="1654681" cy="900000"/>
            </a:xfrm>
            <a:prstGeom prst="rect">
              <a:avLst/>
            </a:prstGeom>
            <a:solidFill>
              <a:schemeClr val="tx2"/>
            </a:solidFill>
            <a:ln>
              <a:noFill/>
            </a:ln>
          </p:spPr>
        </p:pic>
      </p:grpSp>
      <p:grpSp>
        <p:nvGrpSpPr>
          <p:cNvPr id="31" name="Group 30">
            <a:extLst>
              <a:ext uri="{FF2B5EF4-FFF2-40B4-BE49-F238E27FC236}">
                <a16:creationId xmlns:a16="http://schemas.microsoft.com/office/drawing/2014/main" id="{772034E3-504A-42D2-AD95-9B732B53043C}"/>
              </a:ext>
            </a:extLst>
          </p:cNvPr>
          <p:cNvGrpSpPr>
            <a:grpSpLocks/>
          </p:cNvGrpSpPr>
          <p:nvPr/>
        </p:nvGrpSpPr>
        <p:grpSpPr>
          <a:xfrm>
            <a:off x="731520" y="1197864"/>
            <a:ext cx="3154680" cy="1773936"/>
            <a:chOff x="6041564" y="1236570"/>
            <a:chExt cx="7071350" cy="4961123"/>
          </a:xfrm>
        </p:grpSpPr>
        <p:pic>
          <p:nvPicPr>
            <p:cNvPr id="32" name="Picture 31">
              <a:extLst>
                <a:ext uri="{FF2B5EF4-FFF2-40B4-BE49-F238E27FC236}">
                  <a16:creationId xmlns:a16="http://schemas.microsoft.com/office/drawing/2014/main" id="{03CA8D69-BBEB-485E-9BF9-E5356B8C6AB4}"/>
                </a:ext>
              </a:extLst>
            </p:cNvPr>
            <p:cNvPicPr>
              <a:picLocks noChangeAspect="1"/>
            </p:cNvPicPr>
            <p:nvPr/>
          </p:nvPicPr>
          <p:blipFill>
            <a:blip r:embed="rId9"/>
            <a:stretch>
              <a:fillRect/>
            </a:stretch>
          </p:blipFill>
          <p:spPr>
            <a:xfrm>
              <a:off x="6041564" y="1236570"/>
              <a:ext cx="7071350" cy="4930866"/>
            </a:xfrm>
            <a:prstGeom prst="rect">
              <a:avLst/>
            </a:prstGeom>
          </p:spPr>
        </p:pic>
        <p:sp>
          <p:nvSpPr>
            <p:cNvPr id="33" name="Rectangle 32">
              <a:extLst>
                <a:ext uri="{FF2B5EF4-FFF2-40B4-BE49-F238E27FC236}">
                  <a16:creationId xmlns:a16="http://schemas.microsoft.com/office/drawing/2014/main" id="{5C90CC2B-DA5E-4B37-8AC3-00BBF17D44A3}"/>
                </a:ext>
              </a:extLst>
            </p:cNvPr>
            <p:cNvSpPr/>
            <p:nvPr/>
          </p:nvSpPr>
          <p:spPr>
            <a:xfrm>
              <a:off x="7914640" y="1236570"/>
              <a:ext cx="325120" cy="22315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endParaRPr>
            </a:p>
          </p:txBody>
        </p:sp>
        <p:sp>
          <p:nvSpPr>
            <p:cNvPr id="34" name="Rectangle 33">
              <a:extLst>
                <a:ext uri="{FF2B5EF4-FFF2-40B4-BE49-F238E27FC236}">
                  <a16:creationId xmlns:a16="http://schemas.microsoft.com/office/drawing/2014/main" id="{4366C45A-7C79-4399-BB8D-EAA2524059E3}"/>
                </a:ext>
              </a:extLst>
            </p:cNvPr>
            <p:cNvSpPr/>
            <p:nvPr/>
          </p:nvSpPr>
          <p:spPr>
            <a:xfrm>
              <a:off x="6054698" y="5816456"/>
              <a:ext cx="1616102" cy="38123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a:solidFill>
                  <a:schemeClr val="tx1"/>
                </a:solidFill>
              </a:endParaRPr>
            </a:p>
          </p:txBody>
        </p:sp>
      </p:grpSp>
      <p:pic>
        <p:nvPicPr>
          <p:cNvPr id="35" name="Picture 34">
            <a:extLst>
              <a:ext uri="{FF2B5EF4-FFF2-40B4-BE49-F238E27FC236}">
                <a16:creationId xmlns:a16="http://schemas.microsoft.com/office/drawing/2014/main" id="{1634CFF7-384D-4F70-B90C-D69B5521FBF0}"/>
              </a:ext>
            </a:extLst>
          </p:cNvPr>
          <p:cNvPicPr>
            <a:picLocks/>
          </p:cNvPicPr>
          <p:nvPr/>
        </p:nvPicPr>
        <p:blipFill>
          <a:blip r:embed="rId10" cstate="print">
            <a:extLst>
              <a:ext uri="{28A0092B-C50C-407E-A947-70E740481C1C}">
                <a14:useLocalDpi xmlns:a14="http://schemas.microsoft.com/office/drawing/2010/main"/>
              </a:ext>
            </a:extLst>
          </a:blip>
          <a:stretch>
            <a:fillRect/>
          </a:stretch>
        </p:blipFill>
        <p:spPr>
          <a:xfrm>
            <a:off x="731520" y="3086985"/>
            <a:ext cx="3154680" cy="1773936"/>
          </a:xfrm>
          <a:prstGeom prst="rect">
            <a:avLst/>
          </a:prstGeom>
          <a:ln w="28575">
            <a:noFill/>
          </a:ln>
        </p:spPr>
      </p:pic>
    </p:spTree>
    <p:extLst>
      <p:ext uri="{BB962C8B-B14F-4D97-AF65-F5344CB8AC3E}">
        <p14:creationId xmlns:p14="http://schemas.microsoft.com/office/powerpoint/2010/main" val="26758730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615" y="1621"/>
          <a:ext cx="1440" cy="1440"/>
        </p:xfrm>
        <a:graphic>
          <a:graphicData uri="http://schemas.openxmlformats.org/presentationml/2006/ole">
            <mc:AlternateContent xmlns:mc="http://schemas.openxmlformats.org/markup-compatibility/2006">
              <mc:Choice xmlns:v="urn:schemas-microsoft-com:vml" Requires="v">
                <p:oleObj spid="_x0000_s286729"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615" y="162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3176" y="181"/>
            <a:ext cx="143977" cy="14397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269"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grpSp>
        <p:nvGrpSpPr>
          <p:cNvPr id="11" name="Group 10">
            <a:extLst>
              <a:ext uri="{FF2B5EF4-FFF2-40B4-BE49-F238E27FC236}">
                <a16:creationId xmlns:a16="http://schemas.microsoft.com/office/drawing/2014/main" id="{9DF01959-A6D6-4940-A6F9-89C5ED931228}"/>
              </a:ext>
            </a:extLst>
          </p:cNvPr>
          <p:cNvGrpSpPr/>
          <p:nvPr/>
        </p:nvGrpSpPr>
        <p:grpSpPr>
          <a:xfrm>
            <a:off x="4131701" y="2776588"/>
            <a:ext cx="7386917" cy="200062"/>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701" y="4776585"/>
            <a:ext cx="7325989" cy="214692"/>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IN" sz="999"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701" y="1453118"/>
            <a:ext cx="7386917" cy="1307153"/>
          </a:xfrm>
          <a:prstGeom prst="rect">
            <a:avLst/>
          </a:prstGeom>
          <a:noFill/>
        </p:spPr>
        <p:txBody>
          <a:bodyPr wrap="square" lIns="0" tIns="0" rIns="0" bIns="0" rtlCol="0">
            <a:spAutoFit/>
          </a:bodyPr>
          <a:lstStyle/>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he client has engaged EY’s Data and Analytics team to review their data and reporting capabilities</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ogether with the CIO and his business partners across Finance, Supply Chain and Marketing EY identified challenges in the data and reporting landscape and created a roadmap to improve data and analytics capabilities.</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Y continued the engagement with a business data acquisition stream as well as a platform stream to design and implement a cloud-based Data and Analytics Platform.</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his included a migration from the existing platform to the strategic hosting platform on Azure and on-boarding 300+ data sources through an EY developed data quality enabled Ingestion Framework.</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701" y="3019463"/>
            <a:ext cx="7807607" cy="1728037"/>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Conducted </a:t>
            </a:r>
            <a:r>
              <a:rPr lang="en-US" sz="998" err="1">
                <a:solidFill>
                  <a:srgbClr val="646464">
                    <a:lumMod val="50000"/>
                  </a:srgbClr>
                </a:solidFill>
                <a:latin typeface="EYInterstate Light" pitchFamily="2" charset="0"/>
                <a:ea typeface="EYInterstate" charset="0"/>
                <a:cs typeface="Arial" panose="020B0604020202020204" pitchFamily="34" charset="0"/>
              </a:rPr>
              <a:t>prioritisation</a:t>
            </a:r>
            <a:r>
              <a:rPr lang="en-US" sz="998">
                <a:solidFill>
                  <a:srgbClr val="646464">
                    <a:lumMod val="50000"/>
                  </a:srgbClr>
                </a:solidFill>
                <a:latin typeface="EYInterstate Light" pitchFamily="2" charset="0"/>
                <a:ea typeface="EYInterstate" charset="0"/>
                <a:cs typeface="Arial" panose="020B0604020202020204" pitchFamily="34" charset="0"/>
              </a:rPr>
              <a:t> sessions with CFO, CIO and group executives to define critical areas capability uplifts</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Designed and implemented the platform using a template based Reference Architecture for cloud based analytics platforms, Microsoft supported with architectural and cloud guidance and migration approach</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Led the redesign of the infrastructure and security architecture with support from Microsoft and partners</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Leverages Azure as a hosting platform for the architecture, with HDFS as a data layer and DC/OS as a container analytics environment supporting the end 2 end analytics lifecycle</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The Client’s security, infrastructure and enterprise architects were engaged early and often in all phases to ensure platform compliance and embedding security controls</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A data acquisition stream was responsible for on-boarding the right data tagging meta data to automate the ingestion and cataloguing of data elements.</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701" y="5026084"/>
            <a:ext cx="7940556" cy="1729961"/>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Y enabled scalable, templated data and analytics capabilities automating ingestion with meta data cataloguing and a new operation model to deliver to the client’s strategic agenda. </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nabled IT to champion the importance of consistent data platforms, data governance and business ownership of data using practical and efficient processes</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ore platform capabilities like Hadoop data layer, data ingestion, data quality validation, meta data catalogue and extension to business glossary. Self-service data ingestion mechanism and governance. Big data platform integration with enterprise data warehouse.</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zure templates for scalability and simplified maintenance</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ontainer analytics environment for accelerated analytics model development and deployment</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igration of data and applications from the legacy cloud environment to Azure</a:t>
            </a:r>
          </a:p>
        </p:txBody>
      </p:sp>
      <p:sp>
        <p:nvSpPr>
          <p:cNvPr id="22" name="Title 2">
            <a:extLst>
              <a:ext uri="{FF2B5EF4-FFF2-40B4-BE49-F238E27FC236}">
                <a16:creationId xmlns:a16="http://schemas.microsoft.com/office/drawing/2014/main" id="{26F3A1B1-A050-4639-856C-0E78E591ACB1}"/>
              </a:ext>
            </a:extLst>
          </p:cNvPr>
          <p:cNvSpPr>
            <a:spLocks noGrp="1"/>
          </p:cNvSpPr>
          <p:nvPr>
            <p:ph type="title"/>
          </p:nvPr>
        </p:nvSpPr>
        <p:spPr>
          <a:xfrm>
            <a:off x="855875" y="551814"/>
            <a:ext cx="11216382" cy="672625"/>
          </a:xfrm>
        </p:spPr>
        <p:txBody>
          <a:bodyPr vert="horz" lIns="0" tIns="0" rIns="0" bIns="0" rtlCol="0" anchor="t" anchorCtr="0">
            <a:noAutofit/>
          </a:bodyPr>
          <a:lstStyle/>
          <a:p>
            <a:r>
              <a:rPr lang="en-US" dirty="0"/>
              <a:t>Case Study 7: Data and Analytics Platform and Migration to Azure for Fuel and Retail Provider in APAC</a:t>
            </a:r>
          </a:p>
        </p:txBody>
      </p:sp>
      <p:grpSp>
        <p:nvGrpSpPr>
          <p:cNvPr id="23" name="Group 22">
            <a:extLst>
              <a:ext uri="{FF2B5EF4-FFF2-40B4-BE49-F238E27FC236}">
                <a16:creationId xmlns:a16="http://schemas.microsoft.com/office/drawing/2014/main" id="{67A33567-8097-47AD-BF2F-7F6D9B9B8B42}"/>
              </a:ext>
            </a:extLst>
          </p:cNvPr>
          <p:cNvGrpSpPr/>
          <p:nvPr/>
        </p:nvGrpSpPr>
        <p:grpSpPr>
          <a:xfrm>
            <a:off x="4131700" y="1201658"/>
            <a:ext cx="7417382" cy="179858"/>
            <a:chOff x="4552129" y="1390071"/>
            <a:chExt cx="8178436" cy="198312"/>
          </a:xfrm>
        </p:grpSpPr>
        <p:cxnSp>
          <p:nvCxnSpPr>
            <p:cNvPr id="24" name="Straight Connector 23">
              <a:extLst>
                <a:ext uri="{FF2B5EF4-FFF2-40B4-BE49-F238E27FC236}">
                  <a16:creationId xmlns:a16="http://schemas.microsoft.com/office/drawing/2014/main" id="{F2097131-4DB8-44CB-BA6C-CF14DD87C2BB}"/>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25" name="Rectangle 24">
              <a:extLst>
                <a:ext uri="{FF2B5EF4-FFF2-40B4-BE49-F238E27FC236}">
                  <a16:creationId xmlns:a16="http://schemas.microsoft.com/office/drawing/2014/main" id="{A92C561B-21BF-43D3-984C-69D772C54B4B}"/>
                </a:ext>
              </a:extLst>
            </p:cNvPr>
            <p:cNvSpPr>
              <a:spLocks/>
            </p:cNvSpPr>
            <p:nvPr/>
          </p:nvSpPr>
          <p:spPr>
            <a:xfrm>
              <a:off x="4552129" y="1390071"/>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Challenge</a:t>
              </a:r>
            </a:p>
          </p:txBody>
        </p:sp>
      </p:grpSp>
      <p:pic>
        <p:nvPicPr>
          <p:cNvPr id="27" name="Picture 26">
            <a:extLst>
              <a:ext uri="{FF2B5EF4-FFF2-40B4-BE49-F238E27FC236}">
                <a16:creationId xmlns:a16="http://schemas.microsoft.com/office/drawing/2014/main" id="{BE2B6ACD-EEB6-46DF-B91B-18E84983339B}"/>
              </a:ext>
            </a:extLst>
          </p:cNvPr>
          <p:cNvPicPr>
            <a:picLocks/>
          </p:cNvPicPr>
          <p:nvPr/>
        </p:nvPicPr>
        <p:blipFill>
          <a:blip r:embed="rId8"/>
          <a:stretch>
            <a:fillRect/>
          </a:stretch>
        </p:blipFill>
        <p:spPr>
          <a:xfrm>
            <a:off x="731520" y="1197864"/>
            <a:ext cx="3154680" cy="1773936"/>
          </a:xfrm>
          <a:prstGeom prst="rect">
            <a:avLst/>
          </a:prstGeom>
        </p:spPr>
      </p:pic>
      <p:pic>
        <p:nvPicPr>
          <p:cNvPr id="28" name="Picture 27">
            <a:extLst>
              <a:ext uri="{FF2B5EF4-FFF2-40B4-BE49-F238E27FC236}">
                <a16:creationId xmlns:a16="http://schemas.microsoft.com/office/drawing/2014/main" id="{68A6418A-1E90-4A6D-9117-F6C1F0C28EB0}"/>
              </a:ext>
            </a:extLst>
          </p:cNvPr>
          <p:cNvPicPr>
            <a:picLocks/>
          </p:cNvPicPr>
          <p:nvPr/>
        </p:nvPicPr>
        <p:blipFill>
          <a:blip r:embed="rId9"/>
          <a:stretch>
            <a:fillRect/>
          </a:stretch>
        </p:blipFill>
        <p:spPr>
          <a:xfrm>
            <a:off x="731520" y="3126037"/>
            <a:ext cx="3154680" cy="1773936"/>
          </a:xfrm>
          <a:prstGeom prst="rect">
            <a:avLst/>
          </a:prstGeom>
        </p:spPr>
      </p:pic>
      <p:pic>
        <p:nvPicPr>
          <p:cNvPr id="29" name="Picture 28">
            <a:extLst>
              <a:ext uri="{FF2B5EF4-FFF2-40B4-BE49-F238E27FC236}">
                <a16:creationId xmlns:a16="http://schemas.microsoft.com/office/drawing/2014/main" id="{92CDA603-E1DD-4736-8D19-1C1913F38914}"/>
              </a:ext>
            </a:extLst>
          </p:cNvPr>
          <p:cNvPicPr>
            <a:picLocks/>
          </p:cNvPicPr>
          <p:nvPr/>
        </p:nvPicPr>
        <p:blipFill>
          <a:blip r:embed="rId10"/>
          <a:stretch>
            <a:fillRect/>
          </a:stretch>
        </p:blipFill>
        <p:spPr>
          <a:xfrm>
            <a:off x="731520" y="4990257"/>
            <a:ext cx="3154680" cy="1773936"/>
          </a:xfrm>
          <a:prstGeom prst="rect">
            <a:avLst/>
          </a:prstGeom>
        </p:spPr>
      </p:pic>
    </p:spTree>
    <p:extLst>
      <p:ext uri="{BB962C8B-B14F-4D97-AF65-F5344CB8AC3E}">
        <p14:creationId xmlns:p14="http://schemas.microsoft.com/office/powerpoint/2010/main" val="7089472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615" y="1621"/>
          <a:ext cx="1440" cy="1440"/>
        </p:xfrm>
        <a:graphic>
          <a:graphicData uri="http://schemas.openxmlformats.org/presentationml/2006/ole">
            <mc:AlternateContent xmlns:mc="http://schemas.openxmlformats.org/markup-compatibility/2006">
              <mc:Choice xmlns:v="urn:schemas-microsoft-com:vml" Requires="v">
                <p:oleObj spid="_x0000_s288777"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615" y="162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3176" y="181"/>
            <a:ext cx="143977" cy="14397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269"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grpSp>
        <p:nvGrpSpPr>
          <p:cNvPr id="11" name="Group 10">
            <a:extLst>
              <a:ext uri="{FF2B5EF4-FFF2-40B4-BE49-F238E27FC236}">
                <a16:creationId xmlns:a16="http://schemas.microsoft.com/office/drawing/2014/main" id="{9DF01959-A6D6-4940-A6F9-89C5ED931228}"/>
              </a:ext>
            </a:extLst>
          </p:cNvPr>
          <p:cNvGrpSpPr/>
          <p:nvPr/>
        </p:nvGrpSpPr>
        <p:grpSpPr>
          <a:xfrm>
            <a:off x="4131701" y="2753635"/>
            <a:ext cx="7386917" cy="18144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701" y="5315499"/>
            <a:ext cx="7325989" cy="19471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IN" sz="999"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701" y="1443180"/>
            <a:ext cx="7386917" cy="1230337"/>
          </a:xfrm>
          <a:prstGeom prst="rect">
            <a:avLst/>
          </a:prstGeom>
          <a:noFill/>
        </p:spPr>
        <p:txBody>
          <a:bodyPr wrap="square" lIns="0" tIns="0" rIns="0" bIns="0" rtlCol="0">
            <a:spAutoFit/>
          </a:bodyPr>
          <a:lstStyle/>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 large financial services company needed the ability to easily retrieve trade lifecycle information for US Equities and  Fixed Income for regulatory, supervisory and analytical purposes </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Operations support,  regulators and analytical data scientists needed:</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 single golden source of trade information</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Information about complete lifecycle: orders, fill, trades, prices, quantities, times, routes, cancels, splits, etc.</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Respond to FINRA regulatory inquiries - Consolidated Audit Trail (CAT) and Electronic Blue Sheets (EBS)</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701" y="2997691"/>
            <a:ext cx="7807607" cy="2265685"/>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Established overall requirements for the private cloud regulatory platform linking Clients, Accounts, Orders, Fills, Trades (CAT, EBS, OATS)</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Established the detailed architecture, design and data models for the creation of the private cloud Big Data Regulatory platform / data hub</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Established the cloud native technical stack, open source components, and cloud based agile pipeline architecture (ingestion, integration, events and data marts) for various zones along with a detailed DevOps migration and implementation plan</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Established the data catalog and ELDM (logical model) for information related to clients, accounts, orders, routes, fills, trades from internal order management systems, external vendors (Fidessa, Brass/</a:t>
            </a:r>
            <a:r>
              <a:rPr lang="en-US" sz="998" err="1">
                <a:solidFill>
                  <a:srgbClr val="646464">
                    <a:lumMod val="50000"/>
                  </a:srgbClr>
                </a:solidFill>
                <a:latin typeface="EYInterstate Light" pitchFamily="2" charset="0"/>
                <a:ea typeface="EYInterstate" charset="0"/>
                <a:cs typeface="Arial" panose="020B0604020202020204" pitchFamily="34" charset="0"/>
              </a:rPr>
              <a:t>Valdi</a:t>
            </a:r>
            <a:r>
              <a:rPr lang="en-US" sz="998">
                <a:solidFill>
                  <a:srgbClr val="646464">
                    <a:lumMod val="50000"/>
                  </a:srgbClr>
                </a:solidFill>
                <a:latin typeface="EYInterstate Light" pitchFamily="2" charset="0"/>
                <a:ea typeface="EYInterstate" charset="0"/>
                <a:cs typeface="Arial" panose="020B0604020202020204" pitchFamily="34" charset="0"/>
              </a:rPr>
              <a:t>, ACT, ORF, etc.) and OATS (Order Audit Trail Systems)</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Developed, Implemented and Released  the full end to end private cloud big data platform CAT supervisory and EBS platform using: </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Cloud native modules based on Cloudera Data Platform, Apache HDFS (Hadoop), Apache Hive, Apache Impala, Apache </a:t>
            </a:r>
            <a:r>
              <a:rPr lang="en-US" sz="998" err="1">
                <a:solidFill>
                  <a:srgbClr val="646464">
                    <a:lumMod val="50000"/>
                  </a:srgbClr>
                </a:solidFill>
                <a:latin typeface="EYInterstate Light" pitchFamily="2" charset="0"/>
                <a:ea typeface="EYInterstate" charset="0"/>
                <a:cs typeface="Arial" panose="020B0604020202020204" pitchFamily="34" charset="0"/>
              </a:rPr>
              <a:t>NiFi</a:t>
            </a:r>
            <a:r>
              <a:rPr lang="en-US" sz="998">
                <a:solidFill>
                  <a:srgbClr val="646464">
                    <a:lumMod val="50000"/>
                  </a:srgbClr>
                </a:solidFill>
                <a:latin typeface="EYInterstate Light" pitchFamily="2" charset="0"/>
                <a:ea typeface="EYInterstate" charset="0"/>
                <a:cs typeface="Arial" panose="020B0604020202020204" pitchFamily="34" charset="0"/>
              </a:rPr>
              <a:t>, Apache Spark, Python, </a:t>
            </a:r>
            <a:r>
              <a:rPr lang="en-US" sz="998" err="1">
                <a:solidFill>
                  <a:srgbClr val="646464">
                    <a:lumMod val="50000"/>
                  </a:srgbClr>
                </a:solidFill>
                <a:latin typeface="EYInterstate Light" pitchFamily="2" charset="0"/>
                <a:ea typeface="EYInterstate" charset="0"/>
                <a:cs typeface="Arial" panose="020B0604020202020204" pitchFamily="34" charset="0"/>
              </a:rPr>
              <a:t>PySpark</a:t>
            </a:r>
            <a:r>
              <a:rPr lang="en-US" sz="998">
                <a:solidFill>
                  <a:srgbClr val="646464">
                    <a:lumMod val="50000"/>
                  </a:srgbClr>
                </a:solidFill>
                <a:latin typeface="EYInterstate Light" pitchFamily="2" charset="0"/>
                <a:ea typeface="EYInterstate" charset="0"/>
                <a:cs typeface="Arial" panose="020B0604020202020204" pitchFamily="34" charset="0"/>
              </a:rPr>
              <a:t>, Tableau, YARN, MS </a:t>
            </a:r>
            <a:r>
              <a:rPr lang="en-US" sz="998" err="1">
                <a:solidFill>
                  <a:srgbClr val="646464">
                    <a:lumMod val="50000"/>
                  </a:srgbClr>
                </a:solidFill>
                <a:latin typeface="EYInterstate Light" pitchFamily="2" charset="0"/>
                <a:ea typeface="EYInterstate" charset="0"/>
                <a:cs typeface="Arial" panose="020B0604020202020204" pitchFamily="34" charset="0"/>
              </a:rPr>
              <a:t>VSCode</a:t>
            </a:r>
            <a:r>
              <a:rPr lang="en-US" sz="998">
                <a:solidFill>
                  <a:srgbClr val="646464">
                    <a:lumMod val="50000"/>
                  </a:srgbClr>
                </a:solidFill>
                <a:latin typeface="EYInterstate Light" pitchFamily="2" charset="0"/>
                <a:ea typeface="EYInterstate" charset="0"/>
                <a:cs typeface="Arial" panose="020B0604020202020204" pitchFamily="34" charset="0"/>
              </a:rPr>
              <a:t>, Luigi, Autosys, Git and agile DevOps</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Provided a consolidated set of trade lifecycle events linking clients, accounts, orders, routes, fills, trades across the various systems</a:t>
            </a:r>
          </a:p>
          <a:p>
            <a:pPr marL="177694" indent="-177694" defTabSz="829269" eaLnBrk="1" hangingPunct="1">
              <a:spcAft>
                <a:spcPts val="300"/>
              </a:spcAft>
              <a:buClr>
                <a:srgbClr val="FFD503"/>
              </a:buClr>
              <a:buSzPct val="70000"/>
              <a:buFont typeface="Arial" pitchFamily="34" charset="0"/>
              <a:buChar char="►"/>
              <a:defRPr/>
            </a:pPr>
            <a:r>
              <a:rPr lang="en-US" sz="998">
                <a:solidFill>
                  <a:srgbClr val="646464">
                    <a:lumMod val="50000"/>
                  </a:srgbClr>
                </a:solidFill>
                <a:latin typeface="EYInterstate Light" pitchFamily="2" charset="0"/>
                <a:ea typeface="EYInterstate" charset="0"/>
                <a:cs typeface="Arial" panose="020B0604020202020204" pitchFamily="34" charset="0"/>
              </a:rPr>
              <a:t>Purpose built data marts for interactive and batch queries in the BI reporting layer in the private cloud to be ported to Azure</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701" y="5554751"/>
            <a:ext cx="7325988" cy="1230209"/>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Y architected, designed and implemented a modern data warehouse - cloud native Big Data regulatory platform:</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loud native solution architecture and end to end implementation</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ustom built open source private cloud Regulatory Big Data platform for trade lifecycle events and linkages with clients and accounts</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gile Data Lake/Hub pipeline including: ingestion, Integrated data layer, Purpose built data marts for BI reporting and regulatory inquiries and supervisory functions in private cloud</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Unified single source of truth for AI and data scientists to leverage lake, finance and analytics domain</a:t>
            </a:r>
          </a:p>
        </p:txBody>
      </p:sp>
      <p:sp>
        <p:nvSpPr>
          <p:cNvPr id="22" name="Title 2">
            <a:extLst>
              <a:ext uri="{FF2B5EF4-FFF2-40B4-BE49-F238E27FC236}">
                <a16:creationId xmlns:a16="http://schemas.microsoft.com/office/drawing/2014/main" id="{26F3A1B1-A050-4639-856C-0E78E591ACB1}"/>
              </a:ext>
            </a:extLst>
          </p:cNvPr>
          <p:cNvSpPr>
            <a:spLocks noGrp="1"/>
          </p:cNvSpPr>
          <p:nvPr>
            <p:ph type="title"/>
          </p:nvPr>
        </p:nvSpPr>
        <p:spPr/>
        <p:txBody>
          <a:bodyPr vert="horz" lIns="0" tIns="0" rIns="0" bIns="0" rtlCol="0" anchor="t" anchorCtr="0">
            <a:noAutofit/>
          </a:bodyPr>
          <a:lstStyle/>
          <a:p>
            <a:r>
              <a:rPr lang="en-US" dirty="0"/>
              <a:t>Case Study 8: Architected, Designed and Implemented Cloud Native Big Data Regulatory Platform for a large Wealth &amp; Asset Manager</a:t>
            </a:r>
          </a:p>
        </p:txBody>
      </p:sp>
      <p:grpSp>
        <p:nvGrpSpPr>
          <p:cNvPr id="23" name="Group 22">
            <a:extLst>
              <a:ext uri="{FF2B5EF4-FFF2-40B4-BE49-F238E27FC236}">
                <a16:creationId xmlns:a16="http://schemas.microsoft.com/office/drawing/2014/main" id="{67A33567-8097-47AD-BF2F-7F6D9B9B8B42}"/>
              </a:ext>
            </a:extLst>
          </p:cNvPr>
          <p:cNvGrpSpPr/>
          <p:nvPr/>
        </p:nvGrpSpPr>
        <p:grpSpPr>
          <a:xfrm>
            <a:off x="4131700" y="1201658"/>
            <a:ext cx="7417382" cy="179858"/>
            <a:chOff x="4552129" y="1390071"/>
            <a:chExt cx="8178436" cy="198312"/>
          </a:xfrm>
        </p:grpSpPr>
        <p:cxnSp>
          <p:nvCxnSpPr>
            <p:cNvPr id="24" name="Straight Connector 23">
              <a:extLst>
                <a:ext uri="{FF2B5EF4-FFF2-40B4-BE49-F238E27FC236}">
                  <a16:creationId xmlns:a16="http://schemas.microsoft.com/office/drawing/2014/main" id="{F2097131-4DB8-44CB-BA6C-CF14DD87C2BB}"/>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25" name="Rectangle 24">
              <a:extLst>
                <a:ext uri="{FF2B5EF4-FFF2-40B4-BE49-F238E27FC236}">
                  <a16:creationId xmlns:a16="http://schemas.microsoft.com/office/drawing/2014/main" id="{A92C561B-21BF-43D3-984C-69D772C54B4B}"/>
                </a:ext>
              </a:extLst>
            </p:cNvPr>
            <p:cNvSpPr>
              <a:spLocks/>
            </p:cNvSpPr>
            <p:nvPr/>
          </p:nvSpPr>
          <p:spPr>
            <a:xfrm>
              <a:off x="4552129" y="1390071"/>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Challenge</a:t>
              </a:r>
            </a:p>
          </p:txBody>
        </p:sp>
      </p:grpSp>
      <p:pic>
        <p:nvPicPr>
          <p:cNvPr id="27" name="Picture 26">
            <a:extLst>
              <a:ext uri="{FF2B5EF4-FFF2-40B4-BE49-F238E27FC236}">
                <a16:creationId xmlns:a16="http://schemas.microsoft.com/office/drawing/2014/main" id="{0669B14C-924C-4CE9-8B38-B4A677DE346F}"/>
              </a:ext>
            </a:extLst>
          </p:cNvPr>
          <p:cNvPicPr>
            <a:picLocks noChangeAspect="1"/>
          </p:cNvPicPr>
          <p:nvPr/>
        </p:nvPicPr>
        <p:blipFill rotWithShape="1">
          <a:blip r:embed="rId8"/>
          <a:srcRect l="2218" r="928" b="7920"/>
          <a:stretch/>
        </p:blipFill>
        <p:spPr>
          <a:xfrm>
            <a:off x="732967" y="1501232"/>
            <a:ext cx="3151376" cy="1470235"/>
          </a:xfrm>
          <a:prstGeom prst="rect">
            <a:avLst/>
          </a:prstGeom>
        </p:spPr>
      </p:pic>
      <p:pic>
        <p:nvPicPr>
          <p:cNvPr id="28" name="Picture 27">
            <a:extLst>
              <a:ext uri="{FF2B5EF4-FFF2-40B4-BE49-F238E27FC236}">
                <a16:creationId xmlns:a16="http://schemas.microsoft.com/office/drawing/2014/main" id="{ABE0AAE6-65B5-4E65-A0EB-7DC9722ABA8A}"/>
              </a:ext>
            </a:extLst>
          </p:cNvPr>
          <p:cNvPicPr>
            <a:picLocks noChangeAspect="1"/>
          </p:cNvPicPr>
          <p:nvPr/>
        </p:nvPicPr>
        <p:blipFill>
          <a:blip r:embed="rId9"/>
          <a:stretch>
            <a:fillRect/>
          </a:stretch>
        </p:blipFill>
        <p:spPr>
          <a:xfrm>
            <a:off x="732967" y="3069836"/>
            <a:ext cx="3151376" cy="2133104"/>
          </a:xfrm>
          <a:prstGeom prst="rect">
            <a:avLst/>
          </a:prstGeom>
        </p:spPr>
      </p:pic>
      <p:pic>
        <p:nvPicPr>
          <p:cNvPr id="29" name="Picture 28" descr="A screenshot of a cell phone&#10;&#10;Description automatically generated">
            <a:extLst>
              <a:ext uri="{FF2B5EF4-FFF2-40B4-BE49-F238E27FC236}">
                <a16:creationId xmlns:a16="http://schemas.microsoft.com/office/drawing/2014/main" id="{1F460633-6820-46FE-B6A5-BD1E9DB919CA}"/>
              </a:ext>
            </a:extLst>
          </p:cNvPr>
          <p:cNvPicPr/>
          <p:nvPr/>
        </p:nvPicPr>
        <p:blipFill>
          <a:blip r:embed="rId10"/>
          <a:stretch>
            <a:fillRect/>
          </a:stretch>
        </p:blipFill>
        <p:spPr>
          <a:xfrm>
            <a:off x="732967" y="5312830"/>
            <a:ext cx="3151376" cy="1357055"/>
          </a:xfrm>
          <a:prstGeom prst="rect">
            <a:avLst/>
          </a:prstGeom>
        </p:spPr>
      </p:pic>
    </p:spTree>
    <p:extLst>
      <p:ext uri="{BB962C8B-B14F-4D97-AF65-F5344CB8AC3E}">
        <p14:creationId xmlns:p14="http://schemas.microsoft.com/office/powerpoint/2010/main" val="35189518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615" y="1621"/>
          <a:ext cx="1440" cy="1440"/>
        </p:xfrm>
        <a:graphic>
          <a:graphicData uri="http://schemas.openxmlformats.org/presentationml/2006/ole">
            <mc:AlternateContent xmlns:mc="http://schemas.openxmlformats.org/markup-compatibility/2006">
              <mc:Choice xmlns:v="urn:schemas-microsoft-com:vml" Requires="v">
                <p:oleObj spid="_x0000_s290825"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615" y="162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3176" y="181"/>
            <a:ext cx="143977" cy="14397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269"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grpSp>
        <p:nvGrpSpPr>
          <p:cNvPr id="11" name="Group 10">
            <a:extLst>
              <a:ext uri="{FF2B5EF4-FFF2-40B4-BE49-F238E27FC236}">
                <a16:creationId xmlns:a16="http://schemas.microsoft.com/office/drawing/2014/main" id="{9DF01959-A6D6-4940-A6F9-89C5ED931228}"/>
              </a:ext>
            </a:extLst>
          </p:cNvPr>
          <p:cNvGrpSpPr/>
          <p:nvPr/>
        </p:nvGrpSpPr>
        <p:grpSpPr>
          <a:xfrm>
            <a:off x="4131701" y="2965902"/>
            <a:ext cx="7386917" cy="18144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701" y="5361575"/>
            <a:ext cx="7325989" cy="19471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IN" sz="999"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701" y="1443180"/>
            <a:ext cx="7386917" cy="1384097"/>
          </a:xfrm>
          <a:prstGeom prst="rect">
            <a:avLst/>
          </a:prstGeom>
          <a:noFill/>
        </p:spPr>
        <p:txBody>
          <a:bodyPr wrap="square" lIns="0" tIns="0" rIns="0" bIns="0" rtlCol="0">
            <a:spAutoFit/>
          </a:bodyPr>
          <a:lstStyle/>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While looking to accelerate multi-cloud adoption, this investment bank was looking to solve the following key management challenges:</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eet business requirements that required encryption keys and data be managed by separate entities</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eet key management requirements for key expiration, rotation and management environment security</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llow reuse of key management infrastructure for cloud service provider managed key management services as well as third-party standalone cloud services </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 Protection for stored keys using a certified, tamper-resistant hardware device and full tamper-proof audit log</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701" y="3209957"/>
            <a:ext cx="7325988" cy="1768433"/>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fined an execution roadmap based on business requirements for addressing the firm’s immediate hybrid cloud capability needs as well as provides for long term scalability to multi-cloud environment</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signed a key management process that accounted for entire key lifecycle: key generation, activation, expiration, post-activation, escrow, and destruction</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rchitected and deployed the solution for Gemalto SafeNet Hardware Security Modules (HSM) across redundant datacenter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rchitected and deployed redundant Gemalto SafeNet KeySecure virtual security appliances integrated with Gemalto HSM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onducted a Slack EKM implementation allowing Lazard to bring their own keys (generated on Gemalto HSMs), allowing lot more control and visibility over their sensitive data</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oordinated the client’s Microsoft Dynamics 365 implementation with Customer Managed Key (CMK) on Azure</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signed Box KeySafe integration AWS Key Management Service with Customer Master Key generated on Gemalto HSM</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701" y="5620573"/>
            <a:ext cx="7325988" cy="1114921"/>
          </a:xfrm>
          <a:prstGeom prst="rect">
            <a:avLst/>
          </a:prstGeom>
          <a:noFill/>
        </p:spPr>
        <p:txBody>
          <a:bodyPr wrap="square" lIns="0" tIns="0" rIns="0" bIns="0" rtlCol="0">
            <a:spAutoFit/>
          </a:bodyPr>
          <a:lstStyle/>
          <a:p>
            <a:pPr defTabSz="829269" eaLnBrk="1" hangingPunct="1">
              <a:spcAft>
                <a:spcPts val="300"/>
              </a:spcAft>
              <a:buClr>
                <a:srgbClr val="FFD503"/>
              </a:buClr>
              <a:buSzPct val="70000"/>
              <a:defRPr/>
            </a:pPr>
            <a:r>
              <a:rPr lang="en-US" sz="999">
                <a:solidFill>
                  <a:srgbClr val="646464">
                    <a:lumMod val="50000"/>
                  </a:srgbClr>
                </a:solidFill>
                <a:latin typeface="EYInterstate Light" pitchFamily="2" charset="0"/>
                <a:ea typeface="EYInterstate" charset="0"/>
                <a:cs typeface="Arial" panose="020B0604020202020204" pitchFamily="34" charset="0"/>
              </a:rPr>
              <a:t>Digital / Cloud / Next Gen Fintech / Security</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Gemalto HSM implementation</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KeySecure Secure Appliance implementation</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Slack EKM implementation with CMK</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icrosoft Dynamics 365 implementation with CMK</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Box KeySafe integration with AWS KMS</a:t>
            </a:r>
          </a:p>
        </p:txBody>
      </p:sp>
      <p:sp>
        <p:nvSpPr>
          <p:cNvPr id="22" name="Title 2">
            <a:extLst>
              <a:ext uri="{FF2B5EF4-FFF2-40B4-BE49-F238E27FC236}">
                <a16:creationId xmlns:a16="http://schemas.microsoft.com/office/drawing/2014/main" id="{26F3A1B1-A050-4639-856C-0E78E591ACB1}"/>
              </a:ext>
            </a:extLst>
          </p:cNvPr>
          <p:cNvSpPr>
            <a:spLocks noGrp="1"/>
          </p:cNvSpPr>
          <p:nvPr>
            <p:ph type="title"/>
          </p:nvPr>
        </p:nvSpPr>
        <p:spPr/>
        <p:txBody>
          <a:bodyPr vert="horz" lIns="0" tIns="0" rIns="0" bIns="0" rtlCol="0" anchor="t" anchorCtr="0">
            <a:noAutofit/>
          </a:bodyPr>
          <a:lstStyle/>
          <a:p>
            <a:r>
              <a:rPr lang="en-US" dirty="0"/>
              <a:t>Case Study 9: Accelerate multi-cloud adoption to leading international investment bank</a:t>
            </a:r>
            <a:br>
              <a:rPr lang="en-US" dirty="0"/>
            </a:br>
            <a:endParaRPr lang="en-US" dirty="0"/>
          </a:p>
        </p:txBody>
      </p:sp>
      <p:grpSp>
        <p:nvGrpSpPr>
          <p:cNvPr id="27" name="Group 26">
            <a:extLst>
              <a:ext uri="{FF2B5EF4-FFF2-40B4-BE49-F238E27FC236}">
                <a16:creationId xmlns:a16="http://schemas.microsoft.com/office/drawing/2014/main" id="{6F7A6184-DD0B-4845-88D2-D52F14E4F1E1}"/>
              </a:ext>
            </a:extLst>
          </p:cNvPr>
          <p:cNvGrpSpPr/>
          <p:nvPr/>
        </p:nvGrpSpPr>
        <p:grpSpPr>
          <a:xfrm>
            <a:off x="4131700" y="1201658"/>
            <a:ext cx="7417382" cy="179858"/>
            <a:chOff x="4552129" y="1390071"/>
            <a:chExt cx="8178436" cy="198312"/>
          </a:xfrm>
        </p:grpSpPr>
        <p:cxnSp>
          <p:nvCxnSpPr>
            <p:cNvPr id="28" name="Straight Connector 27">
              <a:extLst>
                <a:ext uri="{FF2B5EF4-FFF2-40B4-BE49-F238E27FC236}">
                  <a16:creationId xmlns:a16="http://schemas.microsoft.com/office/drawing/2014/main" id="{5E97C648-E0E3-4C15-9521-BCD72B6F065E}"/>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29" name="Rectangle 28">
              <a:extLst>
                <a:ext uri="{FF2B5EF4-FFF2-40B4-BE49-F238E27FC236}">
                  <a16:creationId xmlns:a16="http://schemas.microsoft.com/office/drawing/2014/main" id="{388EA58D-FCAE-462A-9BB0-193337724216}"/>
                </a:ext>
              </a:extLst>
            </p:cNvPr>
            <p:cNvSpPr>
              <a:spLocks/>
            </p:cNvSpPr>
            <p:nvPr/>
          </p:nvSpPr>
          <p:spPr>
            <a:xfrm>
              <a:off x="4552129" y="1390071"/>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Challenge</a:t>
              </a:r>
            </a:p>
          </p:txBody>
        </p:sp>
      </p:grpSp>
      <p:pic>
        <p:nvPicPr>
          <p:cNvPr id="20" name="Picture 19">
            <a:extLst>
              <a:ext uri="{FF2B5EF4-FFF2-40B4-BE49-F238E27FC236}">
                <a16:creationId xmlns:a16="http://schemas.microsoft.com/office/drawing/2014/main" id="{FE70284F-1744-49DD-8C46-DC8AE296D7C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2967" y="1501232"/>
            <a:ext cx="3151376" cy="1497615"/>
          </a:xfrm>
          <a:prstGeom prst="rect">
            <a:avLst/>
          </a:prstGeom>
        </p:spPr>
      </p:pic>
      <p:pic>
        <p:nvPicPr>
          <p:cNvPr id="21" name="Picture 1" descr="/C:/1f3962e4f80b79299da4bd4a8dbd3d66">
            <a:extLst>
              <a:ext uri="{FF2B5EF4-FFF2-40B4-BE49-F238E27FC236}">
                <a16:creationId xmlns:a16="http://schemas.microsoft.com/office/drawing/2014/main" id="{9B40972C-835C-4CDD-9964-B2A31484DCB9}"/>
              </a:ext>
            </a:extLst>
          </p:cNvPr>
          <p:cNvPicPr>
            <a:picLocks noChangeAspect="1" noChangeArrowheads="1"/>
          </p:cNvPicPr>
          <p:nvPr/>
        </p:nvPicPr>
        <p:blipFill>
          <a:blip r:embed="rId9" r:link="rId10" cstate="print">
            <a:extLst>
              <a:ext uri="{28A0092B-C50C-407E-A947-70E740481C1C}">
                <a14:useLocalDpi xmlns:a14="http://schemas.microsoft.com/office/drawing/2010/main" val="0"/>
              </a:ext>
            </a:extLst>
          </a:blip>
          <a:srcRect/>
          <a:stretch>
            <a:fillRect/>
          </a:stretch>
        </p:blipFill>
        <p:spPr bwMode="auto">
          <a:xfrm>
            <a:off x="732967" y="4909693"/>
            <a:ext cx="3151376" cy="14448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descr="/C:/2a43c541674e50a677fb45f57bff3b79">
            <a:extLst>
              <a:ext uri="{FF2B5EF4-FFF2-40B4-BE49-F238E27FC236}">
                <a16:creationId xmlns:a16="http://schemas.microsoft.com/office/drawing/2014/main" id="{2858EF95-6DEA-42AC-A10C-76FA8E650157}"/>
              </a:ext>
            </a:extLst>
          </p:cNvPr>
          <p:cNvPicPr>
            <a:picLocks noChangeAspect="1" noChangeArrowheads="1"/>
          </p:cNvPicPr>
          <p:nvPr/>
        </p:nvPicPr>
        <p:blipFill>
          <a:blip r:embed="rId11" r:link="rId12" cstate="print">
            <a:extLst>
              <a:ext uri="{28A0092B-C50C-407E-A947-70E740481C1C}">
                <a14:useLocalDpi xmlns:a14="http://schemas.microsoft.com/office/drawing/2010/main" val="0"/>
              </a:ext>
            </a:extLst>
          </a:blip>
          <a:srcRect/>
          <a:stretch>
            <a:fillRect/>
          </a:stretch>
        </p:blipFill>
        <p:spPr bwMode="auto">
          <a:xfrm>
            <a:off x="732967" y="3137735"/>
            <a:ext cx="3151376" cy="16094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70379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615" y="1621"/>
          <a:ext cx="1440" cy="1440"/>
        </p:xfrm>
        <a:graphic>
          <a:graphicData uri="http://schemas.openxmlformats.org/presentationml/2006/ole">
            <mc:AlternateContent xmlns:mc="http://schemas.openxmlformats.org/markup-compatibility/2006">
              <mc:Choice xmlns:v="urn:schemas-microsoft-com:vml" Requires="v">
                <p:oleObj spid="_x0000_s292873"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615" y="162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3176" y="181"/>
            <a:ext cx="143977" cy="14397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269"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grpSp>
        <p:nvGrpSpPr>
          <p:cNvPr id="10" name="Group 9">
            <a:extLst>
              <a:ext uri="{FF2B5EF4-FFF2-40B4-BE49-F238E27FC236}">
                <a16:creationId xmlns:a16="http://schemas.microsoft.com/office/drawing/2014/main" id="{7C6AF280-80C9-452F-A64E-7EA9A2AE31DD}"/>
              </a:ext>
            </a:extLst>
          </p:cNvPr>
          <p:cNvGrpSpPr/>
          <p:nvPr/>
        </p:nvGrpSpPr>
        <p:grpSpPr>
          <a:xfrm>
            <a:off x="4131700" y="1201658"/>
            <a:ext cx="7417382" cy="179858"/>
            <a:chOff x="4552129" y="1390071"/>
            <a:chExt cx="8178436" cy="198312"/>
          </a:xfrm>
        </p:grpSpPr>
        <p:cxnSp>
          <p:nvCxnSpPr>
            <p:cNvPr id="109" name="Straight Connector 108">
              <a:extLst>
                <a:ext uri="{FF2B5EF4-FFF2-40B4-BE49-F238E27FC236}">
                  <a16:creationId xmlns:a16="http://schemas.microsoft.com/office/drawing/2014/main" id="{492FBBDE-0EED-4F0B-8761-B6F3C369BF61}"/>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110" name="Rectangle 109">
              <a:extLst>
                <a:ext uri="{FF2B5EF4-FFF2-40B4-BE49-F238E27FC236}">
                  <a16:creationId xmlns:a16="http://schemas.microsoft.com/office/drawing/2014/main" id="{93360ED6-8BFF-4EE2-BFCD-90C778987CA4}"/>
                </a:ext>
              </a:extLst>
            </p:cNvPr>
            <p:cNvSpPr>
              <a:spLocks/>
            </p:cNvSpPr>
            <p:nvPr/>
          </p:nvSpPr>
          <p:spPr>
            <a:xfrm>
              <a:off x="4552129" y="1390071"/>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Challenge</a:t>
              </a:r>
            </a:p>
          </p:txBody>
        </p:sp>
      </p:grpSp>
      <p:grpSp>
        <p:nvGrpSpPr>
          <p:cNvPr id="11" name="Group 10">
            <a:extLst>
              <a:ext uri="{FF2B5EF4-FFF2-40B4-BE49-F238E27FC236}">
                <a16:creationId xmlns:a16="http://schemas.microsoft.com/office/drawing/2014/main" id="{9DF01959-A6D6-4940-A6F9-89C5ED931228}"/>
              </a:ext>
            </a:extLst>
          </p:cNvPr>
          <p:cNvGrpSpPr/>
          <p:nvPr/>
        </p:nvGrpSpPr>
        <p:grpSpPr>
          <a:xfrm>
            <a:off x="4131701" y="2694397"/>
            <a:ext cx="7386917" cy="18144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701" y="5078551"/>
            <a:ext cx="7325989" cy="19471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IN" sz="999"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701" y="1441325"/>
            <a:ext cx="7386917" cy="1153393"/>
          </a:xfrm>
          <a:prstGeom prst="rect">
            <a:avLst/>
          </a:prstGeom>
          <a:noFill/>
        </p:spPr>
        <p:txBody>
          <a:bodyPr wrap="square" lIns="0" tIns="0" rIns="0" bIns="0" rtlCol="0">
            <a:spAutoFit/>
          </a:bodyPr>
          <a:lstStyle/>
          <a:p>
            <a:pPr defTabSz="829269" eaLnBrk="1" hangingPunct="1">
              <a:spcAft>
                <a:spcPts val="599"/>
              </a:spcAft>
              <a:buClr>
                <a:srgbClr val="FFD503"/>
              </a:buClr>
              <a:buSzPct val="70000"/>
              <a:defRPr/>
            </a:pPr>
            <a:r>
              <a:rPr lang="en-US" sz="999">
                <a:solidFill>
                  <a:srgbClr val="646464">
                    <a:lumMod val="50000"/>
                  </a:srgbClr>
                </a:solidFill>
                <a:latin typeface="EYInterstate Light" pitchFamily="2" charset="0"/>
                <a:ea typeface="EYInterstate" charset="0"/>
                <a:cs typeface="Arial" panose="020B0604020202020204" pitchFamily="34" charset="0"/>
              </a:rPr>
              <a:t>While looking to accelerate multi-cloud adoption, this investment bank was looking for solutions to meet the following requirements:</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One standard way to package and one standard orchestration to deploy internal as well as  third-party applications on containers</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rue portability between different cloud service providers like AWS, Azure and GCP as well as on-prem datacenters</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Realtime CMDB that support multi-cloud environment and support AWS and Azure</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701" y="2938453"/>
            <a:ext cx="7325988" cy="1883721"/>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rchitected and deployed enterprise grade Azure Kubernetes Service (AKS) , accounting for cluster auto scaling, horizontal pod autoscaling, network connectivity, monitoring as well as hardening environment to meet security standards of customer</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ployed Indico Intelligent Process Automation, a product for creation of AI powered custom models for the analysis, classification and comparison of unstructured content on Azure AK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ployed ServiceNow integration with AWS and Azure for cloud discovery, service mapping and integrated service management</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nabled active cost optimization on Azure and AWS by monitoring, baselining and alerting on costs through tagging, deployment polices, reserved instances and daily reporting </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signed and architected Cloudability integration with AWS and Azure cloud subscription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Y’s optimizations collectively achieved over 15% cost reduction on Azure resources by actively identifying orphaned disks, right sizing resources, optimizing data transfers, scheduled start-up and shot-down of development environments</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701" y="5337547"/>
            <a:ext cx="7325988" cy="922688"/>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Y architected, designed and deployed a containerized multi cloud using:</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zure Kubernetes Service implementation</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Indico IPA deployment on AKS</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agging Policies for Azure</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loudability integration with AWS and Azure</a:t>
            </a:r>
          </a:p>
        </p:txBody>
      </p:sp>
      <p:sp>
        <p:nvSpPr>
          <p:cNvPr id="22" name="Title 2">
            <a:extLst>
              <a:ext uri="{FF2B5EF4-FFF2-40B4-BE49-F238E27FC236}">
                <a16:creationId xmlns:a16="http://schemas.microsoft.com/office/drawing/2014/main" id="{26F3A1B1-A050-4639-856C-0E78E591ACB1}"/>
              </a:ext>
            </a:extLst>
          </p:cNvPr>
          <p:cNvSpPr>
            <a:spLocks noGrp="1"/>
          </p:cNvSpPr>
          <p:nvPr>
            <p:ph type="title"/>
          </p:nvPr>
        </p:nvSpPr>
        <p:spPr/>
        <p:txBody>
          <a:bodyPr vert="horz" lIns="0" tIns="0" rIns="0" bIns="0" rtlCol="0" anchor="t" anchorCtr="0">
            <a:noAutofit/>
          </a:bodyPr>
          <a:lstStyle/>
          <a:p>
            <a:r>
              <a:rPr lang="en-US" dirty="0"/>
              <a:t>Case Study 10: Help accelerate multi-cloud adoption for a leading international investment bank using Containers</a:t>
            </a:r>
          </a:p>
        </p:txBody>
      </p:sp>
      <p:pic>
        <p:nvPicPr>
          <p:cNvPr id="23" name="Picture 22">
            <a:extLst>
              <a:ext uri="{FF2B5EF4-FFF2-40B4-BE49-F238E27FC236}">
                <a16:creationId xmlns:a16="http://schemas.microsoft.com/office/drawing/2014/main" id="{7BE9A763-4C0C-4D18-8FF8-FE6C36011FDA}"/>
              </a:ext>
            </a:extLst>
          </p:cNvPr>
          <p:cNvPicPr>
            <a:picLocks noChangeAspect="1"/>
          </p:cNvPicPr>
          <p:nvPr/>
        </p:nvPicPr>
        <p:blipFill>
          <a:blip r:embed="rId8"/>
          <a:stretch>
            <a:fillRect/>
          </a:stretch>
        </p:blipFill>
        <p:spPr>
          <a:xfrm>
            <a:off x="732967" y="1501232"/>
            <a:ext cx="3151376" cy="1423043"/>
          </a:xfrm>
          <a:prstGeom prst="rect">
            <a:avLst/>
          </a:prstGeom>
        </p:spPr>
      </p:pic>
      <p:pic>
        <p:nvPicPr>
          <p:cNvPr id="24" name="Picture 1" descr="/C:/6a2e3fbbc155aa32fab9a4d411b8c0e8">
            <a:extLst>
              <a:ext uri="{FF2B5EF4-FFF2-40B4-BE49-F238E27FC236}">
                <a16:creationId xmlns:a16="http://schemas.microsoft.com/office/drawing/2014/main" id="{CA63DD38-EEFB-4043-A0FD-829D88C50013}"/>
              </a:ext>
            </a:extLst>
          </p:cNvPr>
          <p:cNvPicPr>
            <a:picLocks noChangeAspect="1" noChangeArrowheads="1"/>
          </p:cNvPicPr>
          <p:nvPr/>
        </p:nvPicPr>
        <p:blipFill>
          <a:blip r:embed="rId9" r:link="rId10" cstate="print">
            <a:extLst>
              <a:ext uri="{28A0092B-C50C-407E-A947-70E740481C1C}">
                <a14:useLocalDpi xmlns:a14="http://schemas.microsoft.com/office/drawing/2010/main" val="0"/>
              </a:ext>
            </a:extLst>
          </a:blip>
          <a:srcRect/>
          <a:stretch>
            <a:fillRect/>
          </a:stretch>
        </p:blipFill>
        <p:spPr bwMode="auto">
          <a:xfrm>
            <a:off x="732967" y="3193021"/>
            <a:ext cx="3151376" cy="14040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FB3B144-340C-4754-AD31-02B4337CE9AA}"/>
              </a:ext>
            </a:extLst>
          </p:cNvPr>
          <p:cNvPicPr>
            <a:picLocks noChangeAspect="1"/>
          </p:cNvPicPr>
          <p:nvPr/>
        </p:nvPicPr>
        <p:blipFill>
          <a:blip r:embed="rId11"/>
          <a:stretch>
            <a:fillRect/>
          </a:stretch>
        </p:blipFill>
        <p:spPr>
          <a:xfrm>
            <a:off x="732967" y="4909693"/>
            <a:ext cx="3151376" cy="1439257"/>
          </a:xfrm>
          <a:prstGeom prst="rect">
            <a:avLst/>
          </a:prstGeom>
        </p:spPr>
      </p:pic>
    </p:spTree>
    <p:extLst>
      <p:ext uri="{BB962C8B-B14F-4D97-AF65-F5344CB8AC3E}">
        <p14:creationId xmlns:p14="http://schemas.microsoft.com/office/powerpoint/2010/main" val="32934248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13B469C-B390-4568-93F9-038D8F11C01C}"/>
              </a:ext>
            </a:extLst>
          </p:cNvPr>
          <p:cNvPicPr>
            <a:picLocks noChangeAspect="1"/>
          </p:cNvPicPr>
          <p:nvPr/>
        </p:nvPicPr>
        <p:blipFill>
          <a:blip r:embed="rId2"/>
          <a:stretch>
            <a:fillRect/>
          </a:stretch>
        </p:blipFill>
        <p:spPr>
          <a:xfrm>
            <a:off x="0" y="1844"/>
            <a:ext cx="12198350" cy="6854311"/>
          </a:xfrm>
          <a:prstGeom prst="rect">
            <a:avLst/>
          </a:prstGeom>
        </p:spPr>
      </p:pic>
      <p:sp>
        <p:nvSpPr>
          <p:cNvPr id="3" name="Freeform 12">
            <a:extLst>
              <a:ext uri="{FF2B5EF4-FFF2-40B4-BE49-F238E27FC236}">
                <a16:creationId xmlns:a16="http://schemas.microsoft.com/office/drawing/2014/main" id="{02C0A642-EE54-4700-98FD-04B76918AA1C}"/>
              </a:ext>
            </a:extLst>
          </p:cNvPr>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algn="ctr" defTabSz="634556" eaLnBrk="1" hangingPunct="1">
              <a:spcAft>
                <a:spcPct val="50000"/>
              </a:spcAft>
              <a:buClr>
                <a:srgbClr val="FFE600"/>
              </a:buClr>
              <a:buSzPct val="80000"/>
            </a:pPr>
            <a:endParaRPr lang="en-US" sz="637" dirty="0">
              <a:solidFill>
                <a:srgbClr val="FFFFFF"/>
              </a:solidFill>
              <a:latin typeface="EYInterstate Light" panose="02000506000000020004" pitchFamily="2" charset="0"/>
            </a:endParaRPr>
          </a:p>
        </p:txBody>
      </p:sp>
      <p:sp>
        <p:nvSpPr>
          <p:cNvPr id="4" name="Text Placeholder 9">
            <a:extLst>
              <a:ext uri="{FF2B5EF4-FFF2-40B4-BE49-F238E27FC236}">
                <a16:creationId xmlns:a16="http://schemas.microsoft.com/office/drawing/2014/main" id="{2CD6B0D0-74E4-4C92-9CDF-0307F0B6F6B0}"/>
              </a:ext>
            </a:extLst>
          </p:cNvPr>
          <p:cNvSpPr txBox="1">
            <a:spLocks/>
          </p:cNvSpPr>
          <p:nvPr/>
        </p:nvSpPr>
        <p:spPr bwMode="gray">
          <a:xfrm>
            <a:off x="2856" y="1865549"/>
            <a:ext cx="5147864"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defTabSz="634779" eaLnBrk="1" hangingPunct="1">
              <a:buClr>
                <a:srgbClr val="FFE600"/>
              </a:buClr>
              <a:buSzPct val="80000"/>
            </a:pPr>
            <a:r>
              <a:rPr lang="en-US" sz="2177" dirty="0">
                <a:solidFill>
                  <a:srgbClr val="000000"/>
                </a:solidFill>
                <a:latin typeface="EYInterstate" panose="02000503020000020004" pitchFamily="2" charset="0"/>
              </a:rPr>
              <a:t> 2 | </a:t>
            </a:r>
            <a:r>
              <a:rPr lang="en-US" sz="2177" dirty="0">
                <a:solidFill>
                  <a:srgbClr val="000000"/>
                </a:solidFill>
                <a:latin typeface="EYInterstate" panose="02000503020000020004" pitchFamily="2" charset="0"/>
                <a:cs typeface="Calibri" panose="020F0502020204030204" pitchFamily="34" charset="0"/>
              </a:rPr>
              <a:t>Why EY</a:t>
            </a:r>
            <a:endParaRPr lang="en-US" sz="1633" dirty="0">
              <a:solidFill>
                <a:srgbClr val="000000"/>
              </a:solidFill>
              <a:latin typeface="EYInterstate" panose="02000503020000020004" pitchFamily="2" charset="0"/>
              <a:cs typeface="Calibri" panose="020F0502020204030204" pitchFamily="34" charset="0"/>
            </a:endParaRPr>
          </a:p>
        </p:txBody>
      </p:sp>
      <p:sp>
        <p:nvSpPr>
          <p:cNvPr id="5" name="Rectangle 4">
            <a:extLst>
              <a:ext uri="{FF2B5EF4-FFF2-40B4-BE49-F238E27FC236}">
                <a16:creationId xmlns:a16="http://schemas.microsoft.com/office/drawing/2014/main" id="{631F0B1D-EF67-484E-A0BE-AEFC202D0819}"/>
              </a:ext>
            </a:extLst>
          </p:cNvPr>
          <p:cNvSpPr/>
          <p:nvPr/>
        </p:nvSpPr>
        <p:spPr>
          <a:xfrm>
            <a:off x="8583616" y="-213122"/>
            <a:ext cx="3312045" cy="7359419"/>
          </a:xfrm>
          <a:prstGeom prst="rect">
            <a:avLst/>
          </a:prstGeom>
          <a:noFill/>
        </p:spPr>
        <p:txBody>
          <a:bodyPr wrap="square" lIns="72742" tIns="36370" rIns="72742" bIns="36370">
            <a:spAutoFit/>
          </a:bodyPr>
          <a:lstStyle/>
          <a:p>
            <a:pPr algn="ctr" defTabSz="945990" eaLnBrk="1" fontAlgn="auto" hangingPunct="1">
              <a:spcBef>
                <a:spcPts val="0"/>
              </a:spcBef>
              <a:spcAft>
                <a:spcPts val="0"/>
              </a:spcAft>
            </a:pPr>
            <a:r>
              <a:rPr lang="en-US" sz="47346" b="1" dirty="0">
                <a:ln w="22225">
                  <a:solidFill>
                    <a:srgbClr val="FFE600"/>
                  </a:solidFill>
                  <a:prstDash val="solid"/>
                </a:ln>
                <a:solidFill>
                  <a:srgbClr val="FFE600"/>
                </a:solidFill>
                <a:latin typeface="EYInterstate" panose="02000503020000020004" pitchFamily="2" charset="0"/>
                <a:ea typeface="+mn-ea"/>
                <a:cs typeface="Calibri" panose="020F0502020204030204" pitchFamily="34" charset="0"/>
              </a:rPr>
              <a:t>2</a:t>
            </a:r>
          </a:p>
        </p:txBody>
      </p:sp>
    </p:spTree>
    <p:extLst>
      <p:ext uri="{BB962C8B-B14F-4D97-AF65-F5344CB8AC3E}">
        <p14:creationId xmlns:p14="http://schemas.microsoft.com/office/powerpoint/2010/main" val="16906833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615" y="1621"/>
          <a:ext cx="1440" cy="1440"/>
        </p:xfrm>
        <a:graphic>
          <a:graphicData uri="http://schemas.openxmlformats.org/presentationml/2006/ole">
            <mc:AlternateContent xmlns:mc="http://schemas.openxmlformats.org/markup-compatibility/2006">
              <mc:Choice xmlns:v="urn:schemas-microsoft-com:vml" Requires="v">
                <p:oleObj spid="_x0000_s294921"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615" y="162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3176" y="181"/>
            <a:ext cx="143977" cy="14397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269"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grpSp>
        <p:nvGrpSpPr>
          <p:cNvPr id="11" name="Group 10">
            <a:extLst>
              <a:ext uri="{FF2B5EF4-FFF2-40B4-BE49-F238E27FC236}">
                <a16:creationId xmlns:a16="http://schemas.microsoft.com/office/drawing/2014/main" id="{9DF01959-A6D6-4940-A6F9-89C5ED931228}"/>
              </a:ext>
            </a:extLst>
          </p:cNvPr>
          <p:cNvGrpSpPr/>
          <p:nvPr/>
        </p:nvGrpSpPr>
        <p:grpSpPr>
          <a:xfrm>
            <a:off x="4131701" y="2217220"/>
            <a:ext cx="7386917" cy="18144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701" y="4486193"/>
            <a:ext cx="7325989" cy="19471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IN" sz="999"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701" y="1443179"/>
            <a:ext cx="7386917" cy="691984"/>
          </a:xfrm>
          <a:prstGeom prst="rect">
            <a:avLst/>
          </a:prstGeom>
          <a:noFill/>
        </p:spPr>
        <p:txBody>
          <a:bodyPr wrap="square" lIns="0" tIns="0" rIns="0" bIns="0" rtlCol="0">
            <a:spAutoFit/>
          </a:bodyPr>
          <a:lstStyle/>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he global bank sought to increase customer engagement by offering personalized contextual omni-channel banking experience</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Build a cloud-based innovation platform to host an end-to-end AI/ML capability; processing real-time and batch data to generate personalized actions and content</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701" y="2461275"/>
            <a:ext cx="7325988" cy="1960665"/>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stablished design patterns and architecture principles for the next generation platform</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Recommended cutting edge real-time data processing frameworks to enable in-flight data analysi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Leveraged Azure Cloud services to develop an AI/ML execution engine with support for online and batch training </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onstructed a fault-tolerant, distributed and elastic platform that scales with demand</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Built micro services decomposition factory to accelerate migration from monolithic to small functional-based micro services architecture</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signed optimal channel evaluation criteria and framework to assist in selecting the right channel to meet the needs of different customer group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Built architecture design for aggregating real-time customer feedback through social media analytic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stablished application guiding principles to detect travel patterns and preemptively alert on exchange rates and ATM information using AI/ML and Big Data platforms </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701" y="4745191"/>
            <a:ext cx="7325988" cy="1691617"/>
          </a:xfrm>
          <a:prstGeom prst="rect">
            <a:avLst/>
          </a:prstGeom>
          <a:noFill/>
        </p:spPr>
        <p:txBody>
          <a:bodyPr wrap="square" lIns="0" tIns="0" rIns="0" bIns="0" rtlCol="0">
            <a:spAutoFit/>
          </a:bodyPr>
          <a:lstStyle/>
          <a:p>
            <a:pPr defTabSz="829269" eaLnBrk="1" hangingPunct="1">
              <a:spcAft>
                <a:spcPts val="300"/>
              </a:spcAft>
              <a:buClr>
                <a:srgbClr val="FFD503"/>
              </a:buClr>
              <a:buSzPct val="70000"/>
              <a:defRPr/>
            </a:pPr>
            <a:r>
              <a:rPr lang="en-US" sz="999">
                <a:solidFill>
                  <a:srgbClr val="646464">
                    <a:lumMod val="50000"/>
                  </a:srgbClr>
                </a:solidFill>
                <a:latin typeface="EYInterstate Light" pitchFamily="2" charset="0"/>
                <a:ea typeface="EYInterstate" charset="0"/>
                <a:cs typeface="Arial" panose="020B0604020202020204" pitchFamily="34" charset="0"/>
              </a:rPr>
              <a:t>Digital &amp; Cloud</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loud portable architecture and design pattern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Public cloud to develop a fault-tolerant, elastic platform </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hannel evaluation frameworks</a:t>
            </a:r>
          </a:p>
          <a:p>
            <a:pPr defTabSz="829269" eaLnBrk="1" hangingPunct="1">
              <a:spcAft>
                <a:spcPts val="300"/>
              </a:spcAft>
              <a:buClr>
                <a:srgbClr val="FFD503"/>
              </a:buClr>
              <a:buSzPct val="70000"/>
              <a:defRPr/>
            </a:pPr>
            <a:r>
              <a:rPr lang="en-US" sz="999">
                <a:solidFill>
                  <a:srgbClr val="646464">
                    <a:lumMod val="50000"/>
                  </a:srgbClr>
                </a:solidFill>
                <a:latin typeface="EYInterstate Light" pitchFamily="2" charset="0"/>
                <a:ea typeface="EYInterstate" charset="0"/>
                <a:cs typeface="Arial" panose="020B0604020202020204" pitchFamily="34" charset="0"/>
              </a:rPr>
              <a:t>AI/ML</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ustomer behavior analytic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Big Data and AI/ML platform to deliver additional omni-channel application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Predictive customer behavior and spending analysi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Real-time decisioning, alert and routing</a:t>
            </a:r>
          </a:p>
        </p:txBody>
      </p:sp>
      <p:sp>
        <p:nvSpPr>
          <p:cNvPr id="22" name="Title 2">
            <a:extLst>
              <a:ext uri="{FF2B5EF4-FFF2-40B4-BE49-F238E27FC236}">
                <a16:creationId xmlns:a16="http://schemas.microsoft.com/office/drawing/2014/main" id="{26F3A1B1-A050-4639-856C-0E78E591ACB1}"/>
              </a:ext>
            </a:extLst>
          </p:cNvPr>
          <p:cNvSpPr>
            <a:spLocks noGrp="1"/>
          </p:cNvSpPr>
          <p:nvPr>
            <p:ph type="title"/>
          </p:nvPr>
        </p:nvSpPr>
        <p:spPr/>
        <p:txBody>
          <a:bodyPr vert="horz" lIns="0" tIns="0" rIns="0" bIns="0" rtlCol="0" anchor="t" anchorCtr="0">
            <a:noAutofit/>
          </a:bodyPr>
          <a:lstStyle/>
          <a:p>
            <a:r>
              <a:rPr lang="en-US" dirty="0"/>
              <a:t>Case Study 11: Azure Modernization - Cloud-based omni-channel application for a global banking client</a:t>
            </a:r>
            <a:br>
              <a:rPr lang="en-US" dirty="0"/>
            </a:br>
            <a:endParaRPr lang="en-US" dirty="0"/>
          </a:p>
        </p:txBody>
      </p:sp>
      <p:grpSp>
        <p:nvGrpSpPr>
          <p:cNvPr id="27" name="Group 26">
            <a:extLst>
              <a:ext uri="{FF2B5EF4-FFF2-40B4-BE49-F238E27FC236}">
                <a16:creationId xmlns:a16="http://schemas.microsoft.com/office/drawing/2014/main" id="{6F7A6184-DD0B-4845-88D2-D52F14E4F1E1}"/>
              </a:ext>
            </a:extLst>
          </p:cNvPr>
          <p:cNvGrpSpPr/>
          <p:nvPr/>
        </p:nvGrpSpPr>
        <p:grpSpPr>
          <a:xfrm>
            <a:off x="4131700" y="1201658"/>
            <a:ext cx="7417382" cy="179858"/>
            <a:chOff x="4552129" y="1390071"/>
            <a:chExt cx="8178436" cy="198312"/>
          </a:xfrm>
        </p:grpSpPr>
        <p:cxnSp>
          <p:nvCxnSpPr>
            <p:cNvPr id="28" name="Straight Connector 27">
              <a:extLst>
                <a:ext uri="{FF2B5EF4-FFF2-40B4-BE49-F238E27FC236}">
                  <a16:creationId xmlns:a16="http://schemas.microsoft.com/office/drawing/2014/main" id="{5E97C648-E0E3-4C15-9521-BCD72B6F065E}"/>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29" name="Rectangle 28">
              <a:extLst>
                <a:ext uri="{FF2B5EF4-FFF2-40B4-BE49-F238E27FC236}">
                  <a16:creationId xmlns:a16="http://schemas.microsoft.com/office/drawing/2014/main" id="{388EA58D-FCAE-462A-9BB0-193337724216}"/>
                </a:ext>
              </a:extLst>
            </p:cNvPr>
            <p:cNvSpPr>
              <a:spLocks/>
            </p:cNvSpPr>
            <p:nvPr/>
          </p:nvSpPr>
          <p:spPr>
            <a:xfrm>
              <a:off x="4552129" y="1390071"/>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Challenge</a:t>
              </a:r>
            </a:p>
          </p:txBody>
        </p:sp>
      </p:grpSp>
      <p:pic>
        <p:nvPicPr>
          <p:cNvPr id="24" name="Picture 23">
            <a:extLst>
              <a:ext uri="{FF2B5EF4-FFF2-40B4-BE49-F238E27FC236}">
                <a16:creationId xmlns:a16="http://schemas.microsoft.com/office/drawing/2014/main" id="{120D5B45-4398-4C9E-8498-F71E13B5D5A4}"/>
              </a:ext>
            </a:extLst>
          </p:cNvPr>
          <p:cNvPicPr>
            <a:picLocks noChangeAspect="1"/>
          </p:cNvPicPr>
          <p:nvPr/>
        </p:nvPicPr>
        <p:blipFill rotWithShape="1">
          <a:blip r:embed="rId8" cstate="print">
            <a:duotone>
              <a:prstClr val="black"/>
              <a:schemeClr val="accent3">
                <a:tint val="45000"/>
                <a:satMod val="400000"/>
              </a:schemeClr>
            </a:duotone>
            <a:extLst>
              <a:ext uri="{28A0092B-C50C-407E-A947-70E740481C1C}">
                <a14:useLocalDpi xmlns:a14="http://schemas.microsoft.com/office/drawing/2010/main" val="0"/>
              </a:ext>
            </a:extLst>
          </a:blip>
          <a:srcRect l="18595" r="43823"/>
          <a:stretch/>
        </p:blipFill>
        <p:spPr>
          <a:xfrm>
            <a:off x="732967" y="1501231"/>
            <a:ext cx="3151376" cy="4963352"/>
          </a:xfrm>
          <a:prstGeom prst="rect">
            <a:avLst/>
          </a:prstGeom>
        </p:spPr>
      </p:pic>
    </p:spTree>
    <p:extLst>
      <p:ext uri="{BB962C8B-B14F-4D97-AF65-F5344CB8AC3E}">
        <p14:creationId xmlns:p14="http://schemas.microsoft.com/office/powerpoint/2010/main" val="209930340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615" y="1621"/>
          <a:ext cx="1440" cy="1440"/>
        </p:xfrm>
        <a:graphic>
          <a:graphicData uri="http://schemas.openxmlformats.org/presentationml/2006/ole">
            <mc:AlternateContent xmlns:mc="http://schemas.openxmlformats.org/markup-compatibility/2006">
              <mc:Choice xmlns:v="urn:schemas-microsoft-com:vml" Requires="v">
                <p:oleObj spid="_x0000_s296969"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615" y="162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3176" y="181"/>
            <a:ext cx="143977" cy="14397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269"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grpSp>
        <p:nvGrpSpPr>
          <p:cNvPr id="11" name="Group 10">
            <a:extLst>
              <a:ext uri="{FF2B5EF4-FFF2-40B4-BE49-F238E27FC236}">
                <a16:creationId xmlns:a16="http://schemas.microsoft.com/office/drawing/2014/main" id="{9DF01959-A6D6-4940-A6F9-89C5ED931228}"/>
              </a:ext>
            </a:extLst>
          </p:cNvPr>
          <p:cNvGrpSpPr/>
          <p:nvPr/>
        </p:nvGrpSpPr>
        <p:grpSpPr>
          <a:xfrm>
            <a:off x="4131701" y="2712120"/>
            <a:ext cx="7386917" cy="18144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701" y="4106094"/>
            <a:ext cx="7325989" cy="19471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IN" sz="999"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701" y="1443180"/>
            <a:ext cx="7386917" cy="1153393"/>
          </a:xfrm>
          <a:prstGeom prst="rect">
            <a:avLst/>
          </a:prstGeom>
          <a:noFill/>
        </p:spPr>
        <p:txBody>
          <a:bodyPr wrap="square" lIns="0" tIns="0" rIns="0" bIns="0" rtlCol="0">
            <a:spAutoFit/>
          </a:bodyPr>
          <a:lstStyle/>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Implement the Azure Landing Zone for the entity by means of the Azure BluePrints.</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he client is looking to successfully implement the journey to cloud according to the roadmap planned for the entity.</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By means of the Azure Landing Zone, the entity developed capabilities in order to automate the deployment of governed environments.</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he azure blueprints landing zone helped to develop capabilities to successfully implement the future migration of workloads to the azure platform. </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701" y="2956175"/>
            <a:ext cx="7325988" cy="1076449"/>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Performed an evaluation of the client’s current cloud environment (in Azure)</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ommunicated recommendations across 8 different chapters to take into account during the landing zone implementation (Security, Communications, Audit, Compliance, Governance, Monitoring, Governance, Architecture)</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Implemented the Azure BluePrints artifacts required to automate the landing zone deployments in Azure.</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Implemented the migration (refactor) of one workload to the azure platform according to internal policies and requirement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ommunicated recommendations for a healthy, safe environment that complies with the internal policies</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701" y="4365090"/>
            <a:ext cx="7325988" cy="922688"/>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igital, Cloud &amp; Modernization</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urrent State / Future State Assessment</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Landing Zone implementation</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KS  Landing Zone Implementation</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One workload migration to Azure</a:t>
            </a:r>
          </a:p>
        </p:txBody>
      </p:sp>
      <p:sp>
        <p:nvSpPr>
          <p:cNvPr id="22" name="Title 2">
            <a:extLst>
              <a:ext uri="{FF2B5EF4-FFF2-40B4-BE49-F238E27FC236}">
                <a16:creationId xmlns:a16="http://schemas.microsoft.com/office/drawing/2014/main" id="{26F3A1B1-A050-4639-856C-0E78E591ACB1}"/>
              </a:ext>
            </a:extLst>
          </p:cNvPr>
          <p:cNvSpPr>
            <a:spLocks noGrp="1"/>
          </p:cNvSpPr>
          <p:nvPr>
            <p:ph type="title"/>
          </p:nvPr>
        </p:nvSpPr>
        <p:spPr/>
        <p:txBody>
          <a:bodyPr vert="horz" lIns="0" tIns="0" rIns="0" bIns="0" rtlCol="0" anchor="t" anchorCtr="0">
            <a:noAutofit/>
          </a:bodyPr>
          <a:lstStyle/>
          <a:p>
            <a:r>
              <a:rPr lang="en-US" dirty="0"/>
              <a:t>Case Study 12: Landing Zone Implementation with Azure BluePrints and the migration of workloads to Azure</a:t>
            </a:r>
          </a:p>
        </p:txBody>
      </p:sp>
      <p:pic>
        <p:nvPicPr>
          <p:cNvPr id="23" name="Imagen 1">
            <a:extLst>
              <a:ext uri="{FF2B5EF4-FFF2-40B4-BE49-F238E27FC236}">
                <a16:creationId xmlns:a16="http://schemas.microsoft.com/office/drawing/2014/main" id="{C160C3E0-B8F6-4E36-B466-00D038B23861}"/>
              </a:ext>
            </a:extLst>
          </p:cNvPr>
          <p:cNvPicPr>
            <a:picLocks noChangeAspect="1"/>
          </p:cNvPicPr>
          <p:nvPr/>
        </p:nvPicPr>
        <p:blipFill>
          <a:blip r:embed="rId8"/>
          <a:stretch>
            <a:fillRect/>
          </a:stretch>
        </p:blipFill>
        <p:spPr>
          <a:xfrm>
            <a:off x="732967" y="1501230"/>
            <a:ext cx="3151376" cy="1237510"/>
          </a:xfrm>
          <a:prstGeom prst="rect">
            <a:avLst/>
          </a:prstGeom>
        </p:spPr>
      </p:pic>
      <p:pic>
        <p:nvPicPr>
          <p:cNvPr id="24" name="Imagen 33">
            <a:extLst>
              <a:ext uri="{FF2B5EF4-FFF2-40B4-BE49-F238E27FC236}">
                <a16:creationId xmlns:a16="http://schemas.microsoft.com/office/drawing/2014/main" id="{05328ED8-9924-44B6-9A15-08950BEACEB5}"/>
              </a:ext>
            </a:extLst>
          </p:cNvPr>
          <p:cNvPicPr/>
          <p:nvPr/>
        </p:nvPicPr>
        <p:blipFill rotWithShape="1">
          <a:blip r:embed="rId9"/>
          <a:srcRect l="10567" t="6555" r="1968" b="6939"/>
          <a:stretch/>
        </p:blipFill>
        <p:spPr>
          <a:xfrm>
            <a:off x="732967" y="3193022"/>
            <a:ext cx="3151376" cy="1435333"/>
          </a:xfrm>
          <a:prstGeom prst="rect">
            <a:avLst/>
          </a:prstGeom>
        </p:spPr>
      </p:pic>
      <p:pic>
        <p:nvPicPr>
          <p:cNvPr id="25" name="Imagen 34">
            <a:extLst>
              <a:ext uri="{FF2B5EF4-FFF2-40B4-BE49-F238E27FC236}">
                <a16:creationId xmlns:a16="http://schemas.microsoft.com/office/drawing/2014/main" id="{E18313CE-C57B-4F59-8C7F-C710D6CBE25C}"/>
              </a:ext>
            </a:extLst>
          </p:cNvPr>
          <p:cNvPicPr/>
          <p:nvPr/>
        </p:nvPicPr>
        <p:blipFill rotWithShape="1">
          <a:blip r:embed="rId10"/>
          <a:srcRect l="5432" t="4691" r="19571" b="24966"/>
          <a:stretch/>
        </p:blipFill>
        <p:spPr bwMode="auto">
          <a:xfrm>
            <a:off x="732967" y="4909693"/>
            <a:ext cx="3151376" cy="1657431"/>
          </a:xfrm>
          <a:prstGeom prst="rect">
            <a:avLst/>
          </a:prstGeom>
          <a:ln>
            <a:noFill/>
          </a:ln>
          <a:extLst>
            <a:ext uri="{53640926-AAD7-44D8-BBD7-CCE9431645EC}">
              <a14:shadowObscured xmlns:a14="http://schemas.microsoft.com/office/drawing/2010/main"/>
            </a:ext>
          </a:extLst>
        </p:spPr>
      </p:pic>
      <p:grpSp>
        <p:nvGrpSpPr>
          <p:cNvPr id="27" name="Group 26">
            <a:extLst>
              <a:ext uri="{FF2B5EF4-FFF2-40B4-BE49-F238E27FC236}">
                <a16:creationId xmlns:a16="http://schemas.microsoft.com/office/drawing/2014/main" id="{6DFD422F-17CF-47E0-85AC-D732ECAA6BA7}"/>
              </a:ext>
            </a:extLst>
          </p:cNvPr>
          <p:cNvGrpSpPr/>
          <p:nvPr/>
        </p:nvGrpSpPr>
        <p:grpSpPr>
          <a:xfrm>
            <a:off x="4131700" y="1201658"/>
            <a:ext cx="7417382" cy="179858"/>
            <a:chOff x="4552129" y="1390071"/>
            <a:chExt cx="8178436" cy="198312"/>
          </a:xfrm>
        </p:grpSpPr>
        <p:cxnSp>
          <p:nvCxnSpPr>
            <p:cNvPr id="28" name="Straight Connector 27">
              <a:extLst>
                <a:ext uri="{FF2B5EF4-FFF2-40B4-BE49-F238E27FC236}">
                  <a16:creationId xmlns:a16="http://schemas.microsoft.com/office/drawing/2014/main" id="{1FA58383-2773-4A85-9017-75E9DFE481DB}"/>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29" name="Rectangle 28">
              <a:extLst>
                <a:ext uri="{FF2B5EF4-FFF2-40B4-BE49-F238E27FC236}">
                  <a16:creationId xmlns:a16="http://schemas.microsoft.com/office/drawing/2014/main" id="{ACF4BB27-02AF-4A13-A539-2C68421EC43A}"/>
                </a:ext>
              </a:extLst>
            </p:cNvPr>
            <p:cNvSpPr>
              <a:spLocks/>
            </p:cNvSpPr>
            <p:nvPr/>
          </p:nvSpPr>
          <p:spPr>
            <a:xfrm>
              <a:off x="4552129" y="1390071"/>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Challenge</a:t>
              </a:r>
            </a:p>
          </p:txBody>
        </p:sp>
      </p:grpSp>
    </p:spTree>
    <p:extLst>
      <p:ext uri="{BB962C8B-B14F-4D97-AF65-F5344CB8AC3E}">
        <p14:creationId xmlns:p14="http://schemas.microsoft.com/office/powerpoint/2010/main" val="18064878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615" y="1621"/>
          <a:ext cx="1440" cy="1440"/>
        </p:xfrm>
        <a:graphic>
          <a:graphicData uri="http://schemas.openxmlformats.org/presentationml/2006/ole">
            <mc:AlternateContent xmlns:mc="http://schemas.openxmlformats.org/markup-compatibility/2006">
              <mc:Choice xmlns:v="urn:schemas-microsoft-com:vml" Requires="v">
                <p:oleObj spid="_x0000_s299017"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615" y="162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3176" y="181"/>
            <a:ext cx="143977" cy="14397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269"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grpSp>
        <p:nvGrpSpPr>
          <p:cNvPr id="11" name="Group 10">
            <a:extLst>
              <a:ext uri="{FF2B5EF4-FFF2-40B4-BE49-F238E27FC236}">
                <a16:creationId xmlns:a16="http://schemas.microsoft.com/office/drawing/2014/main" id="{9DF01959-A6D6-4940-A6F9-89C5ED931228}"/>
              </a:ext>
            </a:extLst>
          </p:cNvPr>
          <p:cNvGrpSpPr/>
          <p:nvPr/>
        </p:nvGrpSpPr>
        <p:grpSpPr>
          <a:xfrm>
            <a:off x="4131701" y="1986856"/>
            <a:ext cx="7386917" cy="18144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701" y="5085139"/>
            <a:ext cx="7325989" cy="19471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IN" sz="999"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701" y="1443179"/>
            <a:ext cx="7386917" cy="461280"/>
          </a:xfrm>
          <a:prstGeom prst="rect">
            <a:avLst/>
          </a:prstGeom>
          <a:noFill/>
        </p:spPr>
        <p:txBody>
          <a:bodyPr wrap="square" lIns="0" tIns="0" rIns="0" bIns="0" rtlCol="0">
            <a:spAutoFit/>
          </a:bodyPr>
          <a:lstStyle/>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Large government agency wanted to assess the existing cloud footprint on public cloud to identify gaps and build a remediation roadmap. Design, architect and develop solutions for cloud migrations, standard operating environment and foundational services on Azure.</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701" y="2230910"/>
            <a:ext cx="7325988" cy="2806538"/>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ssessment of existing strategy for public cloud and deep-dive analysis of current implementation on Azure</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fined future-state roadmap with recommendations on MVP component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Provided a roadmap, project plan and activities  breakdown in  agile execution</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igration</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Identified relevant migration patterns and established criteria to determine priorities, migration process and migration tools</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Built backlog for pilot and mass migrations</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nabled migration with tools, process and a migration playbook </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Foundational Services on Azure</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signed patterns and defined standards for relevant Azure services (e.g. EC2, VPC, RDS, S3, EBS, etc.)</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Remediated existing gaps prioritized for Azure foundational service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Standard Operating Environment</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Reviewed the existing Operations on-premises for seamless integration with public cloud</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veloped core components for a standard operating environment on Azure</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Validated the solution for new and migrated servers on Azure</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701" y="5344137"/>
            <a:ext cx="7325988" cy="1230209"/>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xecutable cloud adoption roadmap for cloud migrations and standard operating environment on Azure</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ssisted client with application discovery to expedite cloud migration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Remediated Azure foundational services gaps across 5 Azure accounts and delivered Infrastructure-as-code solution for future implementation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Exceeded the milestone of 100+ migrations over the course of the engagement</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livered a Standard Operating Environment with 6 core components – Patch Management, Backups and Restore, Availability Monitoring, Security Monitoring, Image Management and Logging</a:t>
            </a:r>
          </a:p>
        </p:txBody>
      </p:sp>
      <p:sp>
        <p:nvSpPr>
          <p:cNvPr id="22" name="Title 2">
            <a:extLst>
              <a:ext uri="{FF2B5EF4-FFF2-40B4-BE49-F238E27FC236}">
                <a16:creationId xmlns:a16="http://schemas.microsoft.com/office/drawing/2014/main" id="{26F3A1B1-A050-4639-856C-0E78E591ACB1}"/>
              </a:ext>
            </a:extLst>
          </p:cNvPr>
          <p:cNvSpPr>
            <a:spLocks noGrp="1"/>
          </p:cNvSpPr>
          <p:nvPr>
            <p:ph type="title"/>
          </p:nvPr>
        </p:nvSpPr>
        <p:spPr/>
        <p:txBody>
          <a:bodyPr vert="horz" lIns="0" tIns="0" rIns="0" bIns="0" rtlCol="0" anchor="t" anchorCtr="0">
            <a:noAutofit/>
          </a:bodyPr>
          <a:lstStyle/>
          <a:p>
            <a:r>
              <a:rPr lang="en-US" dirty="0"/>
              <a:t>Case Study 13: Cloud adoption roadmap for large government agency</a:t>
            </a:r>
            <a:br>
              <a:rPr lang="en-US" dirty="0"/>
            </a:br>
            <a:endParaRPr lang="en-US" dirty="0"/>
          </a:p>
        </p:txBody>
      </p:sp>
      <p:grpSp>
        <p:nvGrpSpPr>
          <p:cNvPr id="27" name="Group 26">
            <a:extLst>
              <a:ext uri="{FF2B5EF4-FFF2-40B4-BE49-F238E27FC236}">
                <a16:creationId xmlns:a16="http://schemas.microsoft.com/office/drawing/2014/main" id="{6F7A6184-DD0B-4845-88D2-D52F14E4F1E1}"/>
              </a:ext>
            </a:extLst>
          </p:cNvPr>
          <p:cNvGrpSpPr/>
          <p:nvPr/>
        </p:nvGrpSpPr>
        <p:grpSpPr>
          <a:xfrm>
            <a:off x="4131700" y="1201658"/>
            <a:ext cx="7417382" cy="179858"/>
            <a:chOff x="4552129" y="1390071"/>
            <a:chExt cx="8178436" cy="198312"/>
          </a:xfrm>
        </p:grpSpPr>
        <p:cxnSp>
          <p:nvCxnSpPr>
            <p:cNvPr id="28" name="Straight Connector 27">
              <a:extLst>
                <a:ext uri="{FF2B5EF4-FFF2-40B4-BE49-F238E27FC236}">
                  <a16:creationId xmlns:a16="http://schemas.microsoft.com/office/drawing/2014/main" id="{5E97C648-E0E3-4C15-9521-BCD72B6F065E}"/>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29" name="Rectangle 28">
              <a:extLst>
                <a:ext uri="{FF2B5EF4-FFF2-40B4-BE49-F238E27FC236}">
                  <a16:creationId xmlns:a16="http://schemas.microsoft.com/office/drawing/2014/main" id="{388EA58D-FCAE-462A-9BB0-193337724216}"/>
                </a:ext>
              </a:extLst>
            </p:cNvPr>
            <p:cNvSpPr>
              <a:spLocks/>
            </p:cNvSpPr>
            <p:nvPr/>
          </p:nvSpPr>
          <p:spPr>
            <a:xfrm>
              <a:off x="4552129" y="1390071"/>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Challenge</a:t>
              </a:r>
            </a:p>
          </p:txBody>
        </p:sp>
      </p:grpSp>
      <p:grpSp>
        <p:nvGrpSpPr>
          <p:cNvPr id="20" name="Group 19">
            <a:extLst>
              <a:ext uri="{FF2B5EF4-FFF2-40B4-BE49-F238E27FC236}">
                <a16:creationId xmlns:a16="http://schemas.microsoft.com/office/drawing/2014/main" id="{0292EAE0-F544-4772-A194-11BAD085827E}"/>
              </a:ext>
            </a:extLst>
          </p:cNvPr>
          <p:cNvGrpSpPr>
            <a:grpSpLocks/>
          </p:cNvGrpSpPr>
          <p:nvPr/>
        </p:nvGrpSpPr>
        <p:grpSpPr>
          <a:xfrm>
            <a:off x="1965413" y="2604219"/>
            <a:ext cx="1907412" cy="991366"/>
            <a:chOff x="9863247" y="6398645"/>
            <a:chExt cx="1326115" cy="819780"/>
          </a:xfrm>
          <a:effectLst/>
        </p:grpSpPr>
        <p:sp>
          <p:nvSpPr>
            <p:cNvPr id="21" name="Rectangle 20">
              <a:extLst>
                <a:ext uri="{FF2B5EF4-FFF2-40B4-BE49-F238E27FC236}">
                  <a16:creationId xmlns:a16="http://schemas.microsoft.com/office/drawing/2014/main" id="{3F5BEC5A-1329-4236-8D19-AABE00C8E33A}"/>
                </a:ext>
              </a:extLst>
            </p:cNvPr>
            <p:cNvSpPr>
              <a:spLocks/>
            </p:cNvSpPr>
            <p:nvPr/>
          </p:nvSpPr>
          <p:spPr>
            <a:xfrm>
              <a:off x="9863247" y="6398645"/>
              <a:ext cx="1326115" cy="819780"/>
            </a:xfrm>
            <a:prstGeom prst="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812" eaLnBrk="1" fontAlgn="auto" hangingPunct="1">
                <a:spcBef>
                  <a:spcPts val="0"/>
                </a:spcBef>
                <a:spcAft>
                  <a:spcPts val="0"/>
                </a:spcAft>
                <a:defRPr/>
              </a:pPr>
              <a:endParaRPr lang="en-US" sz="1398">
                <a:solidFill>
                  <a:srgbClr val="000000"/>
                </a:solidFill>
                <a:latin typeface="EYInterstate Light" panose="02000506000000020004" pitchFamily="2" charset="0"/>
              </a:endParaRPr>
            </a:p>
          </p:txBody>
        </p:sp>
        <p:pic>
          <p:nvPicPr>
            <p:cNvPr id="23" name="Picture 22">
              <a:extLst>
                <a:ext uri="{FF2B5EF4-FFF2-40B4-BE49-F238E27FC236}">
                  <a16:creationId xmlns:a16="http://schemas.microsoft.com/office/drawing/2014/main" id="{E0E4193E-7A88-421B-BF76-9391AA59870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863247" y="6398645"/>
              <a:ext cx="1326115" cy="819780"/>
            </a:xfrm>
            <a:prstGeom prst="rect">
              <a:avLst/>
            </a:prstGeom>
            <a:ln>
              <a:noFill/>
            </a:ln>
            <a:effectLst>
              <a:outerShdw blurRad="292100" dist="139700" dir="2700000" algn="tl" rotWithShape="0">
                <a:srgbClr val="333333">
                  <a:alpha val="65000"/>
                </a:srgbClr>
              </a:outerShdw>
            </a:effectLst>
          </p:spPr>
        </p:pic>
      </p:grpSp>
      <p:pic>
        <p:nvPicPr>
          <p:cNvPr id="24" name="Picture 23">
            <a:extLst>
              <a:ext uri="{FF2B5EF4-FFF2-40B4-BE49-F238E27FC236}">
                <a16:creationId xmlns:a16="http://schemas.microsoft.com/office/drawing/2014/main" id="{265846F7-7916-456A-9E88-D87E3EF2408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32967" y="1501231"/>
            <a:ext cx="1907412" cy="1036514"/>
          </a:xfrm>
          <a:prstGeom prst="rect">
            <a:avLst/>
          </a:prstGeom>
          <a:ln>
            <a:noFill/>
          </a:ln>
          <a:effectLst/>
        </p:spPr>
      </p:pic>
      <p:pic>
        <p:nvPicPr>
          <p:cNvPr id="25" name="Picture 24">
            <a:extLst>
              <a:ext uri="{FF2B5EF4-FFF2-40B4-BE49-F238E27FC236}">
                <a16:creationId xmlns:a16="http://schemas.microsoft.com/office/drawing/2014/main" id="{2FC2DD6E-6BC6-41C9-9FF7-8E18A0F8DF7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965413" y="5270464"/>
            <a:ext cx="1907412" cy="1341430"/>
          </a:xfrm>
          <a:prstGeom prst="rect">
            <a:avLst/>
          </a:prstGeom>
          <a:ln>
            <a:noFill/>
          </a:ln>
          <a:effectLst/>
        </p:spPr>
      </p:pic>
      <p:pic>
        <p:nvPicPr>
          <p:cNvPr id="26" name="Picture 25">
            <a:extLst>
              <a:ext uri="{FF2B5EF4-FFF2-40B4-BE49-F238E27FC236}">
                <a16:creationId xmlns:a16="http://schemas.microsoft.com/office/drawing/2014/main" id="{DAF86D81-3D24-4ED4-B3BB-0E9CA46A98B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70658" y="3917597"/>
            <a:ext cx="1907412" cy="1253277"/>
          </a:xfrm>
          <a:prstGeom prst="rect">
            <a:avLst/>
          </a:prstGeom>
          <a:ln>
            <a:noFill/>
          </a:ln>
          <a:effectLst/>
        </p:spPr>
      </p:pic>
      <p:pic>
        <p:nvPicPr>
          <p:cNvPr id="30" name="Picture 29">
            <a:extLst>
              <a:ext uri="{FF2B5EF4-FFF2-40B4-BE49-F238E27FC236}">
                <a16:creationId xmlns:a16="http://schemas.microsoft.com/office/drawing/2014/main" id="{1AE51169-0072-4EC4-960A-FC0CABC25D2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32967" y="3714794"/>
            <a:ext cx="1907412" cy="1086635"/>
          </a:xfrm>
          <a:prstGeom prst="rect">
            <a:avLst/>
          </a:prstGeom>
          <a:ln>
            <a:noFill/>
          </a:ln>
          <a:effectLst/>
        </p:spPr>
      </p:pic>
    </p:spTree>
    <p:extLst>
      <p:ext uri="{BB962C8B-B14F-4D97-AF65-F5344CB8AC3E}">
        <p14:creationId xmlns:p14="http://schemas.microsoft.com/office/powerpoint/2010/main" val="26736474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FCCBFD-70F4-4BF7-B474-FA44D3C3097D}"/>
              </a:ext>
            </a:extLst>
          </p:cNvPr>
          <p:cNvGraphicFramePr>
            <a:graphicFrameLocks noChangeAspect="1"/>
          </p:cNvGraphicFramePr>
          <p:nvPr>
            <p:custDataLst>
              <p:tags r:id="rId2"/>
            </p:custDataLst>
          </p:nvPr>
        </p:nvGraphicFramePr>
        <p:xfrm>
          <a:off x="4615" y="1621"/>
          <a:ext cx="1440" cy="1440"/>
        </p:xfrm>
        <a:graphic>
          <a:graphicData uri="http://schemas.openxmlformats.org/presentationml/2006/ole">
            <mc:AlternateContent xmlns:mc="http://schemas.openxmlformats.org/markup-compatibility/2006">
              <mc:Choice xmlns:v="urn:schemas-microsoft-com:vml" Requires="v">
                <p:oleObj spid="_x0000_s301065"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1AFCCBFD-70F4-4BF7-B474-FA44D3C3097D}"/>
                          </a:ext>
                        </a:extLst>
                      </p:cNvPr>
                      <p:cNvPicPr/>
                      <p:nvPr/>
                    </p:nvPicPr>
                    <p:blipFill>
                      <a:blip r:embed="rId7"/>
                      <a:stretch>
                        <a:fillRect/>
                      </a:stretch>
                    </p:blipFill>
                    <p:spPr>
                      <a:xfrm>
                        <a:off x="4615" y="1621"/>
                        <a:ext cx="1440"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87396-92A5-4692-9F84-256E9DFBE4F8}"/>
              </a:ext>
            </a:extLst>
          </p:cNvPr>
          <p:cNvSpPr/>
          <p:nvPr>
            <p:custDataLst>
              <p:tags r:id="rId3"/>
            </p:custDataLst>
          </p:nvPr>
        </p:nvSpPr>
        <p:spPr>
          <a:xfrm>
            <a:off x="3176" y="181"/>
            <a:ext cx="143977" cy="14397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defTabSz="829269" eaLnBrk="1" hangingPunct="1">
              <a:spcAft>
                <a:spcPct val="50000"/>
              </a:spcAft>
              <a:buClr>
                <a:srgbClr val="FFE600"/>
              </a:buClr>
              <a:buSzPct val="80000"/>
              <a:defRPr/>
            </a:pPr>
            <a:endParaRPr lang="en-US" sz="2177" b="1">
              <a:solidFill>
                <a:srgbClr val="000000"/>
              </a:solidFill>
              <a:latin typeface="EYInterstate"/>
              <a:cs typeface="Arial" panose="020B0604020202020204" pitchFamily="34" charset="0"/>
              <a:sym typeface="EYInterstate" panose="02000503020000020004" pitchFamily="2" charset="0"/>
            </a:endParaRPr>
          </a:p>
        </p:txBody>
      </p:sp>
      <p:grpSp>
        <p:nvGrpSpPr>
          <p:cNvPr id="11" name="Group 10">
            <a:extLst>
              <a:ext uri="{FF2B5EF4-FFF2-40B4-BE49-F238E27FC236}">
                <a16:creationId xmlns:a16="http://schemas.microsoft.com/office/drawing/2014/main" id="{9DF01959-A6D6-4940-A6F9-89C5ED931228}"/>
              </a:ext>
            </a:extLst>
          </p:cNvPr>
          <p:cNvGrpSpPr/>
          <p:nvPr/>
        </p:nvGrpSpPr>
        <p:grpSpPr>
          <a:xfrm>
            <a:off x="4131701" y="2228738"/>
            <a:ext cx="7386917" cy="181445"/>
            <a:chOff x="4552129" y="2576048"/>
            <a:chExt cx="8144846" cy="200062"/>
          </a:xfrm>
        </p:grpSpPr>
        <p:cxnSp>
          <p:nvCxnSpPr>
            <p:cNvPr id="111" name="Straight Connector 110">
              <a:extLst>
                <a:ext uri="{FF2B5EF4-FFF2-40B4-BE49-F238E27FC236}">
                  <a16:creationId xmlns:a16="http://schemas.microsoft.com/office/drawing/2014/main" id="{5D063040-A6DC-412C-A380-9A554731107D}"/>
                </a:ext>
              </a:extLst>
            </p:cNvPr>
            <p:cNvCxnSpPr>
              <a:cxnSpLocks/>
            </p:cNvCxnSpPr>
            <p:nvPr/>
          </p:nvCxnSpPr>
          <p:spPr>
            <a:xfrm flipH="1">
              <a:off x="4552130" y="2776110"/>
              <a:ext cx="8144845" cy="0"/>
            </a:xfrm>
            <a:prstGeom prst="line">
              <a:avLst/>
            </a:prstGeom>
            <a:noFill/>
            <a:ln w="6350" cap="flat" cmpd="sng" algn="ctr">
              <a:solidFill>
                <a:srgbClr val="C0C0C0"/>
              </a:solidFill>
              <a:prstDash val="solid"/>
              <a:tailEnd type="none"/>
            </a:ln>
            <a:effectLst/>
          </p:spPr>
        </p:cxnSp>
        <p:sp>
          <p:nvSpPr>
            <p:cNvPr id="112" name="Rectangle 111">
              <a:extLst>
                <a:ext uri="{FF2B5EF4-FFF2-40B4-BE49-F238E27FC236}">
                  <a16:creationId xmlns:a16="http://schemas.microsoft.com/office/drawing/2014/main" id="{A8E3F35C-9E11-40B6-9A1F-330A1E1677B5}"/>
                </a:ext>
              </a:extLst>
            </p:cNvPr>
            <p:cNvSpPr>
              <a:spLocks/>
            </p:cNvSpPr>
            <p:nvPr/>
          </p:nvSpPr>
          <p:spPr>
            <a:xfrm>
              <a:off x="4552129" y="2576048"/>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How EY Helped</a:t>
              </a:r>
            </a:p>
          </p:txBody>
        </p:sp>
      </p:grpSp>
      <p:grpSp>
        <p:nvGrpSpPr>
          <p:cNvPr id="12" name="Group 11">
            <a:extLst>
              <a:ext uri="{FF2B5EF4-FFF2-40B4-BE49-F238E27FC236}">
                <a16:creationId xmlns:a16="http://schemas.microsoft.com/office/drawing/2014/main" id="{6A74AC54-23B1-41C6-A5AE-055ED90282B9}"/>
              </a:ext>
            </a:extLst>
          </p:cNvPr>
          <p:cNvGrpSpPr/>
          <p:nvPr/>
        </p:nvGrpSpPr>
        <p:grpSpPr>
          <a:xfrm>
            <a:off x="4131701" y="4728075"/>
            <a:ext cx="7325989" cy="194714"/>
            <a:chOff x="4552129" y="5555892"/>
            <a:chExt cx="8077666" cy="214692"/>
          </a:xfrm>
        </p:grpSpPr>
        <p:cxnSp>
          <p:nvCxnSpPr>
            <p:cNvPr id="113" name="Straight Connector 112">
              <a:extLst>
                <a:ext uri="{FF2B5EF4-FFF2-40B4-BE49-F238E27FC236}">
                  <a16:creationId xmlns:a16="http://schemas.microsoft.com/office/drawing/2014/main" id="{9414FDB7-DD2B-4A97-AE67-5071BB93D1EA}"/>
                </a:ext>
              </a:extLst>
            </p:cNvPr>
            <p:cNvCxnSpPr>
              <a:cxnSpLocks/>
            </p:cNvCxnSpPr>
            <p:nvPr/>
          </p:nvCxnSpPr>
          <p:spPr>
            <a:xfrm flipH="1">
              <a:off x="4552130" y="5770584"/>
              <a:ext cx="8077665" cy="0"/>
            </a:xfrm>
            <a:prstGeom prst="line">
              <a:avLst/>
            </a:prstGeom>
            <a:noFill/>
            <a:ln w="6350" cap="flat" cmpd="sng" algn="ctr">
              <a:solidFill>
                <a:srgbClr val="C0C0C0"/>
              </a:solidFill>
              <a:prstDash val="solid"/>
              <a:tailEnd type="none"/>
            </a:ln>
            <a:effectLst/>
          </p:spPr>
        </p:cxnSp>
        <p:sp>
          <p:nvSpPr>
            <p:cNvPr id="114" name="Rectangle 113">
              <a:extLst>
                <a:ext uri="{FF2B5EF4-FFF2-40B4-BE49-F238E27FC236}">
                  <a16:creationId xmlns:a16="http://schemas.microsoft.com/office/drawing/2014/main" id="{5411C6FD-81C8-4E90-904A-62047DE31E44}"/>
                </a:ext>
              </a:extLst>
            </p:cNvPr>
            <p:cNvSpPr>
              <a:spLocks/>
            </p:cNvSpPr>
            <p:nvPr/>
          </p:nvSpPr>
          <p:spPr>
            <a:xfrm>
              <a:off x="4552129" y="5555892"/>
              <a:ext cx="5108785"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IN" sz="999" b="1" kern="0">
                  <a:solidFill>
                    <a:srgbClr val="006BAF"/>
                  </a:solidFill>
                  <a:latin typeface="EYInterstate"/>
                  <a:ea typeface="EYInterstate" charset="0"/>
                  <a:cs typeface="Arial" panose="020B0604020202020204" pitchFamily="34" charset="0"/>
                </a:rPr>
                <a:t>Results at a glance</a:t>
              </a:r>
            </a:p>
          </p:txBody>
        </p:sp>
      </p:grpSp>
      <p:sp>
        <p:nvSpPr>
          <p:cNvPr id="115" name="TextBox 114">
            <a:extLst>
              <a:ext uri="{FF2B5EF4-FFF2-40B4-BE49-F238E27FC236}">
                <a16:creationId xmlns:a16="http://schemas.microsoft.com/office/drawing/2014/main" id="{7606A932-61DD-4245-BBC3-6E733E0D8FF1}"/>
              </a:ext>
            </a:extLst>
          </p:cNvPr>
          <p:cNvSpPr txBox="1"/>
          <p:nvPr/>
        </p:nvSpPr>
        <p:spPr>
          <a:xfrm>
            <a:off x="4131701" y="1443178"/>
            <a:ext cx="7386917" cy="691984"/>
          </a:xfrm>
          <a:prstGeom prst="rect">
            <a:avLst/>
          </a:prstGeom>
          <a:noFill/>
        </p:spPr>
        <p:txBody>
          <a:bodyPr wrap="square" lIns="0" tIns="0" rIns="0" bIns="0" rtlCol="0">
            <a:spAutoFit/>
          </a:bodyPr>
          <a:lstStyle/>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he client built a greenfield operation leveraging cloud. Closing the on-premises  data centers required application re-host, refactor migration planning, execution and support</a:t>
            </a:r>
          </a:p>
          <a:p>
            <a:pPr marL="177694" indent="-177694" defTabSz="829269" eaLnBrk="1" hangingPunct="1">
              <a:spcAft>
                <a:spcPts val="599"/>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The goal was to build a sustainable next generation cloud-based, firm-wide  capability that different business units can use to accelerate the modernization of  applications</a:t>
            </a:r>
          </a:p>
        </p:txBody>
      </p:sp>
      <p:sp>
        <p:nvSpPr>
          <p:cNvPr id="116" name="TextBox 115">
            <a:extLst>
              <a:ext uri="{FF2B5EF4-FFF2-40B4-BE49-F238E27FC236}">
                <a16:creationId xmlns:a16="http://schemas.microsoft.com/office/drawing/2014/main" id="{BB9B0ADC-6B7A-450B-9AD2-48D1EBD6CE96}"/>
              </a:ext>
            </a:extLst>
          </p:cNvPr>
          <p:cNvSpPr txBox="1"/>
          <p:nvPr/>
        </p:nvSpPr>
        <p:spPr>
          <a:xfrm>
            <a:off x="4131701" y="2472793"/>
            <a:ext cx="7325988" cy="2229841"/>
          </a:xfrm>
          <a:prstGeom prst="rect">
            <a:avLst/>
          </a:prstGeom>
          <a:noFill/>
        </p:spPr>
        <p:txBody>
          <a:bodyPr wrap="square" lIns="0" tIns="0" rIns="0" bIns="0" rtlCol="0">
            <a:spAutoFit/>
          </a:bodyPr>
          <a:lstStyle/>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Performed current state assessment of enterprise technology strategy, vision,  mission, and goals</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Identified conversion capability consisting of five key areas:</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obilization (service life cycle); Impact assessment; Planning/architecture;  Build/implementation; System validation/testing</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ssist in building comprehensive frameworks for mobilization and impact  assessment</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ssist building different frameworks for planning/architecture, build/implementation, and system validation/testing</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Consolidated playbook and executed migration, including:</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rchitecture playbook</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Procedures for profiling and rationalizing applications</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Solutions delivery playbook: defining procedures for converting applications  and data to the new platform</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igration Dev / Test / Production to Azure</a:t>
            </a:r>
          </a:p>
          <a:p>
            <a:pPr marL="591966" lvl="1"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efining ITIL compliant procedures for transitioning applications and data into production</a:t>
            </a:r>
          </a:p>
        </p:txBody>
      </p:sp>
      <p:sp>
        <p:nvSpPr>
          <p:cNvPr id="143" name="TextBox 142">
            <a:extLst>
              <a:ext uri="{FF2B5EF4-FFF2-40B4-BE49-F238E27FC236}">
                <a16:creationId xmlns:a16="http://schemas.microsoft.com/office/drawing/2014/main" id="{D6D0E33C-DC1C-4A70-A8BF-54D4DE6F8354}"/>
              </a:ext>
            </a:extLst>
          </p:cNvPr>
          <p:cNvSpPr txBox="1"/>
          <p:nvPr/>
        </p:nvSpPr>
        <p:spPr>
          <a:xfrm>
            <a:off x="4131701" y="4987071"/>
            <a:ext cx="7325988" cy="2040892"/>
          </a:xfrm>
          <a:prstGeom prst="rect">
            <a:avLst/>
          </a:prstGeom>
          <a:noFill/>
        </p:spPr>
        <p:txBody>
          <a:bodyPr wrap="square" lIns="0" tIns="0" rIns="0" bIns="0" numCol="2" rtlCol="0">
            <a:spAutoFit/>
          </a:bodyPr>
          <a:lstStyle/>
          <a:p>
            <a:pPr defTabSz="829269" eaLnBrk="1" hangingPunct="1">
              <a:spcAft>
                <a:spcPts val="300"/>
              </a:spcAft>
              <a:buClr>
                <a:srgbClr val="FFD503"/>
              </a:buClr>
              <a:buSzPct val="70000"/>
              <a:defRPr/>
            </a:pPr>
            <a:r>
              <a:rPr lang="en-US" sz="999">
                <a:solidFill>
                  <a:srgbClr val="646464">
                    <a:lumMod val="50000"/>
                  </a:srgbClr>
                </a:solidFill>
                <a:latin typeface="EYInterstate Light" pitchFamily="2" charset="0"/>
                <a:ea typeface="EYInterstate" charset="0"/>
                <a:cs typeface="Arial" panose="020B0604020202020204" pitchFamily="34" charset="0"/>
              </a:rPr>
              <a:t>Digital &amp; Cloud</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Build cloud application  migration factory</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Release packages and wave planning</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igration risk and impact analysis</a:t>
            </a:r>
            <a:br>
              <a:rPr lang="en-US" sz="999">
                <a:solidFill>
                  <a:srgbClr val="646464">
                    <a:lumMod val="50000"/>
                  </a:srgbClr>
                </a:solidFill>
                <a:latin typeface="EYInterstate Light" pitchFamily="2" charset="0"/>
                <a:ea typeface="EYInterstate" charset="0"/>
                <a:cs typeface="Arial" panose="020B0604020202020204" pitchFamily="34" charset="0"/>
              </a:rPr>
            </a:br>
            <a:endParaRPr lang="en-US" sz="999">
              <a:solidFill>
                <a:srgbClr val="646464">
                  <a:lumMod val="50000"/>
                </a:srgbClr>
              </a:solidFill>
              <a:latin typeface="EYInterstate Light" pitchFamily="2" charset="0"/>
              <a:ea typeface="EYInterstate" charset="0"/>
              <a:cs typeface="Arial" panose="020B0604020202020204" pitchFamily="34" charset="0"/>
            </a:endParaRPr>
          </a:p>
          <a:p>
            <a:pPr defTabSz="829269" eaLnBrk="1" hangingPunct="1">
              <a:spcAft>
                <a:spcPts val="300"/>
              </a:spcAft>
              <a:buClr>
                <a:srgbClr val="FFD503"/>
              </a:buClr>
              <a:buSzPct val="70000"/>
              <a:defRPr/>
            </a:pPr>
            <a:r>
              <a:rPr lang="en-US" sz="999">
                <a:solidFill>
                  <a:srgbClr val="646464">
                    <a:lumMod val="50000"/>
                  </a:srgbClr>
                </a:solidFill>
                <a:latin typeface="EYInterstate Light" pitchFamily="2" charset="0"/>
                <a:ea typeface="+mn-ea"/>
                <a:cs typeface="Arial" panose="020B0604020202020204" pitchFamily="34" charset="0"/>
              </a:rPr>
              <a:t>Application Portfolio Disposition</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Data collection plan, leveraging  data from prior conversion  initiatives and CMDB</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Systems profiling</a:t>
            </a:r>
          </a:p>
          <a:p>
            <a:pPr defTabSz="829269" eaLnBrk="1" hangingPunct="1">
              <a:spcAft>
                <a:spcPts val="300"/>
              </a:spcAft>
              <a:buClr>
                <a:srgbClr val="FFD503"/>
              </a:buClr>
              <a:buSzPct val="70000"/>
              <a:defRPr/>
            </a:pPr>
            <a:endParaRPr lang="en-US" sz="999">
              <a:solidFill>
                <a:srgbClr val="646464">
                  <a:lumMod val="50000"/>
                </a:srgbClr>
              </a:solidFill>
              <a:latin typeface="EYInterstate Light" pitchFamily="2" charset="0"/>
              <a:ea typeface="EYInterstate" charset="0"/>
              <a:cs typeface="Arial" panose="020B0604020202020204" pitchFamily="34" charset="0"/>
            </a:endParaRPr>
          </a:p>
          <a:p>
            <a:pPr defTabSz="829269" eaLnBrk="1" hangingPunct="1">
              <a:spcAft>
                <a:spcPts val="300"/>
              </a:spcAft>
              <a:buClr>
                <a:srgbClr val="FFD503"/>
              </a:buClr>
              <a:buSzPct val="70000"/>
              <a:defRPr/>
            </a:pPr>
            <a:endParaRPr lang="en-US" sz="999">
              <a:solidFill>
                <a:srgbClr val="646464">
                  <a:lumMod val="50000"/>
                </a:srgbClr>
              </a:solidFill>
              <a:latin typeface="EYInterstate Light" pitchFamily="2" charset="0"/>
              <a:ea typeface="EYInterstate" charset="0"/>
              <a:cs typeface="Arial" panose="020B0604020202020204" pitchFamily="34" charset="0"/>
            </a:endParaRPr>
          </a:p>
          <a:p>
            <a:pPr defTabSz="829269" eaLnBrk="1" hangingPunct="1">
              <a:spcAft>
                <a:spcPts val="300"/>
              </a:spcAft>
              <a:buClr>
                <a:srgbClr val="FFD503"/>
              </a:buClr>
              <a:buSzPct val="70000"/>
              <a:defRPr/>
            </a:pPr>
            <a:endParaRPr lang="en-US" sz="999">
              <a:solidFill>
                <a:srgbClr val="646464">
                  <a:lumMod val="50000"/>
                </a:srgbClr>
              </a:solidFill>
              <a:latin typeface="EYInterstate Light" pitchFamily="2" charset="0"/>
              <a:ea typeface="EYInterstate" charset="0"/>
              <a:cs typeface="Arial" panose="020B0604020202020204" pitchFamily="34" charset="0"/>
            </a:endParaRPr>
          </a:p>
          <a:p>
            <a:pPr marL="177694" indent="-177694" defTabSz="829269" eaLnBrk="1" hangingPunct="1">
              <a:spcAft>
                <a:spcPts val="300"/>
              </a:spcAft>
              <a:buClr>
                <a:srgbClr val="FFD503"/>
              </a:buClr>
              <a:buSzPct val="70000"/>
              <a:buFont typeface="Arial" pitchFamily="34" charset="0"/>
              <a:buChar char="►"/>
              <a:defRPr/>
            </a:pPr>
            <a:endParaRPr lang="en-US" sz="999">
              <a:solidFill>
                <a:srgbClr val="646464">
                  <a:lumMod val="50000"/>
                </a:srgbClr>
              </a:solidFill>
              <a:latin typeface="EYInterstate Light" pitchFamily="2" charset="0"/>
              <a:ea typeface="EYInterstate" charset="0"/>
              <a:cs typeface="Arial" panose="020B0604020202020204" pitchFamily="34" charset="0"/>
            </a:endParaRP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igration planning and execution</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Post-migration support</a:t>
            </a:r>
          </a:p>
          <a:p>
            <a:pPr defTabSz="829269" eaLnBrk="1" hangingPunct="1">
              <a:spcAft>
                <a:spcPts val="300"/>
              </a:spcAft>
              <a:buClr>
                <a:srgbClr val="FFD503"/>
              </a:buClr>
              <a:buSzPct val="70000"/>
              <a:defRPr/>
            </a:pPr>
            <a:endParaRPr lang="en-US" sz="999">
              <a:solidFill>
                <a:srgbClr val="646464">
                  <a:lumMod val="50000"/>
                </a:srgbClr>
              </a:solidFill>
              <a:latin typeface="EYInterstate Light" pitchFamily="2" charset="0"/>
              <a:ea typeface="EYInterstate" charset="0"/>
              <a:cs typeface="Arial" panose="020B0604020202020204" pitchFamily="34" charset="0"/>
            </a:endParaRPr>
          </a:p>
          <a:p>
            <a:pPr defTabSz="829269" eaLnBrk="1" hangingPunct="1">
              <a:spcAft>
                <a:spcPts val="300"/>
              </a:spcAft>
              <a:buClr>
                <a:srgbClr val="FFD503"/>
              </a:buClr>
              <a:buSzPct val="70000"/>
              <a:defRPr/>
            </a:pPr>
            <a:endParaRPr lang="en-US" sz="999">
              <a:solidFill>
                <a:srgbClr val="646464">
                  <a:lumMod val="50000"/>
                </a:srgbClr>
              </a:solidFill>
              <a:latin typeface="EYInterstate Light" pitchFamily="2" charset="0"/>
              <a:ea typeface="EYInterstate" charset="0"/>
              <a:cs typeface="Arial" panose="020B0604020202020204" pitchFamily="34" charset="0"/>
            </a:endParaRP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Application disposition and bundling</a:t>
            </a:r>
          </a:p>
          <a:p>
            <a:pPr marL="177694" indent="-177694" defTabSz="829269" eaLnBrk="1" hangingPunct="1">
              <a:spcAft>
                <a:spcPts val="300"/>
              </a:spcAft>
              <a:buClr>
                <a:srgbClr val="FFD503"/>
              </a:buClr>
              <a:buSzPct val="70000"/>
              <a:buFont typeface="Arial" pitchFamily="34" charset="0"/>
              <a:buChar char="►"/>
              <a:defRPr/>
            </a:pPr>
            <a:r>
              <a:rPr lang="en-US" sz="999">
                <a:solidFill>
                  <a:srgbClr val="646464">
                    <a:lumMod val="50000"/>
                  </a:srgbClr>
                </a:solidFill>
                <a:latin typeface="EYInterstate Light" pitchFamily="2" charset="0"/>
                <a:ea typeface="EYInterstate" charset="0"/>
                <a:cs typeface="Arial" panose="020B0604020202020204" pitchFamily="34" charset="0"/>
              </a:rPr>
              <a:t>Migration options analysis</a:t>
            </a:r>
          </a:p>
          <a:p>
            <a:pPr defTabSz="829269" eaLnBrk="1" hangingPunct="1">
              <a:spcAft>
                <a:spcPts val="300"/>
              </a:spcAft>
              <a:buClr>
                <a:srgbClr val="FFD503"/>
              </a:buClr>
              <a:buSzPct val="70000"/>
              <a:defRPr/>
            </a:pPr>
            <a:endParaRPr lang="en-US" sz="999">
              <a:solidFill>
                <a:srgbClr val="646464">
                  <a:lumMod val="50000"/>
                </a:srgbClr>
              </a:solidFill>
              <a:latin typeface="EYInterstate Light" pitchFamily="2" charset="0"/>
              <a:ea typeface="EYInterstate" charset="0"/>
              <a:cs typeface="Arial" panose="020B0604020202020204" pitchFamily="34" charset="0"/>
            </a:endParaRPr>
          </a:p>
          <a:p>
            <a:pPr defTabSz="829269" eaLnBrk="1" hangingPunct="1">
              <a:spcAft>
                <a:spcPts val="300"/>
              </a:spcAft>
              <a:buClr>
                <a:srgbClr val="FFD503"/>
              </a:buClr>
              <a:buSzPct val="70000"/>
              <a:defRPr/>
            </a:pPr>
            <a:endParaRPr lang="en-US" sz="999">
              <a:solidFill>
                <a:srgbClr val="646464">
                  <a:lumMod val="50000"/>
                </a:srgbClr>
              </a:solidFill>
              <a:latin typeface="EYInterstate Light" pitchFamily="2" charset="0"/>
              <a:ea typeface="EYInterstate" charset="0"/>
              <a:cs typeface="Arial" panose="020B0604020202020204" pitchFamily="34" charset="0"/>
            </a:endParaRPr>
          </a:p>
        </p:txBody>
      </p:sp>
      <p:sp>
        <p:nvSpPr>
          <p:cNvPr id="22" name="Title 2">
            <a:extLst>
              <a:ext uri="{FF2B5EF4-FFF2-40B4-BE49-F238E27FC236}">
                <a16:creationId xmlns:a16="http://schemas.microsoft.com/office/drawing/2014/main" id="{26F3A1B1-A050-4639-856C-0E78E591ACB1}"/>
              </a:ext>
            </a:extLst>
          </p:cNvPr>
          <p:cNvSpPr>
            <a:spLocks noGrp="1"/>
          </p:cNvSpPr>
          <p:nvPr>
            <p:ph type="title"/>
          </p:nvPr>
        </p:nvSpPr>
        <p:spPr>
          <a:xfrm>
            <a:off x="858606" y="551965"/>
            <a:ext cx="11077411" cy="672590"/>
          </a:xfrm>
        </p:spPr>
        <p:txBody>
          <a:bodyPr vert="horz" lIns="0" tIns="0" rIns="0" bIns="0" rtlCol="0" anchor="t" anchorCtr="0">
            <a:noAutofit/>
          </a:bodyPr>
          <a:lstStyle/>
          <a:p>
            <a:r>
              <a:rPr lang="en-US" dirty="0"/>
              <a:t>Case Study 14: Azure Migration - Cloud migration factory for a Fortune 500 client</a:t>
            </a:r>
            <a:br>
              <a:rPr lang="en-US" dirty="0"/>
            </a:br>
            <a:br>
              <a:rPr lang="en-US" dirty="0"/>
            </a:br>
            <a:endParaRPr lang="en-US" dirty="0"/>
          </a:p>
        </p:txBody>
      </p:sp>
      <p:grpSp>
        <p:nvGrpSpPr>
          <p:cNvPr id="27" name="Group 26">
            <a:extLst>
              <a:ext uri="{FF2B5EF4-FFF2-40B4-BE49-F238E27FC236}">
                <a16:creationId xmlns:a16="http://schemas.microsoft.com/office/drawing/2014/main" id="{6F7A6184-DD0B-4845-88D2-D52F14E4F1E1}"/>
              </a:ext>
            </a:extLst>
          </p:cNvPr>
          <p:cNvGrpSpPr/>
          <p:nvPr/>
        </p:nvGrpSpPr>
        <p:grpSpPr>
          <a:xfrm>
            <a:off x="4131700" y="1201658"/>
            <a:ext cx="7417382" cy="179858"/>
            <a:chOff x="4552129" y="1390071"/>
            <a:chExt cx="8178436" cy="198312"/>
          </a:xfrm>
        </p:grpSpPr>
        <p:cxnSp>
          <p:nvCxnSpPr>
            <p:cNvPr id="28" name="Straight Connector 27">
              <a:extLst>
                <a:ext uri="{FF2B5EF4-FFF2-40B4-BE49-F238E27FC236}">
                  <a16:creationId xmlns:a16="http://schemas.microsoft.com/office/drawing/2014/main" id="{5E97C648-E0E3-4C15-9521-BCD72B6F065E}"/>
                </a:ext>
              </a:extLst>
            </p:cNvPr>
            <p:cNvCxnSpPr>
              <a:cxnSpLocks/>
            </p:cNvCxnSpPr>
            <p:nvPr/>
          </p:nvCxnSpPr>
          <p:spPr>
            <a:xfrm flipH="1">
              <a:off x="4552130" y="1588383"/>
              <a:ext cx="8178435" cy="0"/>
            </a:xfrm>
            <a:prstGeom prst="line">
              <a:avLst/>
            </a:prstGeom>
            <a:noFill/>
            <a:ln w="6350" cap="flat" cmpd="sng" algn="ctr">
              <a:solidFill>
                <a:srgbClr val="C0C0C0"/>
              </a:solidFill>
              <a:prstDash val="solid"/>
              <a:tailEnd type="none"/>
            </a:ln>
            <a:effectLst/>
          </p:spPr>
        </p:cxnSp>
        <p:sp>
          <p:nvSpPr>
            <p:cNvPr id="29" name="Rectangle 28">
              <a:extLst>
                <a:ext uri="{FF2B5EF4-FFF2-40B4-BE49-F238E27FC236}">
                  <a16:creationId xmlns:a16="http://schemas.microsoft.com/office/drawing/2014/main" id="{388EA58D-FCAE-462A-9BB0-193337724216}"/>
                </a:ext>
              </a:extLst>
            </p:cNvPr>
            <p:cNvSpPr>
              <a:spLocks/>
            </p:cNvSpPr>
            <p:nvPr/>
          </p:nvSpPr>
          <p:spPr>
            <a:xfrm>
              <a:off x="4552129" y="1390071"/>
              <a:ext cx="6799759" cy="169536"/>
            </a:xfrm>
            <a:prstGeom prst="rect">
              <a:avLst/>
            </a:prstGeom>
          </p:spPr>
          <p:txBody>
            <a:bodyPr wrap="square" lIns="0" tIns="0" rIns="0" bIns="0">
              <a:spAutoFit/>
            </a:bodyPr>
            <a:lstStyle/>
            <a:p>
              <a:pPr defTabSz="829269" eaLnBrk="1" hangingPunct="1">
                <a:spcAft>
                  <a:spcPts val="599"/>
                </a:spcAft>
                <a:buClr>
                  <a:srgbClr val="FFE600"/>
                </a:buClr>
                <a:buSzPct val="80000"/>
                <a:defRPr/>
              </a:pPr>
              <a:r>
                <a:rPr lang="en-US" sz="999" b="1" kern="0">
                  <a:solidFill>
                    <a:srgbClr val="006BAF"/>
                  </a:solidFill>
                  <a:latin typeface="EYInterstate"/>
                  <a:ea typeface="EYInterstate" charset="0"/>
                  <a:cs typeface="Arial" panose="020B0604020202020204" pitchFamily="34" charset="0"/>
                </a:rPr>
                <a:t>Challenge</a:t>
              </a:r>
            </a:p>
          </p:txBody>
        </p:sp>
      </p:grpSp>
      <p:grpSp>
        <p:nvGrpSpPr>
          <p:cNvPr id="20" name="Group 19">
            <a:extLst>
              <a:ext uri="{FF2B5EF4-FFF2-40B4-BE49-F238E27FC236}">
                <a16:creationId xmlns:a16="http://schemas.microsoft.com/office/drawing/2014/main" id="{AF6C083F-9F71-4729-9A7A-A9686D797E1A}"/>
              </a:ext>
            </a:extLst>
          </p:cNvPr>
          <p:cNvGrpSpPr/>
          <p:nvPr/>
        </p:nvGrpSpPr>
        <p:grpSpPr>
          <a:xfrm>
            <a:off x="1481517" y="4108464"/>
            <a:ext cx="1356321" cy="1703586"/>
            <a:chOff x="7927915" y="4931623"/>
            <a:chExt cx="940957" cy="1381191"/>
          </a:xfrm>
        </p:grpSpPr>
        <p:sp>
          <p:nvSpPr>
            <p:cNvPr id="21" name="object 7">
              <a:extLst>
                <a:ext uri="{FF2B5EF4-FFF2-40B4-BE49-F238E27FC236}">
                  <a16:creationId xmlns:a16="http://schemas.microsoft.com/office/drawing/2014/main" id="{A7D568BA-7B4C-47CE-A2CB-278DFA89C486}"/>
                </a:ext>
              </a:extLst>
            </p:cNvPr>
            <p:cNvSpPr/>
            <p:nvPr/>
          </p:nvSpPr>
          <p:spPr>
            <a:xfrm>
              <a:off x="7927915" y="4931623"/>
              <a:ext cx="940957" cy="385064"/>
            </a:xfrm>
            <a:custGeom>
              <a:avLst/>
              <a:gdLst/>
              <a:ahLst/>
              <a:cxnLst/>
              <a:rect l="l" t="t" r="r" b="b"/>
              <a:pathLst>
                <a:path w="853440" h="349250">
                  <a:moveTo>
                    <a:pt x="426720" y="0"/>
                  </a:moveTo>
                  <a:lnTo>
                    <a:pt x="340106" y="3302"/>
                  </a:lnTo>
                  <a:lnTo>
                    <a:pt x="259969" y="13335"/>
                  </a:lnTo>
                  <a:lnTo>
                    <a:pt x="186690" y="29972"/>
                  </a:lnTo>
                  <a:lnTo>
                    <a:pt x="123317" y="49911"/>
                  </a:lnTo>
                  <a:lnTo>
                    <a:pt x="50038" y="89789"/>
                  </a:lnTo>
                  <a:lnTo>
                    <a:pt x="19939" y="122936"/>
                  </a:lnTo>
                  <a:lnTo>
                    <a:pt x="0" y="172847"/>
                  </a:lnTo>
                  <a:lnTo>
                    <a:pt x="3301" y="192786"/>
                  </a:lnTo>
                  <a:lnTo>
                    <a:pt x="33274" y="242697"/>
                  </a:lnTo>
                  <a:lnTo>
                    <a:pt x="96647" y="285877"/>
                  </a:lnTo>
                  <a:lnTo>
                    <a:pt x="186690" y="319024"/>
                  </a:lnTo>
                  <a:lnTo>
                    <a:pt x="259969" y="335661"/>
                  </a:lnTo>
                  <a:lnTo>
                    <a:pt x="340106" y="345694"/>
                  </a:lnTo>
                  <a:lnTo>
                    <a:pt x="426720" y="348996"/>
                  </a:lnTo>
                  <a:lnTo>
                    <a:pt x="513334" y="345694"/>
                  </a:lnTo>
                  <a:lnTo>
                    <a:pt x="593344" y="335661"/>
                  </a:lnTo>
                  <a:lnTo>
                    <a:pt x="666750" y="319024"/>
                  </a:lnTo>
                  <a:lnTo>
                    <a:pt x="426720" y="319024"/>
                  </a:lnTo>
                  <a:lnTo>
                    <a:pt x="340106" y="315722"/>
                  </a:lnTo>
                  <a:lnTo>
                    <a:pt x="263398" y="305816"/>
                  </a:lnTo>
                  <a:lnTo>
                    <a:pt x="196723" y="292481"/>
                  </a:lnTo>
                  <a:lnTo>
                    <a:pt x="140081" y="272542"/>
                  </a:lnTo>
                  <a:lnTo>
                    <a:pt x="73406" y="239268"/>
                  </a:lnTo>
                  <a:lnTo>
                    <a:pt x="36702" y="199390"/>
                  </a:lnTo>
                  <a:lnTo>
                    <a:pt x="29972" y="172847"/>
                  </a:lnTo>
                  <a:lnTo>
                    <a:pt x="33274" y="159512"/>
                  </a:lnTo>
                  <a:lnTo>
                    <a:pt x="59944" y="122936"/>
                  </a:lnTo>
                  <a:lnTo>
                    <a:pt x="93345" y="96393"/>
                  </a:lnTo>
                  <a:lnTo>
                    <a:pt x="140081" y="76454"/>
                  </a:lnTo>
                  <a:lnTo>
                    <a:pt x="196723" y="56515"/>
                  </a:lnTo>
                  <a:lnTo>
                    <a:pt x="263398" y="43180"/>
                  </a:lnTo>
                  <a:lnTo>
                    <a:pt x="340106" y="33274"/>
                  </a:lnTo>
                  <a:lnTo>
                    <a:pt x="426720" y="29972"/>
                  </a:lnTo>
                  <a:lnTo>
                    <a:pt x="666750" y="29972"/>
                  </a:lnTo>
                  <a:lnTo>
                    <a:pt x="593344" y="13335"/>
                  </a:lnTo>
                  <a:lnTo>
                    <a:pt x="513334" y="3302"/>
                  </a:lnTo>
                  <a:lnTo>
                    <a:pt x="426720" y="0"/>
                  </a:lnTo>
                  <a:close/>
                </a:path>
                <a:path w="853440" h="349250">
                  <a:moveTo>
                    <a:pt x="666750" y="29972"/>
                  </a:moveTo>
                  <a:lnTo>
                    <a:pt x="426720" y="29972"/>
                  </a:lnTo>
                  <a:lnTo>
                    <a:pt x="510032" y="33274"/>
                  </a:lnTo>
                  <a:lnTo>
                    <a:pt x="586740" y="43180"/>
                  </a:lnTo>
                  <a:lnTo>
                    <a:pt x="656717" y="56515"/>
                  </a:lnTo>
                  <a:lnTo>
                    <a:pt x="713359" y="76454"/>
                  </a:lnTo>
                  <a:lnTo>
                    <a:pt x="760095" y="96393"/>
                  </a:lnTo>
                  <a:lnTo>
                    <a:pt x="793369" y="122936"/>
                  </a:lnTo>
                  <a:lnTo>
                    <a:pt x="820039" y="159512"/>
                  </a:lnTo>
                  <a:lnTo>
                    <a:pt x="823468" y="172847"/>
                  </a:lnTo>
                  <a:lnTo>
                    <a:pt x="820039" y="186182"/>
                  </a:lnTo>
                  <a:lnTo>
                    <a:pt x="813435" y="199390"/>
                  </a:lnTo>
                  <a:lnTo>
                    <a:pt x="806831" y="212725"/>
                  </a:lnTo>
                  <a:lnTo>
                    <a:pt x="776732" y="239268"/>
                  </a:lnTo>
                  <a:lnTo>
                    <a:pt x="713359" y="272542"/>
                  </a:lnTo>
                  <a:lnTo>
                    <a:pt x="656717" y="292481"/>
                  </a:lnTo>
                  <a:lnTo>
                    <a:pt x="586740" y="305816"/>
                  </a:lnTo>
                  <a:lnTo>
                    <a:pt x="510032" y="315722"/>
                  </a:lnTo>
                  <a:lnTo>
                    <a:pt x="426720" y="319024"/>
                  </a:lnTo>
                  <a:lnTo>
                    <a:pt x="666750" y="319024"/>
                  </a:lnTo>
                  <a:lnTo>
                    <a:pt x="730123" y="299085"/>
                  </a:lnTo>
                  <a:lnTo>
                    <a:pt x="780034" y="272542"/>
                  </a:lnTo>
                  <a:lnTo>
                    <a:pt x="820039" y="242697"/>
                  </a:lnTo>
                  <a:lnTo>
                    <a:pt x="843407" y="209423"/>
                  </a:lnTo>
                  <a:lnTo>
                    <a:pt x="853440" y="172847"/>
                  </a:lnTo>
                  <a:lnTo>
                    <a:pt x="850138" y="156210"/>
                  </a:lnTo>
                  <a:lnTo>
                    <a:pt x="820039" y="106299"/>
                  </a:lnTo>
                  <a:lnTo>
                    <a:pt x="780034" y="76454"/>
                  </a:lnTo>
                  <a:lnTo>
                    <a:pt x="730123" y="49911"/>
                  </a:lnTo>
                  <a:lnTo>
                    <a:pt x="666750" y="29972"/>
                  </a:lnTo>
                  <a:close/>
                </a:path>
              </a:pathLst>
            </a:custGeom>
            <a:solidFill>
              <a:srgbClr val="2D2D38"/>
            </a:solid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23" name="object 8">
              <a:extLst>
                <a:ext uri="{FF2B5EF4-FFF2-40B4-BE49-F238E27FC236}">
                  <a16:creationId xmlns:a16="http://schemas.microsoft.com/office/drawing/2014/main" id="{856707E2-FECD-4456-AA7C-E1B3AC5BA3CC}"/>
                </a:ext>
              </a:extLst>
            </p:cNvPr>
            <p:cNvSpPr/>
            <p:nvPr/>
          </p:nvSpPr>
          <p:spPr>
            <a:xfrm>
              <a:off x="7927915" y="5287843"/>
              <a:ext cx="940957" cy="205134"/>
            </a:xfrm>
            <a:custGeom>
              <a:avLst/>
              <a:gdLst/>
              <a:ahLst/>
              <a:cxnLst/>
              <a:rect l="l" t="t" r="r" b="b"/>
              <a:pathLst>
                <a:path w="853440" h="186054">
                  <a:moveTo>
                    <a:pt x="29972" y="0"/>
                  </a:moveTo>
                  <a:lnTo>
                    <a:pt x="0" y="0"/>
                  </a:lnTo>
                  <a:lnTo>
                    <a:pt x="0" y="13335"/>
                  </a:lnTo>
                  <a:lnTo>
                    <a:pt x="19939" y="66421"/>
                  </a:lnTo>
                  <a:lnTo>
                    <a:pt x="50038" y="96266"/>
                  </a:lnTo>
                  <a:lnTo>
                    <a:pt x="96647" y="126111"/>
                  </a:lnTo>
                  <a:lnTo>
                    <a:pt x="186690" y="159385"/>
                  </a:lnTo>
                  <a:lnTo>
                    <a:pt x="259969" y="172593"/>
                  </a:lnTo>
                  <a:lnTo>
                    <a:pt x="340106" y="182626"/>
                  </a:lnTo>
                  <a:lnTo>
                    <a:pt x="426720" y="185928"/>
                  </a:lnTo>
                  <a:lnTo>
                    <a:pt x="513334" y="182626"/>
                  </a:lnTo>
                  <a:lnTo>
                    <a:pt x="593344" y="172593"/>
                  </a:lnTo>
                  <a:lnTo>
                    <a:pt x="666750" y="159385"/>
                  </a:lnTo>
                  <a:lnTo>
                    <a:pt x="675753" y="156083"/>
                  </a:lnTo>
                  <a:lnTo>
                    <a:pt x="426720" y="156083"/>
                  </a:lnTo>
                  <a:lnTo>
                    <a:pt x="340106" y="152781"/>
                  </a:lnTo>
                  <a:lnTo>
                    <a:pt x="263398" y="146050"/>
                  </a:lnTo>
                  <a:lnTo>
                    <a:pt x="196723" y="129540"/>
                  </a:lnTo>
                  <a:lnTo>
                    <a:pt x="140081" y="112903"/>
                  </a:lnTo>
                  <a:lnTo>
                    <a:pt x="93345" y="89662"/>
                  </a:lnTo>
                  <a:lnTo>
                    <a:pt x="59944" y="66421"/>
                  </a:lnTo>
                  <a:lnTo>
                    <a:pt x="33274" y="26543"/>
                  </a:lnTo>
                  <a:lnTo>
                    <a:pt x="29972" y="13335"/>
                  </a:lnTo>
                  <a:lnTo>
                    <a:pt x="29972" y="0"/>
                  </a:lnTo>
                  <a:close/>
                </a:path>
                <a:path w="853440" h="186054">
                  <a:moveTo>
                    <a:pt x="853440" y="0"/>
                  </a:moveTo>
                  <a:lnTo>
                    <a:pt x="823468" y="0"/>
                  </a:lnTo>
                  <a:lnTo>
                    <a:pt x="823468" y="13335"/>
                  </a:lnTo>
                  <a:lnTo>
                    <a:pt x="820039" y="26543"/>
                  </a:lnTo>
                  <a:lnTo>
                    <a:pt x="813435" y="39878"/>
                  </a:lnTo>
                  <a:lnTo>
                    <a:pt x="806831" y="53086"/>
                  </a:lnTo>
                  <a:lnTo>
                    <a:pt x="793369" y="66421"/>
                  </a:lnTo>
                  <a:lnTo>
                    <a:pt x="776732" y="76327"/>
                  </a:lnTo>
                  <a:lnTo>
                    <a:pt x="760095" y="89662"/>
                  </a:lnTo>
                  <a:lnTo>
                    <a:pt x="713359" y="112903"/>
                  </a:lnTo>
                  <a:lnTo>
                    <a:pt x="656717" y="129540"/>
                  </a:lnTo>
                  <a:lnTo>
                    <a:pt x="586740" y="146050"/>
                  </a:lnTo>
                  <a:lnTo>
                    <a:pt x="510032" y="152781"/>
                  </a:lnTo>
                  <a:lnTo>
                    <a:pt x="426720" y="156083"/>
                  </a:lnTo>
                  <a:lnTo>
                    <a:pt x="675753" y="156083"/>
                  </a:lnTo>
                  <a:lnTo>
                    <a:pt x="756793" y="126111"/>
                  </a:lnTo>
                  <a:lnTo>
                    <a:pt x="780034" y="112903"/>
                  </a:lnTo>
                  <a:lnTo>
                    <a:pt x="800100" y="96266"/>
                  </a:lnTo>
                  <a:lnTo>
                    <a:pt x="820039" y="83058"/>
                  </a:lnTo>
                  <a:lnTo>
                    <a:pt x="833374" y="66421"/>
                  </a:lnTo>
                  <a:lnTo>
                    <a:pt x="843407" y="49784"/>
                  </a:lnTo>
                  <a:lnTo>
                    <a:pt x="850138" y="29845"/>
                  </a:lnTo>
                  <a:lnTo>
                    <a:pt x="853440" y="13335"/>
                  </a:lnTo>
                  <a:lnTo>
                    <a:pt x="853440" y="0"/>
                  </a:lnTo>
                  <a:close/>
                </a:path>
              </a:pathLst>
            </a:custGeom>
            <a:solidFill>
              <a:srgbClr val="2D2D38"/>
            </a:solid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24" name="object 9">
              <a:extLst>
                <a:ext uri="{FF2B5EF4-FFF2-40B4-BE49-F238E27FC236}">
                  <a16:creationId xmlns:a16="http://schemas.microsoft.com/office/drawing/2014/main" id="{5B7A8EE6-855F-43CB-874F-8EEF36CA015A}"/>
                </a:ext>
              </a:extLst>
            </p:cNvPr>
            <p:cNvSpPr/>
            <p:nvPr/>
          </p:nvSpPr>
          <p:spPr>
            <a:xfrm>
              <a:off x="7927915" y="5464271"/>
              <a:ext cx="940957" cy="210035"/>
            </a:xfrm>
            <a:custGeom>
              <a:avLst/>
              <a:gdLst/>
              <a:ahLst/>
              <a:cxnLst/>
              <a:rect l="l" t="t" r="r" b="b"/>
              <a:pathLst>
                <a:path w="853440" h="190500">
                  <a:moveTo>
                    <a:pt x="29972" y="0"/>
                  </a:moveTo>
                  <a:lnTo>
                    <a:pt x="0" y="0"/>
                  </a:lnTo>
                  <a:lnTo>
                    <a:pt x="0" y="16763"/>
                  </a:lnTo>
                  <a:lnTo>
                    <a:pt x="19939" y="66801"/>
                  </a:lnTo>
                  <a:lnTo>
                    <a:pt x="50038" y="100202"/>
                  </a:lnTo>
                  <a:lnTo>
                    <a:pt x="96647" y="127000"/>
                  </a:lnTo>
                  <a:lnTo>
                    <a:pt x="186690" y="160400"/>
                  </a:lnTo>
                  <a:lnTo>
                    <a:pt x="259969" y="177164"/>
                  </a:lnTo>
                  <a:lnTo>
                    <a:pt x="340106" y="187197"/>
                  </a:lnTo>
                  <a:lnTo>
                    <a:pt x="426720" y="190500"/>
                  </a:lnTo>
                  <a:lnTo>
                    <a:pt x="513334" y="187197"/>
                  </a:lnTo>
                  <a:lnTo>
                    <a:pt x="593344" y="177164"/>
                  </a:lnTo>
                  <a:lnTo>
                    <a:pt x="666750" y="160400"/>
                  </a:lnTo>
                  <a:lnTo>
                    <a:pt x="426720" y="160400"/>
                  </a:lnTo>
                  <a:lnTo>
                    <a:pt x="340106" y="157099"/>
                  </a:lnTo>
                  <a:lnTo>
                    <a:pt x="263398" y="147065"/>
                  </a:lnTo>
                  <a:lnTo>
                    <a:pt x="196723" y="133731"/>
                  </a:lnTo>
                  <a:lnTo>
                    <a:pt x="140081" y="113664"/>
                  </a:lnTo>
                  <a:lnTo>
                    <a:pt x="93345" y="93599"/>
                  </a:lnTo>
                  <a:lnTo>
                    <a:pt x="59944" y="66801"/>
                  </a:lnTo>
                  <a:lnTo>
                    <a:pt x="46609" y="56768"/>
                  </a:lnTo>
                  <a:lnTo>
                    <a:pt x="36702" y="43433"/>
                  </a:lnTo>
                  <a:lnTo>
                    <a:pt x="33274" y="30099"/>
                  </a:lnTo>
                  <a:lnTo>
                    <a:pt x="29972" y="16763"/>
                  </a:lnTo>
                  <a:lnTo>
                    <a:pt x="29972" y="0"/>
                  </a:lnTo>
                  <a:close/>
                </a:path>
                <a:path w="853440" h="190500">
                  <a:moveTo>
                    <a:pt x="853440" y="0"/>
                  </a:moveTo>
                  <a:lnTo>
                    <a:pt x="823468" y="0"/>
                  </a:lnTo>
                  <a:lnTo>
                    <a:pt x="823468" y="16763"/>
                  </a:lnTo>
                  <a:lnTo>
                    <a:pt x="820039" y="30099"/>
                  </a:lnTo>
                  <a:lnTo>
                    <a:pt x="806831" y="56768"/>
                  </a:lnTo>
                  <a:lnTo>
                    <a:pt x="793369" y="66801"/>
                  </a:lnTo>
                  <a:lnTo>
                    <a:pt x="760095" y="93599"/>
                  </a:lnTo>
                  <a:lnTo>
                    <a:pt x="713359" y="113664"/>
                  </a:lnTo>
                  <a:lnTo>
                    <a:pt x="656717" y="133731"/>
                  </a:lnTo>
                  <a:lnTo>
                    <a:pt x="586740" y="147065"/>
                  </a:lnTo>
                  <a:lnTo>
                    <a:pt x="510032" y="157099"/>
                  </a:lnTo>
                  <a:lnTo>
                    <a:pt x="426720" y="160400"/>
                  </a:lnTo>
                  <a:lnTo>
                    <a:pt x="666750" y="160400"/>
                  </a:lnTo>
                  <a:lnTo>
                    <a:pt x="730123" y="140334"/>
                  </a:lnTo>
                  <a:lnTo>
                    <a:pt x="780034" y="113664"/>
                  </a:lnTo>
                  <a:lnTo>
                    <a:pt x="820039" y="83565"/>
                  </a:lnTo>
                  <a:lnTo>
                    <a:pt x="843407" y="50164"/>
                  </a:lnTo>
                  <a:lnTo>
                    <a:pt x="853440" y="16763"/>
                  </a:lnTo>
                  <a:lnTo>
                    <a:pt x="853440" y="0"/>
                  </a:lnTo>
                  <a:close/>
                </a:path>
              </a:pathLst>
            </a:custGeom>
            <a:solidFill>
              <a:srgbClr val="2D2D38"/>
            </a:solid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25" name="object 10">
              <a:extLst>
                <a:ext uri="{FF2B5EF4-FFF2-40B4-BE49-F238E27FC236}">
                  <a16:creationId xmlns:a16="http://schemas.microsoft.com/office/drawing/2014/main" id="{EC107DAA-065C-424F-8261-1BE897C115A3}"/>
                </a:ext>
              </a:extLst>
            </p:cNvPr>
            <p:cNvSpPr/>
            <p:nvPr/>
          </p:nvSpPr>
          <p:spPr>
            <a:xfrm>
              <a:off x="7927915" y="5644061"/>
              <a:ext cx="940957" cy="210035"/>
            </a:xfrm>
            <a:custGeom>
              <a:avLst/>
              <a:gdLst/>
              <a:ahLst/>
              <a:cxnLst/>
              <a:rect l="l" t="t" r="r" b="b"/>
              <a:pathLst>
                <a:path w="853440" h="190500">
                  <a:moveTo>
                    <a:pt x="29972" y="0"/>
                  </a:moveTo>
                  <a:lnTo>
                    <a:pt x="0" y="0"/>
                  </a:lnTo>
                  <a:lnTo>
                    <a:pt x="0" y="13334"/>
                  </a:lnTo>
                  <a:lnTo>
                    <a:pt x="10033" y="50164"/>
                  </a:lnTo>
                  <a:lnTo>
                    <a:pt x="33274" y="83565"/>
                  </a:lnTo>
                  <a:lnTo>
                    <a:pt x="96647" y="126999"/>
                  </a:lnTo>
                  <a:lnTo>
                    <a:pt x="186690" y="160400"/>
                  </a:lnTo>
                  <a:lnTo>
                    <a:pt x="259969" y="177164"/>
                  </a:lnTo>
                  <a:lnTo>
                    <a:pt x="340106" y="187197"/>
                  </a:lnTo>
                  <a:lnTo>
                    <a:pt x="426720" y="190499"/>
                  </a:lnTo>
                  <a:lnTo>
                    <a:pt x="513334" y="187197"/>
                  </a:lnTo>
                  <a:lnTo>
                    <a:pt x="593344" y="177164"/>
                  </a:lnTo>
                  <a:lnTo>
                    <a:pt x="666750" y="160400"/>
                  </a:lnTo>
                  <a:lnTo>
                    <a:pt x="426720" y="160400"/>
                  </a:lnTo>
                  <a:lnTo>
                    <a:pt x="340106" y="157098"/>
                  </a:lnTo>
                  <a:lnTo>
                    <a:pt x="263398" y="147065"/>
                  </a:lnTo>
                  <a:lnTo>
                    <a:pt x="196723" y="133730"/>
                  </a:lnTo>
                  <a:lnTo>
                    <a:pt x="140081" y="113664"/>
                  </a:lnTo>
                  <a:lnTo>
                    <a:pt x="73406" y="80263"/>
                  </a:lnTo>
                  <a:lnTo>
                    <a:pt x="36702" y="40131"/>
                  </a:lnTo>
                  <a:lnTo>
                    <a:pt x="29972" y="13334"/>
                  </a:lnTo>
                  <a:lnTo>
                    <a:pt x="29972" y="0"/>
                  </a:lnTo>
                  <a:close/>
                </a:path>
                <a:path w="853440" h="190500">
                  <a:moveTo>
                    <a:pt x="853440" y="0"/>
                  </a:moveTo>
                  <a:lnTo>
                    <a:pt x="823468" y="0"/>
                  </a:lnTo>
                  <a:lnTo>
                    <a:pt x="823468" y="13334"/>
                  </a:lnTo>
                  <a:lnTo>
                    <a:pt x="820039" y="26796"/>
                  </a:lnTo>
                  <a:lnTo>
                    <a:pt x="793369" y="66801"/>
                  </a:lnTo>
                  <a:lnTo>
                    <a:pt x="760095" y="90296"/>
                  </a:lnTo>
                  <a:lnTo>
                    <a:pt x="713359" y="113664"/>
                  </a:lnTo>
                  <a:lnTo>
                    <a:pt x="656717" y="133730"/>
                  </a:lnTo>
                  <a:lnTo>
                    <a:pt x="586740" y="147065"/>
                  </a:lnTo>
                  <a:lnTo>
                    <a:pt x="510032" y="157098"/>
                  </a:lnTo>
                  <a:lnTo>
                    <a:pt x="426720" y="160400"/>
                  </a:lnTo>
                  <a:lnTo>
                    <a:pt x="666750" y="160400"/>
                  </a:lnTo>
                  <a:lnTo>
                    <a:pt x="730123" y="140334"/>
                  </a:lnTo>
                  <a:lnTo>
                    <a:pt x="780034" y="113664"/>
                  </a:lnTo>
                  <a:lnTo>
                    <a:pt x="820039" y="83565"/>
                  </a:lnTo>
                  <a:lnTo>
                    <a:pt x="843407" y="50164"/>
                  </a:lnTo>
                  <a:lnTo>
                    <a:pt x="853440" y="13334"/>
                  </a:lnTo>
                  <a:lnTo>
                    <a:pt x="853440" y="0"/>
                  </a:lnTo>
                  <a:close/>
                </a:path>
              </a:pathLst>
            </a:custGeom>
            <a:solidFill>
              <a:srgbClr val="2D2D38"/>
            </a:solid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26" name="object 11">
              <a:extLst>
                <a:ext uri="{FF2B5EF4-FFF2-40B4-BE49-F238E27FC236}">
                  <a16:creationId xmlns:a16="http://schemas.microsoft.com/office/drawing/2014/main" id="{069D05F3-9831-4E75-8574-B6640435B95F}"/>
                </a:ext>
              </a:extLst>
            </p:cNvPr>
            <p:cNvSpPr/>
            <p:nvPr/>
          </p:nvSpPr>
          <p:spPr>
            <a:xfrm>
              <a:off x="7927915" y="5114773"/>
              <a:ext cx="940957" cy="926255"/>
            </a:xfrm>
            <a:custGeom>
              <a:avLst/>
              <a:gdLst/>
              <a:ahLst/>
              <a:cxnLst/>
              <a:rect l="l" t="t" r="r" b="b"/>
              <a:pathLst>
                <a:path w="853440" h="840104">
                  <a:moveTo>
                    <a:pt x="29972" y="0"/>
                  </a:moveTo>
                  <a:lnTo>
                    <a:pt x="0" y="0"/>
                  </a:lnTo>
                  <a:lnTo>
                    <a:pt x="0" y="666496"/>
                  </a:lnTo>
                  <a:lnTo>
                    <a:pt x="19939" y="716407"/>
                  </a:lnTo>
                  <a:lnTo>
                    <a:pt x="50038" y="749808"/>
                  </a:lnTo>
                  <a:lnTo>
                    <a:pt x="96647" y="776351"/>
                  </a:lnTo>
                  <a:lnTo>
                    <a:pt x="186690" y="809752"/>
                  </a:lnTo>
                  <a:lnTo>
                    <a:pt x="259969" y="826389"/>
                  </a:lnTo>
                  <a:lnTo>
                    <a:pt x="340106" y="836422"/>
                  </a:lnTo>
                  <a:lnTo>
                    <a:pt x="426720" y="839724"/>
                  </a:lnTo>
                  <a:lnTo>
                    <a:pt x="513334" y="836422"/>
                  </a:lnTo>
                  <a:lnTo>
                    <a:pt x="593344" y="826389"/>
                  </a:lnTo>
                  <a:lnTo>
                    <a:pt x="666750" y="809752"/>
                  </a:lnTo>
                  <a:lnTo>
                    <a:pt x="426720" y="809752"/>
                  </a:lnTo>
                  <a:lnTo>
                    <a:pt x="340106" y="806450"/>
                  </a:lnTo>
                  <a:lnTo>
                    <a:pt x="263398" y="796417"/>
                  </a:lnTo>
                  <a:lnTo>
                    <a:pt x="196723" y="783082"/>
                  </a:lnTo>
                  <a:lnTo>
                    <a:pt x="140081" y="763143"/>
                  </a:lnTo>
                  <a:lnTo>
                    <a:pt x="93345" y="743077"/>
                  </a:lnTo>
                  <a:lnTo>
                    <a:pt x="46609" y="703072"/>
                  </a:lnTo>
                  <a:lnTo>
                    <a:pt x="29972" y="666496"/>
                  </a:lnTo>
                  <a:lnTo>
                    <a:pt x="29972" y="0"/>
                  </a:lnTo>
                  <a:close/>
                </a:path>
                <a:path w="853440" h="840104">
                  <a:moveTo>
                    <a:pt x="853440" y="10033"/>
                  </a:moveTo>
                  <a:lnTo>
                    <a:pt x="823468" y="10033"/>
                  </a:lnTo>
                  <a:lnTo>
                    <a:pt x="823468" y="666496"/>
                  </a:lnTo>
                  <a:lnTo>
                    <a:pt x="820039" y="679831"/>
                  </a:lnTo>
                  <a:lnTo>
                    <a:pt x="813435" y="689737"/>
                  </a:lnTo>
                  <a:lnTo>
                    <a:pt x="806831" y="703072"/>
                  </a:lnTo>
                  <a:lnTo>
                    <a:pt x="793369" y="716407"/>
                  </a:lnTo>
                  <a:lnTo>
                    <a:pt x="760095" y="743077"/>
                  </a:lnTo>
                  <a:lnTo>
                    <a:pt x="713359" y="763143"/>
                  </a:lnTo>
                  <a:lnTo>
                    <a:pt x="656717" y="783082"/>
                  </a:lnTo>
                  <a:lnTo>
                    <a:pt x="586740" y="796417"/>
                  </a:lnTo>
                  <a:lnTo>
                    <a:pt x="510032" y="806450"/>
                  </a:lnTo>
                  <a:lnTo>
                    <a:pt x="426720" y="809752"/>
                  </a:lnTo>
                  <a:lnTo>
                    <a:pt x="666750" y="809752"/>
                  </a:lnTo>
                  <a:lnTo>
                    <a:pt x="730123" y="789686"/>
                  </a:lnTo>
                  <a:lnTo>
                    <a:pt x="780034" y="763143"/>
                  </a:lnTo>
                  <a:lnTo>
                    <a:pt x="820039" y="733044"/>
                  </a:lnTo>
                  <a:lnTo>
                    <a:pt x="843407" y="699770"/>
                  </a:lnTo>
                  <a:lnTo>
                    <a:pt x="853440" y="666496"/>
                  </a:lnTo>
                  <a:lnTo>
                    <a:pt x="853440" y="10033"/>
                  </a:lnTo>
                  <a:close/>
                </a:path>
              </a:pathLst>
            </a:custGeom>
            <a:solidFill>
              <a:srgbClr val="2D2D38"/>
            </a:solid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30" name="object 12">
              <a:extLst>
                <a:ext uri="{FF2B5EF4-FFF2-40B4-BE49-F238E27FC236}">
                  <a16:creationId xmlns:a16="http://schemas.microsoft.com/office/drawing/2014/main" id="{AA46DD30-3118-4C44-99EF-6AA2113CF2AC}"/>
                </a:ext>
              </a:extLst>
            </p:cNvPr>
            <p:cNvSpPr/>
            <p:nvPr/>
          </p:nvSpPr>
          <p:spPr>
            <a:xfrm>
              <a:off x="8299257" y="6007003"/>
              <a:ext cx="198273" cy="305811"/>
            </a:xfrm>
            <a:prstGeom prst="rect">
              <a:avLst/>
            </a:prstGeom>
            <a:blipFill>
              <a:blip r:embed="rId8" cstate="print"/>
              <a:stretch>
                <a:fillRect/>
              </a:stretch>
            </a:blip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31" name="object 13">
              <a:extLst>
                <a:ext uri="{FF2B5EF4-FFF2-40B4-BE49-F238E27FC236}">
                  <a16:creationId xmlns:a16="http://schemas.microsoft.com/office/drawing/2014/main" id="{06928F6F-C4F6-4181-8429-1C7B4A2F6235}"/>
                </a:ext>
              </a:extLst>
            </p:cNvPr>
            <p:cNvSpPr/>
            <p:nvPr/>
          </p:nvSpPr>
          <p:spPr>
            <a:xfrm>
              <a:off x="8465605" y="6211997"/>
              <a:ext cx="403267" cy="0"/>
            </a:xfrm>
            <a:custGeom>
              <a:avLst/>
              <a:gdLst/>
              <a:ahLst/>
              <a:cxnLst/>
              <a:rect l="l" t="t" r="r" b="b"/>
              <a:pathLst>
                <a:path w="365759">
                  <a:moveTo>
                    <a:pt x="0" y="0"/>
                  </a:moveTo>
                  <a:lnTo>
                    <a:pt x="365759" y="0"/>
                  </a:lnTo>
                </a:path>
              </a:pathLst>
            </a:custGeom>
            <a:ln w="30480">
              <a:solidFill>
                <a:srgbClr val="2D2D38"/>
              </a:solidFill>
            </a:ln>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32" name="object 14">
              <a:extLst>
                <a:ext uri="{FF2B5EF4-FFF2-40B4-BE49-F238E27FC236}">
                  <a16:creationId xmlns:a16="http://schemas.microsoft.com/office/drawing/2014/main" id="{E0C4969C-CBA2-4300-9C16-5FF95D426DD3}"/>
                </a:ext>
              </a:extLst>
            </p:cNvPr>
            <p:cNvSpPr/>
            <p:nvPr/>
          </p:nvSpPr>
          <p:spPr>
            <a:xfrm>
              <a:off x="7927916" y="6211997"/>
              <a:ext cx="405368" cy="0"/>
            </a:xfrm>
            <a:custGeom>
              <a:avLst/>
              <a:gdLst/>
              <a:ahLst/>
              <a:cxnLst/>
              <a:rect l="l" t="t" r="r" b="b"/>
              <a:pathLst>
                <a:path w="367665">
                  <a:moveTo>
                    <a:pt x="0" y="0"/>
                  </a:moveTo>
                  <a:lnTo>
                    <a:pt x="367283" y="0"/>
                  </a:lnTo>
                </a:path>
              </a:pathLst>
            </a:custGeom>
            <a:ln w="30480">
              <a:solidFill>
                <a:srgbClr val="2D2D38"/>
              </a:solidFill>
            </a:ln>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grpSp>
      <p:grpSp>
        <p:nvGrpSpPr>
          <p:cNvPr id="33" name="Group 32">
            <a:extLst>
              <a:ext uri="{FF2B5EF4-FFF2-40B4-BE49-F238E27FC236}">
                <a16:creationId xmlns:a16="http://schemas.microsoft.com/office/drawing/2014/main" id="{1C991D64-2BA8-4C2E-B181-F718383FF7E7}"/>
              </a:ext>
            </a:extLst>
          </p:cNvPr>
          <p:cNvGrpSpPr/>
          <p:nvPr/>
        </p:nvGrpSpPr>
        <p:grpSpPr>
          <a:xfrm>
            <a:off x="1203995" y="1725414"/>
            <a:ext cx="1911362" cy="1703587"/>
            <a:chOff x="7714520" y="2426324"/>
            <a:chExt cx="1326021" cy="1381192"/>
          </a:xfrm>
        </p:grpSpPr>
        <p:sp>
          <p:nvSpPr>
            <p:cNvPr id="34" name="object 15">
              <a:extLst>
                <a:ext uri="{FF2B5EF4-FFF2-40B4-BE49-F238E27FC236}">
                  <a16:creationId xmlns:a16="http://schemas.microsoft.com/office/drawing/2014/main" id="{598AAAB9-CA37-45D2-B1FF-BE4A9B974216}"/>
                </a:ext>
              </a:extLst>
            </p:cNvPr>
            <p:cNvSpPr/>
            <p:nvPr/>
          </p:nvSpPr>
          <p:spPr>
            <a:xfrm>
              <a:off x="7714520" y="2426324"/>
              <a:ext cx="1326021" cy="884248"/>
            </a:xfrm>
            <a:custGeom>
              <a:avLst/>
              <a:gdLst/>
              <a:ahLst/>
              <a:cxnLst/>
              <a:rect l="l" t="t" r="r" b="b"/>
              <a:pathLst>
                <a:path w="1202690" h="802005">
                  <a:moveTo>
                    <a:pt x="633857" y="0"/>
                  </a:moveTo>
                  <a:lnTo>
                    <a:pt x="581025" y="0"/>
                  </a:lnTo>
                  <a:lnTo>
                    <a:pt x="556133" y="3048"/>
                  </a:lnTo>
                  <a:lnTo>
                    <a:pt x="534416" y="9271"/>
                  </a:lnTo>
                  <a:lnTo>
                    <a:pt x="509524" y="15494"/>
                  </a:lnTo>
                  <a:lnTo>
                    <a:pt x="469138" y="34163"/>
                  </a:lnTo>
                  <a:lnTo>
                    <a:pt x="428751" y="59055"/>
                  </a:lnTo>
                  <a:lnTo>
                    <a:pt x="394589" y="93218"/>
                  </a:lnTo>
                  <a:lnTo>
                    <a:pt x="366649" y="130556"/>
                  </a:lnTo>
                  <a:lnTo>
                    <a:pt x="354202" y="149098"/>
                  </a:lnTo>
                  <a:lnTo>
                    <a:pt x="344932" y="170942"/>
                  </a:lnTo>
                  <a:lnTo>
                    <a:pt x="335534" y="192659"/>
                  </a:lnTo>
                  <a:lnTo>
                    <a:pt x="329311" y="217551"/>
                  </a:lnTo>
                  <a:lnTo>
                    <a:pt x="292100" y="217551"/>
                  </a:lnTo>
                  <a:lnTo>
                    <a:pt x="264160" y="220599"/>
                  </a:lnTo>
                  <a:lnTo>
                    <a:pt x="233045" y="223647"/>
                  </a:lnTo>
                  <a:lnTo>
                    <a:pt x="180213" y="239268"/>
                  </a:lnTo>
                  <a:lnTo>
                    <a:pt x="130556" y="267208"/>
                  </a:lnTo>
                  <a:lnTo>
                    <a:pt x="86995" y="304546"/>
                  </a:lnTo>
                  <a:lnTo>
                    <a:pt x="68325" y="323088"/>
                  </a:lnTo>
                  <a:lnTo>
                    <a:pt x="49657" y="344932"/>
                  </a:lnTo>
                  <a:lnTo>
                    <a:pt x="37338" y="369697"/>
                  </a:lnTo>
                  <a:lnTo>
                    <a:pt x="24892" y="394589"/>
                  </a:lnTo>
                  <a:lnTo>
                    <a:pt x="15494" y="422529"/>
                  </a:lnTo>
                  <a:lnTo>
                    <a:pt x="6223" y="450469"/>
                  </a:lnTo>
                  <a:lnTo>
                    <a:pt x="3048" y="478536"/>
                  </a:lnTo>
                  <a:lnTo>
                    <a:pt x="0" y="509524"/>
                  </a:lnTo>
                  <a:lnTo>
                    <a:pt x="3048" y="537464"/>
                  </a:lnTo>
                  <a:lnTo>
                    <a:pt x="12446" y="590296"/>
                  </a:lnTo>
                  <a:lnTo>
                    <a:pt x="31115" y="640080"/>
                  </a:lnTo>
                  <a:lnTo>
                    <a:pt x="59055" y="683514"/>
                  </a:lnTo>
                  <a:lnTo>
                    <a:pt x="96266" y="723900"/>
                  </a:lnTo>
                  <a:lnTo>
                    <a:pt x="136651" y="755015"/>
                  </a:lnTo>
                  <a:lnTo>
                    <a:pt x="186436" y="779907"/>
                  </a:lnTo>
                  <a:lnTo>
                    <a:pt x="239268" y="795401"/>
                  </a:lnTo>
                  <a:lnTo>
                    <a:pt x="416306" y="801624"/>
                  </a:lnTo>
                  <a:lnTo>
                    <a:pt x="422529" y="798576"/>
                  </a:lnTo>
                  <a:lnTo>
                    <a:pt x="428751" y="792353"/>
                  </a:lnTo>
                  <a:lnTo>
                    <a:pt x="428751" y="779907"/>
                  </a:lnTo>
                  <a:lnTo>
                    <a:pt x="425704" y="776732"/>
                  </a:lnTo>
                  <a:lnTo>
                    <a:pt x="422529" y="773684"/>
                  </a:lnTo>
                  <a:lnTo>
                    <a:pt x="292100" y="773684"/>
                  </a:lnTo>
                  <a:lnTo>
                    <a:pt x="242316" y="767461"/>
                  </a:lnTo>
                  <a:lnTo>
                    <a:pt x="217550" y="761238"/>
                  </a:lnTo>
                  <a:lnTo>
                    <a:pt x="195707" y="755015"/>
                  </a:lnTo>
                  <a:lnTo>
                    <a:pt x="173990" y="742569"/>
                  </a:lnTo>
                  <a:lnTo>
                    <a:pt x="152273" y="733298"/>
                  </a:lnTo>
                  <a:lnTo>
                    <a:pt x="96266" y="686689"/>
                  </a:lnTo>
                  <a:lnTo>
                    <a:pt x="68325" y="649351"/>
                  </a:lnTo>
                  <a:lnTo>
                    <a:pt x="46609" y="605917"/>
                  </a:lnTo>
                  <a:lnTo>
                    <a:pt x="34163" y="559308"/>
                  </a:lnTo>
                  <a:lnTo>
                    <a:pt x="31115" y="534416"/>
                  </a:lnTo>
                  <a:lnTo>
                    <a:pt x="27940" y="509524"/>
                  </a:lnTo>
                  <a:lnTo>
                    <a:pt x="34163" y="456692"/>
                  </a:lnTo>
                  <a:lnTo>
                    <a:pt x="49657" y="407035"/>
                  </a:lnTo>
                  <a:lnTo>
                    <a:pt x="74549" y="360426"/>
                  </a:lnTo>
                  <a:lnTo>
                    <a:pt x="105664" y="323088"/>
                  </a:lnTo>
                  <a:lnTo>
                    <a:pt x="146050" y="292100"/>
                  </a:lnTo>
                  <a:lnTo>
                    <a:pt x="167767" y="276479"/>
                  </a:lnTo>
                  <a:lnTo>
                    <a:pt x="189484" y="267208"/>
                  </a:lnTo>
                  <a:lnTo>
                    <a:pt x="214375" y="257937"/>
                  </a:lnTo>
                  <a:lnTo>
                    <a:pt x="239268" y="251714"/>
                  </a:lnTo>
                  <a:lnTo>
                    <a:pt x="267208" y="245491"/>
                  </a:lnTo>
                  <a:lnTo>
                    <a:pt x="354202" y="245491"/>
                  </a:lnTo>
                  <a:lnTo>
                    <a:pt x="354202" y="233045"/>
                  </a:lnTo>
                  <a:lnTo>
                    <a:pt x="360425" y="211328"/>
                  </a:lnTo>
                  <a:lnTo>
                    <a:pt x="366649" y="189484"/>
                  </a:lnTo>
                  <a:lnTo>
                    <a:pt x="375920" y="170942"/>
                  </a:lnTo>
                  <a:lnTo>
                    <a:pt x="397764" y="133604"/>
                  </a:lnTo>
                  <a:lnTo>
                    <a:pt x="444373" y="86995"/>
                  </a:lnTo>
                  <a:lnTo>
                    <a:pt x="478536" y="62103"/>
                  </a:lnTo>
                  <a:lnTo>
                    <a:pt x="518922" y="43561"/>
                  </a:lnTo>
                  <a:lnTo>
                    <a:pt x="537464" y="37338"/>
                  </a:lnTo>
                  <a:lnTo>
                    <a:pt x="559308" y="31115"/>
                  </a:lnTo>
                  <a:lnTo>
                    <a:pt x="584073" y="27940"/>
                  </a:lnTo>
                  <a:lnTo>
                    <a:pt x="727075" y="27940"/>
                  </a:lnTo>
                  <a:lnTo>
                    <a:pt x="714629" y="21717"/>
                  </a:lnTo>
                  <a:lnTo>
                    <a:pt x="689737" y="12446"/>
                  </a:lnTo>
                  <a:lnTo>
                    <a:pt x="633857" y="0"/>
                  </a:lnTo>
                  <a:close/>
                </a:path>
                <a:path w="1202690" h="802005">
                  <a:moveTo>
                    <a:pt x="727075" y="27940"/>
                  </a:moveTo>
                  <a:lnTo>
                    <a:pt x="630682" y="27940"/>
                  </a:lnTo>
                  <a:lnTo>
                    <a:pt x="655574" y="31115"/>
                  </a:lnTo>
                  <a:lnTo>
                    <a:pt x="680466" y="37338"/>
                  </a:lnTo>
                  <a:lnTo>
                    <a:pt x="748792" y="71501"/>
                  </a:lnTo>
                  <a:lnTo>
                    <a:pt x="786130" y="102489"/>
                  </a:lnTo>
                  <a:lnTo>
                    <a:pt x="817118" y="139827"/>
                  </a:lnTo>
                  <a:lnTo>
                    <a:pt x="838962" y="183261"/>
                  </a:lnTo>
                  <a:lnTo>
                    <a:pt x="854456" y="229870"/>
                  </a:lnTo>
                  <a:lnTo>
                    <a:pt x="860679" y="254762"/>
                  </a:lnTo>
                  <a:lnTo>
                    <a:pt x="860679" y="326263"/>
                  </a:lnTo>
                  <a:lnTo>
                    <a:pt x="972566" y="326263"/>
                  </a:lnTo>
                  <a:lnTo>
                    <a:pt x="1037717" y="341757"/>
                  </a:lnTo>
                  <a:lnTo>
                    <a:pt x="1093724" y="375920"/>
                  </a:lnTo>
                  <a:lnTo>
                    <a:pt x="1121664" y="407035"/>
                  </a:lnTo>
                  <a:lnTo>
                    <a:pt x="1137158" y="422529"/>
                  </a:lnTo>
                  <a:lnTo>
                    <a:pt x="1146556" y="441198"/>
                  </a:lnTo>
                  <a:lnTo>
                    <a:pt x="1155827" y="462915"/>
                  </a:lnTo>
                  <a:lnTo>
                    <a:pt x="1165098" y="481584"/>
                  </a:lnTo>
                  <a:lnTo>
                    <a:pt x="1168273" y="503301"/>
                  </a:lnTo>
                  <a:lnTo>
                    <a:pt x="1174496" y="525145"/>
                  </a:lnTo>
                  <a:lnTo>
                    <a:pt x="1174496" y="571754"/>
                  </a:lnTo>
                  <a:lnTo>
                    <a:pt x="1168273" y="593471"/>
                  </a:lnTo>
                  <a:lnTo>
                    <a:pt x="1165098" y="615188"/>
                  </a:lnTo>
                  <a:lnTo>
                    <a:pt x="1155827" y="636905"/>
                  </a:lnTo>
                  <a:lnTo>
                    <a:pt x="1146556" y="655574"/>
                  </a:lnTo>
                  <a:lnTo>
                    <a:pt x="1137158" y="674243"/>
                  </a:lnTo>
                  <a:lnTo>
                    <a:pt x="1121664" y="689737"/>
                  </a:lnTo>
                  <a:lnTo>
                    <a:pt x="1109218" y="705358"/>
                  </a:lnTo>
                  <a:lnTo>
                    <a:pt x="1056386" y="745744"/>
                  </a:lnTo>
                  <a:lnTo>
                    <a:pt x="994283" y="767461"/>
                  </a:lnTo>
                  <a:lnTo>
                    <a:pt x="950722" y="773684"/>
                  </a:lnTo>
                  <a:lnTo>
                    <a:pt x="801624" y="773684"/>
                  </a:lnTo>
                  <a:lnTo>
                    <a:pt x="795401" y="779907"/>
                  </a:lnTo>
                  <a:lnTo>
                    <a:pt x="792352" y="786130"/>
                  </a:lnTo>
                  <a:lnTo>
                    <a:pt x="795401" y="792353"/>
                  </a:lnTo>
                  <a:lnTo>
                    <a:pt x="798576" y="795401"/>
                  </a:lnTo>
                  <a:lnTo>
                    <a:pt x="801624" y="798576"/>
                  </a:lnTo>
                  <a:lnTo>
                    <a:pt x="807847" y="801624"/>
                  </a:lnTo>
                  <a:lnTo>
                    <a:pt x="950722" y="801624"/>
                  </a:lnTo>
                  <a:lnTo>
                    <a:pt x="1000506" y="795401"/>
                  </a:lnTo>
                  <a:lnTo>
                    <a:pt x="1068832" y="770509"/>
                  </a:lnTo>
                  <a:lnTo>
                    <a:pt x="1127887" y="727075"/>
                  </a:lnTo>
                  <a:lnTo>
                    <a:pt x="1158875" y="689737"/>
                  </a:lnTo>
                  <a:lnTo>
                    <a:pt x="1183767" y="646303"/>
                  </a:lnTo>
                  <a:lnTo>
                    <a:pt x="1196213" y="599694"/>
                  </a:lnTo>
                  <a:lnTo>
                    <a:pt x="1202436" y="549910"/>
                  </a:lnTo>
                  <a:lnTo>
                    <a:pt x="1199388" y="521970"/>
                  </a:lnTo>
                  <a:lnTo>
                    <a:pt x="1189990" y="472313"/>
                  </a:lnTo>
                  <a:lnTo>
                    <a:pt x="1158875" y="407035"/>
                  </a:lnTo>
                  <a:lnTo>
                    <a:pt x="1127887" y="369697"/>
                  </a:lnTo>
                  <a:lnTo>
                    <a:pt x="1090549" y="338709"/>
                  </a:lnTo>
                  <a:lnTo>
                    <a:pt x="1025271" y="307594"/>
                  </a:lnTo>
                  <a:lnTo>
                    <a:pt x="975614" y="298323"/>
                  </a:lnTo>
                  <a:lnTo>
                    <a:pt x="888619" y="298323"/>
                  </a:lnTo>
                  <a:lnTo>
                    <a:pt x="888619" y="282702"/>
                  </a:lnTo>
                  <a:lnTo>
                    <a:pt x="882396" y="223647"/>
                  </a:lnTo>
                  <a:lnTo>
                    <a:pt x="866901" y="170942"/>
                  </a:lnTo>
                  <a:lnTo>
                    <a:pt x="823341" y="102489"/>
                  </a:lnTo>
                  <a:lnTo>
                    <a:pt x="786130" y="65278"/>
                  </a:lnTo>
                  <a:lnTo>
                    <a:pt x="764286" y="46609"/>
                  </a:lnTo>
                  <a:lnTo>
                    <a:pt x="727075" y="27940"/>
                  </a:lnTo>
                  <a:close/>
                </a:path>
              </a:pathLst>
            </a:custGeom>
            <a:solidFill>
              <a:srgbClr val="2D2D38"/>
            </a:solid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35" name="object 16">
              <a:extLst>
                <a:ext uri="{FF2B5EF4-FFF2-40B4-BE49-F238E27FC236}">
                  <a16:creationId xmlns:a16="http://schemas.microsoft.com/office/drawing/2014/main" id="{AD088B4A-AA61-4343-AA57-531B370B1C35}"/>
                </a:ext>
              </a:extLst>
            </p:cNvPr>
            <p:cNvSpPr/>
            <p:nvPr/>
          </p:nvSpPr>
          <p:spPr>
            <a:xfrm>
              <a:off x="7869107" y="2792626"/>
              <a:ext cx="132742" cy="134422"/>
            </a:xfrm>
            <a:prstGeom prst="rect">
              <a:avLst/>
            </a:prstGeom>
            <a:blipFill>
              <a:blip r:embed="rId9" cstate="print"/>
              <a:stretch>
                <a:fillRect/>
              </a:stretch>
            </a:blip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36" name="object 17">
              <a:extLst>
                <a:ext uri="{FF2B5EF4-FFF2-40B4-BE49-F238E27FC236}">
                  <a16:creationId xmlns:a16="http://schemas.microsoft.com/office/drawing/2014/main" id="{19ADBE23-04B7-480F-B649-FA9CC44E6243}"/>
                </a:ext>
              </a:extLst>
            </p:cNvPr>
            <p:cNvSpPr/>
            <p:nvPr/>
          </p:nvSpPr>
          <p:spPr>
            <a:xfrm>
              <a:off x="8090902" y="3555192"/>
              <a:ext cx="190432" cy="0"/>
            </a:xfrm>
            <a:custGeom>
              <a:avLst/>
              <a:gdLst/>
              <a:ahLst/>
              <a:cxnLst/>
              <a:rect l="l" t="t" r="r" b="b"/>
              <a:pathLst>
                <a:path w="172720">
                  <a:moveTo>
                    <a:pt x="0" y="0"/>
                  </a:moveTo>
                  <a:lnTo>
                    <a:pt x="172212" y="0"/>
                  </a:lnTo>
                </a:path>
              </a:pathLst>
            </a:custGeom>
            <a:ln w="27939">
              <a:solidFill>
                <a:srgbClr val="2D2D38"/>
              </a:solidFill>
            </a:ln>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37" name="object 18">
              <a:extLst>
                <a:ext uri="{FF2B5EF4-FFF2-40B4-BE49-F238E27FC236}">
                  <a16:creationId xmlns:a16="http://schemas.microsoft.com/office/drawing/2014/main" id="{1D857541-4E02-43CA-9922-207481F455F1}"/>
                </a:ext>
              </a:extLst>
            </p:cNvPr>
            <p:cNvSpPr/>
            <p:nvPr/>
          </p:nvSpPr>
          <p:spPr>
            <a:xfrm>
              <a:off x="8265233" y="3144925"/>
              <a:ext cx="0" cy="394866"/>
            </a:xfrm>
            <a:custGeom>
              <a:avLst/>
              <a:gdLst/>
              <a:ahLst/>
              <a:cxnLst/>
              <a:rect l="l" t="t" r="r" b="b"/>
              <a:pathLst>
                <a:path h="358139">
                  <a:moveTo>
                    <a:pt x="0" y="0"/>
                  </a:moveTo>
                  <a:lnTo>
                    <a:pt x="0" y="358140"/>
                  </a:lnTo>
                </a:path>
              </a:pathLst>
            </a:custGeom>
            <a:ln w="28194">
              <a:solidFill>
                <a:srgbClr val="2D2D38"/>
              </a:solidFill>
            </a:ln>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38" name="object 19">
              <a:extLst>
                <a:ext uri="{FF2B5EF4-FFF2-40B4-BE49-F238E27FC236}">
                  <a16:creationId xmlns:a16="http://schemas.microsoft.com/office/drawing/2014/main" id="{90FA34AC-DFCA-40E2-B171-F731422172BC}"/>
                </a:ext>
              </a:extLst>
            </p:cNvPr>
            <p:cNvSpPr/>
            <p:nvPr/>
          </p:nvSpPr>
          <p:spPr>
            <a:xfrm>
              <a:off x="8495850" y="3585999"/>
              <a:ext cx="165228" cy="0"/>
            </a:xfrm>
            <a:custGeom>
              <a:avLst/>
              <a:gdLst/>
              <a:ahLst/>
              <a:cxnLst/>
              <a:rect l="l" t="t" r="r" b="b"/>
              <a:pathLst>
                <a:path w="149859">
                  <a:moveTo>
                    <a:pt x="0" y="0"/>
                  </a:moveTo>
                  <a:lnTo>
                    <a:pt x="149351" y="0"/>
                  </a:lnTo>
                </a:path>
              </a:pathLst>
            </a:custGeom>
            <a:ln w="27939">
              <a:solidFill>
                <a:srgbClr val="2D2D38"/>
              </a:solidFill>
            </a:ln>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39" name="object 20">
              <a:extLst>
                <a:ext uri="{FF2B5EF4-FFF2-40B4-BE49-F238E27FC236}">
                  <a16:creationId xmlns:a16="http://schemas.microsoft.com/office/drawing/2014/main" id="{1C25E086-C0E4-4EBA-96AC-B2D54F248658}"/>
                </a:ext>
              </a:extLst>
            </p:cNvPr>
            <p:cNvSpPr/>
            <p:nvPr/>
          </p:nvSpPr>
          <p:spPr>
            <a:xfrm>
              <a:off x="8511254" y="3144925"/>
              <a:ext cx="0" cy="425671"/>
            </a:xfrm>
            <a:custGeom>
              <a:avLst/>
              <a:gdLst/>
              <a:ahLst/>
              <a:cxnLst/>
              <a:rect l="l" t="t" r="r" b="b"/>
              <a:pathLst>
                <a:path h="386080">
                  <a:moveTo>
                    <a:pt x="0" y="0"/>
                  </a:moveTo>
                  <a:lnTo>
                    <a:pt x="0" y="386080"/>
                  </a:lnTo>
                </a:path>
              </a:pathLst>
            </a:custGeom>
            <a:ln w="27939">
              <a:solidFill>
                <a:srgbClr val="2D2D38"/>
              </a:solidFill>
            </a:ln>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40" name="object 21">
              <a:extLst>
                <a:ext uri="{FF2B5EF4-FFF2-40B4-BE49-F238E27FC236}">
                  <a16:creationId xmlns:a16="http://schemas.microsoft.com/office/drawing/2014/main" id="{E2CCAD52-3C37-4B46-ADEB-C3AAB4510223}"/>
                </a:ext>
              </a:extLst>
            </p:cNvPr>
            <p:cNvSpPr/>
            <p:nvPr/>
          </p:nvSpPr>
          <p:spPr>
            <a:xfrm>
              <a:off x="8388312" y="3231179"/>
              <a:ext cx="0" cy="452274"/>
            </a:xfrm>
            <a:custGeom>
              <a:avLst/>
              <a:gdLst/>
              <a:ahLst/>
              <a:cxnLst/>
              <a:rect l="l" t="t" r="r" b="b"/>
              <a:pathLst>
                <a:path h="410210">
                  <a:moveTo>
                    <a:pt x="0" y="0"/>
                  </a:moveTo>
                  <a:lnTo>
                    <a:pt x="0" y="409956"/>
                  </a:lnTo>
                </a:path>
              </a:pathLst>
            </a:custGeom>
            <a:ln w="27431">
              <a:solidFill>
                <a:srgbClr val="2D2D38"/>
              </a:solidFill>
            </a:ln>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41" name="object 22">
              <a:extLst>
                <a:ext uri="{FF2B5EF4-FFF2-40B4-BE49-F238E27FC236}">
                  <a16:creationId xmlns:a16="http://schemas.microsoft.com/office/drawing/2014/main" id="{175F8DB6-7419-444C-8C84-540D586177CE}"/>
                </a:ext>
              </a:extLst>
            </p:cNvPr>
            <p:cNvSpPr/>
            <p:nvPr/>
          </p:nvSpPr>
          <p:spPr>
            <a:xfrm>
              <a:off x="8640354" y="3508424"/>
              <a:ext cx="154586" cy="154586"/>
            </a:xfrm>
            <a:prstGeom prst="rect">
              <a:avLst/>
            </a:prstGeom>
            <a:blipFill>
              <a:blip r:embed="rId10" cstate="print"/>
              <a:stretch>
                <a:fillRect/>
              </a:stretch>
            </a:blip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42" name="object 23">
              <a:extLst>
                <a:ext uri="{FF2B5EF4-FFF2-40B4-BE49-F238E27FC236}">
                  <a16:creationId xmlns:a16="http://schemas.microsoft.com/office/drawing/2014/main" id="{33E5BB96-8F3A-4B13-886C-BD237304C229}"/>
                </a:ext>
              </a:extLst>
            </p:cNvPr>
            <p:cNvSpPr/>
            <p:nvPr/>
          </p:nvSpPr>
          <p:spPr>
            <a:xfrm>
              <a:off x="8311021" y="3652930"/>
              <a:ext cx="154585" cy="154586"/>
            </a:xfrm>
            <a:prstGeom prst="rect">
              <a:avLst/>
            </a:prstGeom>
            <a:blipFill>
              <a:blip r:embed="rId11" cstate="print"/>
              <a:stretch>
                <a:fillRect/>
              </a:stretch>
            </a:blip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sp>
          <p:nvSpPr>
            <p:cNvPr id="43" name="object 24">
              <a:extLst>
                <a:ext uri="{FF2B5EF4-FFF2-40B4-BE49-F238E27FC236}">
                  <a16:creationId xmlns:a16="http://schemas.microsoft.com/office/drawing/2014/main" id="{569B09E9-088E-4D7E-A327-B6CB444855E4}"/>
                </a:ext>
              </a:extLst>
            </p:cNvPr>
            <p:cNvSpPr/>
            <p:nvPr/>
          </p:nvSpPr>
          <p:spPr>
            <a:xfrm>
              <a:off x="7961521" y="3478179"/>
              <a:ext cx="154586" cy="154586"/>
            </a:xfrm>
            <a:prstGeom prst="rect">
              <a:avLst/>
            </a:prstGeom>
            <a:blipFill>
              <a:blip r:embed="rId12" cstate="print"/>
              <a:stretch>
                <a:fillRect/>
              </a:stretch>
            </a:blipFill>
          </p:spPr>
          <p:txBody>
            <a:bodyPr wrap="square" lIns="0" tIns="0" rIns="0" bIns="0" rtlCol="0"/>
            <a:lstStyle/>
            <a:p>
              <a:pPr defTabSz="829269" eaLnBrk="1" hangingPunct="1">
                <a:spcAft>
                  <a:spcPct val="50000"/>
                </a:spcAft>
                <a:buClr>
                  <a:srgbClr val="FFE600"/>
                </a:buClr>
                <a:buSzPct val="80000"/>
                <a:defRPr/>
              </a:pPr>
              <a:endParaRPr sz="900">
                <a:solidFill>
                  <a:srgbClr val="000000"/>
                </a:solidFill>
                <a:latin typeface="EYInterstate Light" pitchFamily="2" charset="0"/>
                <a:ea typeface="+mn-ea"/>
                <a:cs typeface="+mn-cs"/>
              </a:endParaRPr>
            </a:p>
          </p:txBody>
        </p:sp>
      </p:grpSp>
    </p:spTree>
    <p:extLst>
      <p:ext uri="{BB962C8B-B14F-4D97-AF65-F5344CB8AC3E}">
        <p14:creationId xmlns:p14="http://schemas.microsoft.com/office/powerpoint/2010/main" val="29633307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26C4713-91DD-440D-AFE1-2DD0CB84E95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708" b="11958"/>
          <a:stretch/>
        </p:blipFill>
        <p:spPr>
          <a:xfrm flipH="1">
            <a:off x="0" y="3176"/>
            <a:ext cx="13442950" cy="7558088"/>
          </a:xfrm>
          <a:prstGeom prst="rect">
            <a:avLst/>
          </a:prstGeom>
        </p:spPr>
      </p:pic>
      <p:sp>
        <p:nvSpPr>
          <p:cNvPr id="8" name="Freeform 12">
            <a:extLst>
              <a:ext uri="{FF2B5EF4-FFF2-40B4-BE49-F238E27FC236}">
                <a16:creationId xmlns:a16="http://schemas.microsoft.com/office/drawing/2014/main" id="{5D46DDCB-3BE1-4B71-BA08-5E44DE5C46BD}"/>
              </a:ext>
            </a:extLst>
          </p:cNvPr>
          <p:cNvSpPr/>
          <p:nvPr/>
        </p:nvSpPr>
        <p:spPr bwMode="gray">
          <a:xfrm flipH="1">
            <a:off x="2855" y="1772219"/>
            <a:ext cx="4992527" cy="910601"/>
          </a:xfrm>
          <a:custGeom>
            <a:avLst/>
            <a:gdLst>
              <a:gd name="connsiteX0" fmla="*/ 85725 w 7705725"/>
              <a:gd name="connsiteY0" fmla="*/ 0 h 1704975"/>
              <a:gd name="connsiteX1" fmla="*/ 7705725 w 7705725"/>
              <a:gd name="connsiteY1" fmla="*/ 0 h 1704975"/>
              <a:gd name="connsiteX2" fmla="*/ 7705725 w 7705725"/>
              <a:gd name="connsiteY2" fmla="*/ 1704975 h 1704975"/>
              <a:gd name="connsiteX3" fmla="*/ 0 w 7705725"/>
              <a:gd name="connsiteY3" fmla="*/ 1704975 h 1704975"/>
              <a:gd name="connsiteX4" fmla="*/ 85725 w 7705725"/>
              <a:gd name="connsiteY4" fmla="*/ 0 h 1704975"/>
              <a:gd name="connsiteX0" fmla="*/ 0 w 7620000"/>
              <a:gd name="connsiteY0" fmla="*/ 0 h 1705429"/>
              <a:gd name="connsiteX1" fmla="*/ 7620000 w 7620000"/>
              <a:gd name="connsiteY1" fmla="*/ 0 h 1705429"/>
              <a:gd name="connsiteX2" fmla="*/ 7620000 w 7620000"/>
              <a:gd name="connsiteY2" fmla="*/ 1704975 h 1705429"/>
              <a:gd name="connsiteX3" fmla="*/ 329085 w 7620000"/>
              <a:gd name="connsiteY3" fmla="*/ 1705429 h 1705429"/>
              <a:gd name="connsiteX4" fmla="*/ 0 w 7620000"/>
              <a:gd name="connsiteY4" fmla="*/ 0 h 1705429"/>
              <a:gd name="connsiteX0" fmla="*/ 0 w 7620000"/>
              <a:gd name="connsiteY0" fmla="*/ 0 h 1705429"/>
              <a:gd name="connsiteX1" fmla="*/ 7620000 w 7620000"/>
              <a:gd name="connsiteY1" fmla="*/ 0 h 1705429"/>
              <a:gd name="connsiteX2" fmla="*/ 6638151 w 7620000"/>
              <a:gd name="connsiteY2" fmla="*/ 1704975 h 1705429"/>
              <a:gd name="connsiteX3" fmla="*/ 329085 w 7620000"/>
              <a:gd name="connsiteY3" fmla="*/ 1705429 h 1705429"/>
              <a:gd name="connsiteX4" fmla="*/ 0 w 7620000"/>
              <a:gd name="connsiteY4" fmla="*/ 0 h 1705429"/>
              <a:gd name="connsiteX0" fmla="*/ 0 w 6638151"/>
              <a:gd name="connsiteY0" fmla="*/ 0 h 1705429"/>
              <a:gd name="connsiteX1" fmla="*/ 6638151 w 6638151"/>
              <a:gd name="connsiteY1" fmla="*/ 0 h 1705429"/>
              <a:gd name="connsiteX2" fmla="*/ 6638151 w 6638151"/>
              <a:gd name="connsiteY2" fmla="*/ 1704975 h 1705429"/>
              <a:gd name="connsiteX3" fmla="*/ 329085 w 6638151"/>
              <a:gd name="connsiteY3" fmla="*/ 1705429 h 1705429"/>
              <a:gd name="connsiteX4" fmla="*/ 0 w 6638151"/>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05429"/>
              <a:gd name="connsiteX1" fmla="*/ 7918414 w 7918414"/>
              <a:gd name="connsiteY1" fmla="*/ 0 h 1705429"/>
              <a:gd name="connsiteX2" fmla="*/ 6638151 w 7918414"/>
              <a:gd name="connsiteY2" fmla="*/ 1704975 h 1705429"/>
              <a:gd name="connsiteX3" fmla="*/ 329085 w 7918414"/>
              <a:gd name="connsiteY3" fmla="*/ 1705429 h 1705429"/>
              <a:gd name="connsiteX4" fmla="*/ 0 w 7918414"/>
              <a:gd name="connsiteY4" fmla="*/ 0 h 1705429"/>
              <a:gd name="connsiteX0" fmla="*/ 0 w 7918414"/>
              <a:gd name="connsiteY0" fmla="*/ 0 h 1723262"/>
              <a:gd name="connsiteX1" fmla="*/ 7918414 w 7918414"/>
              <a:gd name="connsiteY1" fmla="*/ 0 h 1723262"/>
              <a:gd name="connsiteX2" fmla="*/ 7918414 w 7918414"/>
              <a:gd name="connsiteY2" fmla="*/ 1723262 h 1723262"/>
              <a:gd name="connsiteX3" fmla="*/ 329085 w 7918414"/>
              <a:gd name="connsiteY3" fmla="*/ 1705429 h 1723262"/>
              <a:gd name="connsiteX4" fmla="*/ 0 w 7918414"/>
              <a:gd name="connsiteY4" fmla="*/ 0 h 1723262"/>
              <a:gd name="connsiteX0" fmla="*/ 0 w 7918414"/>
              <a:gd name="connsiteY0" fmla="*/ 0 h 1708222"/>
              <a:gd name="connsiteX1" fmla="*/ 7918414 w 7918414"/>
              <a:gd name="connsiteY1" fmla="*/ 0 h 1708222"/>
              <a:gd name="connsiteX2" fmla="*/ 7918414 w 7918414"/>
              <a:gd name="connsiteY2" fmla="*/ 1708222 h 1708222"/>
              <a:gd name="connsiteX3" fmla="*/ 329085 w 7918414"/>
              <a:gd name="connsiteY3" fmla="*/ 1705429 h 1708222"/>
              <a:gd name="connsiteX4" fmla="*/ 0 w 7918414"/>
              <a:gd name="connsiteY4" fmla="*/ 0 h 170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414" h="1708222">
                <a:moveTo>
                  <a:pt x="0" y="0"/>
                </a:moveTo>
                <a:lnTo>
                  <a:pt x="7918414" y="0"/>
                </a:lnTo>
                <a:lnTo>
                  <a:pt x="7918414" y="1708222"/>
                </a:lnTo>
                <a:lnTo>
                  <a:pt x="329085" y="1705429"/>
                </a:lnTo>
                <a:lnTo>
                  <a:pt x="0" y="0"/>
                </a:lnTo>
                <a:close/>
              </a:path>
            </a:pathLst>
          </a:cu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445" tIns="31723" rIns="63445" bIns="31723" rtlCol="0" anchor="ctr"/>
          <a:lstStyle/>
          <a:p>
            <a:pPr marL="0" marR="0" lvl="0" indent="0" algn="ctr" defTabSz="634556" rtl="0" eaLnBrk="1" fontAlgn="base" latinLnBrk="0" hangingPunct="1">
              <a:lnSpc>
                <a:spcPct val="100000"/>
              </a:lnSpc>
              <a:spcBef>
                <a:spcPct val="0"/>
              </a:spcBef>
              <a:spcAft>
                <a:spcPct val="50000"/>
              </a:spcAft>
              <a:buClr>
                <a:srgbClr val="FFE600"/>
              </a:buClr>
              <a:buSzPct val="80000"/>
              <a:buFontTx/>
              <a:buNone/>
              <a:tabLst/>
              <a:defRPr/>
            </a:pPr>
            <a:endParaRPr kumimoji="0" lang="en-US" sz="637"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 name="Text Placeholder 9">
            <a:extLst>
              <a:ext uri="{FF2B5EF4-FFF2-40B4-BE49-F238E27FC236}">
                <a16:creationId xmlns:a16="http://schemas.microsoft.com/office/drawing/2014/main" id="{188B850A-DD0C-40EC-BF0B-9E263EC88DC9}"/>
              </a:ext>
            </a:extLst>
          </p:cNvPr>
          <p:cNvSpPr txBox="1">
            <a:spLocks/>
          </p:cNvSpPr>
          <p:nvPr/>
        </p:nvSpPr>
        <p:spPr bwMode="gray">
          <a:xfrm>
            <a:off x="2856" y="1865549"/>
            <a:ext cx="4992526" cy="723945"/>
          </a:xfrm>
          <a:prstGeom prst="rect">
            <a:avLst/>
          </a:prstGeom>
        </p:spPr>
        <p:txBody>
          <a:bodyPr lIns="0" tIns="31723" rIns="0" bIns="31723" anchor="ctr"/>
          <a:lstStyle>
            <a:lvl1pPr>
              <a:lnSpc>
                <a:spcPct val="90000"/>
              </a:lnSpc>
              <a:spcAft>
                <a:spcPts val="0"/>
              </a:spcAft>
              <a:defRPr lang="en-GB" sz="3000" b="1" kern="1200" dirty="0" smtClean="0">
                <a:solidFill>
                  <a:srgbClr val="FFFFFF"/>
                </a:solidFill>
                <a:latin typeface="EYInterstate Regular" pitchFamily="2" charset="0"/>
                <a:ea typeface="+mn-ea"/>
                <a:cs typeface="Arial" charset="0"/>
              </a:defRPr>
            </a:lvl1pPr>
          </a:lstStyle>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r>
              <a:rPr kumimoji="0" lang="en-US" sz="2000" b="1"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charset="0"/>
              </a:rPr>
              <a:t>   8| </a:t>
            </a:r>
            <a:r>
              <a:rPr kumimoji="0" lang="en-US" sz="2000" b="1" i="0" u="none" strike="noStrike" kern="1200" cap="none" spc="0" normalizeH="0" baseline="0" noProof="0" dirty="0">
                <a:ln>
                  <a:noFill/>
                </a:ln>
                <a:solidFill>
                  <a:srgbClr val="000000"/>
                </a:solidFill>
                <a:effectLst/>
                <a:uLnTx/>
                <a:uFillTx/>
                <a:latin typeface="EYInterstate" panose="02000503020000020004" pitchFamily="2" charset="0"/>
                <a:ea typeface="+mn-ea"/>
                <a:cs typeface="Calibri" panose="020F0502020204030204" pitchFamily="34" charset="0"/>
              </a:rPr>
              <a:t>Assumptions</a:t>
            </a:r>
          </a:p>
          <a:p>
            <a:pPr marL="0" marR="0" lvl="0" indent="0" algn="l" defTabSz="634779" rtl="0" eaLnBrk="1" fontAlgn="base" latinLnBrk="0" hangingPunct="1">
              <a:lnSpc>
                <a:spcPct val="90000"/>
              </a:lnSpc>
              <a:spcBef>
                <a:spcPct val="0"/>
              </a:spcBef>
              <a:spcAft>
                <a:spcPts val="0"/>
              </a:spcAft>
              <a:buClr>
                <a:srgbClr val="FFE600"/>
              </a:buClr>
              <a:buSzPct val="80000"/>
              <a:buFontTx/>
              <a:buNone/>
              <a:tabLst/>
              <a:defRPr/>
            </a:pPr>
            <a:endParaRPr kumimoji="0" lang="en-US" sz="1814" b="1" i="0" u="none" strike="noStrike" kern="1200" cap="none" spc="0" normalizeH="0" baseline="0" noProof="0" dirty="0">
              <a:ln>
                <a:noFill/>
              </a:ln>
              <a:solidFill>
                <a:srgbClr val="000000"/>
              </a:solidFill>
              <a:effectLst/>
              <a:uLnTx/>
              <a:uFillTx/>
              <a:latin typeface="EYInterstate" panose="02000503020000020004" pitchFamily="2" charset="0"/>
              <a:ea typeface="+mn-ea"/>
              <a:cs typeface="Calibri" panose="020F0502020204030204" pitchFamily="34" charset="0"/>
            </a:endParaRPr>
          </a:p>
        </p:txBody>
      </p:sp>
      <p:sp>
        <p:nvSpPr>
          <p:cNvPr id="10" name="Rectangle 9">
            <a:extLst>
              <a:ext uri="{FF2B5EF4-FFF2-40B4-BE49-F238E27FC236}">
                <a16:creationId xmlns:a16="http://schemas.microsoft.com/office/drawing/2014/main" id="{36766414-5C78-4E7E-B2EC-3AC0DC969E62}"/>
              </a:ext>
            </a:extLst>
          </p:cNvPr>
          <p:cNvSpPr/>
          <p:nvPr/>
        </p:nvSpPr>
        <p:spPr>
          <a:xfrm>
            <a:off x="8583616" y="-213122"/>
            <a:ext cx="3312045" cy="7359419"/>
          </a:xfrm>
          <a:prstGeom prst="rect">
            <a:avLst/>
          </a:prstGeom>
          <a:noFill/>
        </p:spPr>
        <p:txBody>
          <a:bodyPr wrap="square" lIns="72742" tIns="36370" rIns="72742" bIns="36370">
            <a:spAutoFit/>
          </a:bodyPr>
          <a:lstStyle/>
          <a:p>
            <a:pPr marL="0" marR="0" lvl="0" indent="0" algn="ctr" defTabSz="945990" rtl="0" eaLnBrk="1" fontAlgn="auto" latinLnBrk="0" hangingPunct="1">
              <a:lnSpc>
                <a:spcPct val="100000"/>
              </a:lnSpc>
              <a:spcBef>
                <a:spcPts val="0"/>
              </a:spcBef>
              <a:spcAft>
                <a:spcPts val="0"/>
              </a:spcAft>
              <a:buClrTx/>
              <a:buSzTx/>
              <a:buFontTx/>
              <a:buNone/>
              <a:tabLst/>
              <a:defRPr/>
            </a:pPr>
            <a:r>
              <a:rPr kumimoji="0" lang="en-US" sz="47346" b="1" i="0" u="none" strike="noStrike" kern="1200" cap="none" spc="0" normalizeH="0" baseline="0" noProof="0" dirty="0">
                <a:ln w="22225">
                  <a:solidFill>
                    <a:srgbClr val="FFE600"/>
                  </a:solidFill>
                  <a:prstDash val="solid"/>
                </a:ln>
                <a:solidFill>
                  <a:srgbClr val="FFE600"/>
                </a:solidFill>
                <a:effectLst/>
                <a:uLnTx/>
                <a:uFillTx/>
                <a:latin typeface="EYInterstate" panose="02000503020000020004" pitchFamily="2" charset="0"/>
                <a:ea typeface="+mn-ea"/>
                <a:cs typeface="Calibri" panose="020F0502020204030204" pitchFamily="34" charset="0"/>
              </a:rPr>
              <a:t>8</a:t>
            </a:r>
          </a:p>
        </p:txBody>
      </p:sp>
    </p:spTree>
    <p:extLst>
      <p:ext uri="{BB962C8B-B14F-4D97-AF65-F5344CB8AC3E}">
        <p14:creationId xmlns:p14="http://schemas.microsoft.com/office/powerpoint/2010/main" val="9152890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4861A-85F4-4509-8FFF-977F107BECCE}"/>
              </a:ext>
            </a:extLst>
          </p:cNvPr>
          <p:cNvSpPr>
            <a:spLocks noGrp="1"/>
          </p:cNvSpPr>
          <p:nvPr>
            <p:ph type="title"/>
          </p:nvPr>
        </p:nvSpPr>
        <p:spPr/>
        <p:txBody>
          <a:bodyPr/>
          <a:lstStyle/>
          <a:p>
            <a:r>
              <a:rPr lang="en-US" dirty="0"/>
              <a:t>Assumptions for our project</a:t>
            </a:r>
          </a:p>
        </p:txBody>
      </p:sp>
      <p:graphicFrame>
        <p:nvGraphicFramePr>
          <p:cNvPr id="3" name="Table 2">
            <a:extLst>
              <a:ext uri="{FF2B5EF4-FFF2-40B4-BE49-F238E27FC236}">
                <a16:creationId xmlns:a16="http://schemas.microsoft.com/office/drawing/2014/main" id="{69130A30-51E3-44DA-BA14-8ABB48F58235}"/>
              </a:ext>
            </a:extLst>
          </p:cNvPr>
          <p:cNvGraphicFramePr>
            <a:graphicFrameLocks noGrp="1"/>
          </p:cNvGraphicFramePr>
          <p:nvPr>
            <p:extLst>
              <p:ext uri="{D42A27DB-BD31-4B8C-83A1-F6EECF244321}">
                <p14:modId xmlns:p14="http://schemas.microsoft.com/office/powerpoint/2010/main" val="965014692"/>
              </p:ext>
            </p:extLst>
          </p:nvPr>
        </p:nvGraphicFramePr>
        <p:xfrm>
          <a:off x="855875" y="4826826"/>
          <a:ext cx="10982327" cy="1759215"/>
        </p:xfrm>
        <a:graphic>
          <a:graphicData uri="http://schemas.openxmlformats.org/drawingml/2006/table">
            <a:tbl>
              <a:tblPr>
                <a:tableStyleId>{5C22544A-7EE6-4342-B048-85BDC9FD1C3A}</a:tableStyleId>
              </a:tblPr>
              <a:tblGrid>
                <a:gridCol w="488242">
                  <a:extLst>
                    <a:ext uri="{9D8B030D-6E8A-4147-A177-3AD203B41FA5}">
                      <a16:colId xmlns:a16="http://schemas.microsoft.com/office/drawing/2014/main" val="20000"/>
                    </a:ext>
                  </a:extLst>
                </a:gridCol>
                <a:gridCol w="10494085">
                  <a:extLst>
                    <a:ext uri="{9D8B030D-6E8A-4147-A177-3AD203B41FA5}">
                      <a16:colId xmlns:a16="http://schemas.microsoft.com/office/drawing/2014/main" val="20001"/>
                    </a:ext>
                  </a:extLst>
                </a:gridCol>
              </a:tblGrid>
              <a:tr h="243579">
                <a:tc>
                  <a:txBody>
                    <a:bodyPr/>
                    <a:lstStyle/>
                    <a:p>
                      <a:pPr algn="ctr" fontAlgn="b">
                        <a:lnSpc>
                          <a:spcPct val="100000"/>
                        </a:lnSpc>
                      </a:pPr>
                      <a:r>
                        <a:rPr lang="en-US" sz="1200" b="0" i="0" u="none" strike="noStrike" dirty="0">
                          <a:solidFill>
                            <a:schemeClr val="tx1">
                              <a:lumMod val="75000"/>
                              <a:lumOff val="25000"/>
                            </a:schemeClr>
                          </a:solidFill>
                          <a:effectLst/>
                          <a:latin typeface="EYInterstate" panose="02000503020000020004" pitchFamily="2" charset="0"/>
                        </a:rPr>
                        <a:t>ID</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l" fontAlgn="b">
                        <a:lnSpc>
                          <a:spcPct val="100000"/>
                        </a:lnSpc>
                      </a:pPr>
                      <a:r>
                        <a:rPr lang="en-US" sz="1200" b="0" i="0" u="none" strike="noStrike" dirty="0">
                          <a:solidFill>
                            <a:schemeClr val="tx1">
                              <a:lumMod val="75000"/>
                              <a:lumOff val="25000"/>
                            </a:schemeClr>
                          </a:solidFill>
                          <a:effectLst/>
                          <a:latin typeface="EYInterstate" panose="02000503020000020004" pitchFamily="2" charset="0"/>
                        </a:rPr>
                        <a:t>Assumptions</a:t>
                      </a:r>
                      <a:r>
                        <a:rPr lang="en-US" sz="1200" b="0" i="0" u="none" strike="noStrike" baseline="0" dirty="0">
                          <a:solidFill>
                            <a:schemeClr val="tx1">
                              <a:lumMod val="75000"/>
                              <a:lumOff val="25000"/>
                            </a:schemeClr>
                          </a:solidFill>
                          <a:effectLst/>
                          <a:latin typeface="EYInterstate" panose="02000503020000020004" pitchFamily="2" charset="0"/>
                        </a:rPr>
                        <a:t> and/or Dependencies</a:t>
                      </a:r>
                      <a:endParaRPr lang="en-US" sz="1200" b="0" i="0" u="none" strike="noStrike" dirty="0">
                        <a:solidFill>
                          <a:schemeClr val="tx1">
                            <a:lumMod val="75000"/>
                            <a:lumOff val="25000"/>
                          </a:schemeClr>
                        </a:solidFill>
                        <a:effectLst/>
                        <a:latin typeface="EYInterstate" panose="02000503020000020004" pitchFamily="2" charset="0"/>
                      </a:endParaRP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98412">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1</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100" dirty="0">
                          <a:solidFill>
                            <a:schemeClr val="tx1"/>
                          </a:solidFill>
                          <a:latin typeface="EYInterstate" panose="02000503020000020004" pitchFamily="2" charset="0"/>
                        </a:rPr>
                        <a:t>EY would implement only 1 use-case for AIAT as a value-add</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3763345728"/>
                  </a:ext>
                </a:extLst>
              </a:tr>
              <a:tr h="198412">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2</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100" dirty="0">
                          <a:solidFill>
                            <a:schemeClr val="tx1"/>
                          </a:solidFill>
                          <a:latin typeface="EYInterstate" panose="02000503020000020004" pitchFamily="2" charset="0"/>
                        </a:rPr>
                        <a:t>Infrastructure procurement and setup will be the responsibility of AIAT. AIAT will also provide adequately sized model build environment.</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02"/>
                  </a:ext>
                </a:extLst>
              </a:tr>
              <a:tr h="387006">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3</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100" dirty="0">
                          <a:solidFill>
                            <a:schemeClr val="tx1"/>
                          </a:solidFill>
                          <a:latin typeface="EYInterstate" panose="02000503020000020004" pitchFamily="2" charset="0"/>
                        </a:rPr>
                        <a:t>AIAT would be responsible for acquiring and provisioning the data as per the data taxonomy from source system to a common server/data base for the use-case implementation. EY would suggest on the historical data required based on AIAT’s choice of use-case</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4122362295"/>
                  </a:ext>
                </a:extLst>
              </a:tr>
              <a:tr h="387006">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4</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kumimoji="0" lang="en-US" sz="1100" b="0" i="0" u="none" strike="noStrike" kern="1200" cap="none" spc="0" normalizeH="0" baseline="0" noProof="0" dirty="0">
                          <a:ln>
                            <a:noFill/>
                          </a:ln>
                          <a:solidFill>
                            <a:schemeClr val="tx1"/>
                          </a:solidFill>
                          <a:effectLst/>
                          <a:uLnTx/>
                          <a:uFillTx/>
                          <a:latin typeface="EYInterstate" panose="02000503020000020004" pitchFamily="2" charset="0"/>
                          <a:ea typeface="+mn-ea"/>
                          <a:cs typeface="+mn-cs"/>
                        </a:rPr>
                        <a:t>EY would undertake max 2-3 iterations per model to achieve the desired performance thresholds. AIAT and EY would together agree on the interpretability of the model features and results before finalizing them.</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976867352"/>
                  </a:ext>
                </a:extLst>
              </a:tr>
              <a:tr h="336537">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5</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kumimoji="0" lang="en-US" sz="1100" b="0" i="0" u="none" strike="noStrike" kern="1200" cap="none" spc="0" normalizeH="0" baseline="0" noProof="0" dirty="0">
                          <a:ln>
                            <a:noFill/>
                          </a:ln>
                          <a:solidFill>
                            <a:schemeClr val="tx1"/>
                          </a:solidFill>
                          <a:effectLst/>
                          <a:uLnTx/>
                          <a:uFillTx/>
                          <a:latin typeface="EYInterstate" panose="02000503020000020004" pitchFamily="2" charset="0"/>
                          <a:ea typeface="+mn-ea"/>
                          <a:cs typeface="+mn-cs"/>
                        </a:rPr>
                        <a:t>The deliverables will include model build/run scripts, model output scores, documentation on the steps involved in the development of the model and performance assessments. </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347466278"/>
                  </a:ext>
                </a:extLst>
              </a:tr>
            </a:tbl>
          </a:graphicData>
        </a:graphic>
      </p:graphicFrame>
      <p:sp>
        <p:nvSpPr>
          <p:cNvPr id="7" name="TextBox 6">
            <a:extLst>
              <a:ext uri="{FF2B5EF4-FFF2-40B4-BE49-F238E27FC236}">
                <a16:creationId xmlns:a16="http://schemas.microsoft.com/office/drawing/2014/main" id="{3CC4AC8E-7C77-4919-B486-E070E5DCD314}"/>
              </a:ext>
            </a:extLst>
          </p:cNvPr>
          <p:cNvSpPr txBox="1"/>
          <p:nvPr/>
        </p:nvSpPr>
        <p:spPr>
          <a:xfrm>
            <a:off x="865707" y="4600620"/>
            <a:ext cx="3446029" cy="220041"/>
          </a:xfrm>
          <a:prstGeom prst="rect">
            <a:avLst/>
          </a:prstGeom>
          <a:solidFill>
            <a:srgbClr val="FFFFFF"/>
          </a:solidFill>
          <a:ln>
            <a:noFill/>
          </a:ln>
        </p:spPr>
        <p:txBody>
          <a:bodyPr wrap="square" lIns="0" tIns="36557" rIns="0" bIns="0" rtlCol="0" anchor="t">
            <a:spAutoFit/>
          </a:bodyPr>
          <a:lstStyle/>
          <a:p>
            <a:pPr marL="0" marR="0" lvl="0" indent="0" algn="l" defTabSz="914400" rtl="0" eaLnBrk="1" fontAlgn="auto" latinLnBrk="0" hangingPunct="1">
              <a:lnSpc>
                <a:spcPct val="85000"/>
              </a:lnSpc>
              <a:spcBef>
                <a:spcPts val="0"/>
              </a:spcBef>
              <a:spcAft>
                <a:spcPts val="600"/>
              </a:spcAft>
              <a:buClr>
                <a:srgbClr val="FFE600"/>
              </a:buClr>
              <a:buSzPct val="70000"/>
              <a:buFontTx/>
              <a:buNone/>
              <a:tabLst/>
              <a:defRPr/>
            </a:pPr>
            <a:r>
              <a:rPr kumimoji="0" lang="en-AU" sz="1400" b="1"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rPr>
              <a:t>Value-Added</a:t>
            </a:r>
          </a:p>
        </p:txBody>
      </p:sp>
      <p:graphicFrame>
        <p:nvGraphicFramePr>
          <p:cNvPr id="8" name="Table 7">
            <a:extLst>
              <a:ext uri="{FF2B5EF4-FFF2-40B4-BE49-F238E27FC236}">
                <a16:creationId xmlns:a16="http://schemas.microsoft.com/office/drawing/2014/main" id="{5343D492-BBD9-4D9E-B50A-64A97D32AEF3}"/>
              </a:ext>
            </a:extLst>
          </p:cNvPr>
          <p:cNvGraphicFramePr>
            <a:graphicFrameLocks noGrp="1"/>
          </p:cNvGraphicFramePr>
          <p:nvPr>
            <p:extLst>
              <p:ext uri="{D42A27DB-BD31-4B8C-83A1-F6EECF244321}">
                <p14:modId xmlns:p14="http://schemas.microsoft.com/office/powerpoint/2010/main" val="3549513849"/>
              </p:ext>
            </p:extLst>
          </p:nvPr>
        </p:nvGraphicFramePr>
        <p:xfrm>
          <a:off x="855874" y="1140648"/>
          <a:ext cx="10982327" cy="1502817"/>
        </p:xfrm>
        <a:graphic>
          <a:graphicData uri="http://schemas.openxmlformats.org/drawingml/2006/table">
            <a:tbl>
              <a:tblPr>
                <a:tableStyleId>{5C22544A-7EE6-4342-B048-85BDC9FD1C3A}</a:tableStyleId>
              </a:tblPr>
              <a:tblGrid>
                <a:gridCol w="488242">
                  <a:extLst>
                    <a:ext uri="{9D8B030D-6E8A-4147-A177-3AD203B41FA5}">
                      <a16:colId xmlns:a16="http://schemas.microsoft.com/office/drawing/2014/main" val="20000"/>
                    </a:ext>
                  </a:extLst>
                </a:gridCol>
                <a:gridCol w="10494085">
                  <a:extLst>
                    <a:ext uri="{9D8B030D-6E8A-4147-A177-3AD203B41FA5}">
                      <a16:colId xmlns:a16="http://schemas.microsoft.com/office/drawing/2014/main" val="20001"/>
                    </a:ext>
                  </a:extLst>
                </a:gridCol>
              </a:tblGrid>
              <a:tr h="211334">
                <a:tc>
                  <a:txBody>
                    <a:bodyPr/>
                    <a:lstStyle/>
                    <a:p>
                      <a:pPr algn="ctr" fontAlgn="b">
                        <a:lnSpc>
                          <a:spcPct val="100000"/>
                        </a:lnSpc>
                      </a:pPr>
                      <a:r>
                        <a:rPr lang="en-US" sz="1200" b="0" i="0" u="none" strike="noStrike">
                          <a:solidFill>
                            <a:schemeClr val="tx1">
                              <a:lumMod val="75000"/>
                              <a:lumOff val="25000"/>
                            </a:schemeClr>
                          </a:solidFill>
                          <a:effectLst/>
                          <a:latin typeface="EYInterstate" panose="02000503020000020004" pitchFamily="2" charset="0"/>
                        </a:rPr>
                        <a:t>ID</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l" fontAlgn="b">
                        <a:lnSpc>
                          <a:spcPct val="100000"/>
                        </a:lnSpc>
                      </a:pPr>
                      <a:r>
                        <a:rPr lang="en-US" sz="1200" b="0" i="0" u="none" strike="noStrike" dirty="0">
                          <a:solidFill>
                            <a:schemeClr val="tx1">
                              <a:lumMod val="75000"/>
                              <a:lumOff val="25000"/>
                            </a:schemeClr>
                          </a:solidFill>
                          <a:effectLst/>
                          <a:latin typeface="EYInterstate" panose="02000503020000020004" pitchFamily="2" charset="0"/>
                        </a:rPr>
                        <a:t>Assumptions</a:t>
                      </a:r>
                      <a:r>
                        <a:rPr lang="en-US" sz="1200" b="0" i="0" u="none" strike="noStrike" baseline="0" dirty="0">
                          <a:solidFill>
                            <a:schemeClr val="tx1">
                              <a:lumMod val="75000"/>
                              <a:lumOff val="25000"/>
                            </a:schemeClr>
                          </a:solidFill>
                          <a:effectLst/>
                          <a:latin typeface="EYInterstate" panose="02000503020000020004" pitchFamily="2" charset="0"/>
                        </a:rPr>
                        <a:t> and/or Dependencies</a:t>
                      </a:r>
                      <a:endParaRPr lang="en-US" sz="1200" b="0" i="0" u="none" strike="noStrike" dirty="0">
                        <a:solidFill>
                          <a:schemeClr val="tx1">
                            <a:lumMod val="75000"/>
                            <a:lumOff val="25000"/>
                          </a:schemeClr>
                        </a:solidFill>
                        <a:effectLst/>
                        <a:latin typeface="EYInterstate" panose="02000503020000020004" pitchFamily="2" charset="0"/>
                      </a:endParaRP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72145">
                <a:tc>
                  <a:txBody>
                    <a:bodyPr/>
                    <a:lstStyle/>
                    <a:p>
                      <a:pPr algn="ctr" fontAlgn="b">
                        <a:lnSpc>
                          <a:spcPct val="100000"/>
                        </a:lnSpc>
                      </a:pPr>
                      <a:endParaRPr lang="en-US" sz="1100" b="0" i="0" u="none" strike="noStrike" dirty="0">
                        <a:solidFill>
                          <a:schemeClr val="tx1">
                            <a:lumMod val="75000"/>
                            <a:lumOff val="25000"/>
                          </a:schemeClr>
                        </a:solidFill>
                        <a:effectLst/>
                        <a:latin typeface="EYInterstate" panose="02000503020000020004" pitchFamily="2" charset="0"/>
                      </a:endParaRP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defTabSz="1148930" rtl="0" eaLnBrk="1" fontAlgn="b" latinLnBrk="0" hangingPunct="1">
                        <a:lnSpc>
                          <a:spcPct val="100000"/>
                        </a:lnSpc>
                        <a:spcBef>
                          <a:spcPts val="0"/>
                        </a:spcBef>
                        <a:spcAft>
                          <a:spcPts val="0"/>
                        </a:spcAft>
                        <a:buClrTx/>
                        <a:buSzTx/>
                        <a:buFontTx/>
                        <a:buNone/>
                        <a:tabLst/>
                        <a:defRPr/>
                      </a:pPr>
                      <a:r>
                        <a:rPr lang="en-AU" sz="1100" dirty="0">
                          <a:solidFill>
                            <a:schemeClr val="tx1"/>
                          </a:solidFill>
                          <a:latin typeface="EYInterstate" panose="02000503020000020004" pitchFamily="2" charset="0"/>
                        </a:rPr>
                        <a:t>The estimated efforts is to cover the design and assessment of AIA Data Platform; </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626708605"/>
                  </a:ext>
                </a:extLst>
              </a:tr>
              <a:tr h="172145">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1</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100" dirty="0">
                          <a:solidFill>
                            <a:schemeClr val="tx1"/>
                          </a:solidFill>
                          <a:latin typeface="EYInterstate" panose="02000503020000020004" pitchFamily="2" charset="0"/>
                        </a:rPr>
                        <a:t>AIAT would provide detailed information on their business strategies relevant for use-case identification</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02"/>
                  </a:ext>
                </a:extLst>
              </a:tr>
              <a:tr h="247563">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2</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100" dirty="0">
                          <a:solidFill>
                            <a:schemeClr val="tx1"/>
                          </a:solidFill>
                          <a:latin typeface="EYInterstate" panose="02000503020000020004" pitchFamily="2" charset="0"/>
                        </a:rPr>
                        <a:t>AIAT &amp; EY would together decide on the prioritization of the identified use-case based on AIAT business strategies and priorities</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4122362295"/>
                  </a:ext>
                </a:extLst>
              </a:tr>
              <a:tr h="335774">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3</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kumimoji="0" lang="en-US" sz="1100" b="0" i="0" u="none" strike="noStrike" kern="1200" cap="none" spc="0" normalizeH="0" baseline="0" noProof="0" dirty="0">
                          <a:ln>
                            <a:noFill/>
                          </a:ln>
                          <a:solidFill>
                            <a:schemeClr val="tx1"/>
                          </a:solidFill>
                          <a:effectLst/>
                          <a:uLnTx/>
                          <a:uFillTx/>
                          <a:latin typeface="EYInterstate" panose="02000503020000020004" pitchFamily="2" charset="0"/>
                          <a:ea typeface="+mn-ea"/>
                          <a:cs typeface="+mn-cs"/>
                        </a:rPr>
                        <a:t>AIAT would be responsible for its choice of appropriate level of centralization and analytics operating model. EY would work together with AIAT to recommend on the corresponding choice</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976867352"/>
                  </a:ext>
                </a:extLst>
              </a:tr>
              <a:tr h="335774">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4</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defTabSz="1148930" rtl="0" eaLnBrk="1" fontAlgn="b" latinLnBrk="0" hangingPunct="1">
                        <a:lnSpc>
                          <a:spcPct val="100000"/>
                        </a:lnSpc>
                        <a:spcBef>
                          <a:spcPts val="0"/>
                        </a:spcBef>
                        <a:spcAft>
                          <a:spcPts val="0"/>
                        </a:spcAft>
                        <a:buClrTx/>
                        <a:buSzTx/>
                        <a:buFontTx/>
                        <a:buNone/>
                        <a:tabLst/>
                        <a:defRPr/>
                      </a:pPr>
                      <a:r>
                        <a:rPr lang="en-US" sz="1100" kern="1200" dirty="0">
                          <a:solidFill>
                            <a:schemeClr val="tx1"/>
                          </a:solidFill>
                          <a:latin typeface="EYInterstate" panose="02000503020000020004" pitchFamily="2" charset="0"/>
                          <a:ea typeface="+mn-ea"/>
                          <a:cs typeface="+mn-cs"/>
                        </a:rPr>
                        <a:t>Data management process (historical data management, delete, append, update </a:t>
                      </a:r>
                      <a:r>
                        <a:rPr lang="en-US" sz="1100" kern="1200" dirty="0" err="1">
                          <a:solidFill>
                            <a:schemeClr val="tx1"/>
                          </a:solidFill>
                          <a:latin typeface="EYInterstate" panose="02000503020000020004" pitchFamily="2" charset="0"/>
                          <a:ea typeface="+mn-ea"/>
                          <a:cs typeface="+mn-cs"/>
                        </a:rPr>
                        <a:t>etc</a:t>
                      </a:r>
                      <a:r>
                        <a:rPr lang="en-US" sz="1100" kern="1200" dirty="0">
                          <a:solidFill>
                            <a:schemeClr val="tx1"/>
                          </a:solidFill>
                          <a:latin typeface="EYInterstate" panose="02000503020000020004" pitchFamily="2" charset="0"/>
                          <a:ea typeface="+mn-ea"/>
                          <a:cs typeface="+mn-cs"/>
                        </a:rPr>
                        <a:t>). of source system should be provided by </a:t>
                      </a:r>
                      <a:r>
                        <a:rPr lang="en-AU" sz="1100" kern="1200" dirty="0">
                          <a:solidFill>
                            <a:schemeClr val="tx1"/>
                          </a:solidFill>
                          <a:latin typeface="EYInterstate" panose="02000503020000020004" pitchFamily="2" charset="0"/>
                          <a:ea typeface="+mn-ea"/>
                          <a:cs typeface="+mn-cs"/>
                        </a:rPr>
                        <a:t>AIAT</a:t>
                      </a:r>
                      <a:r>
                        <a:rPr lang="en-US" sz="1100" kern="1200" dirty="0">
                          <a:solidFill>
                            <a:schemeClr val="tx1"/>
                          </a:solidFill>
                          <a:latin typeface="EYInterstate" panose="02000503020000020004" pitchFamily="2" charset="0"/>
                          <a:ea typeface="+mn-ea"/>
                          <a:cs typeface="+mn-cs"/>
                        </a:rPr>
                        <a:t>, to facilitate the understanding of data behavior</a:t>
                      </a:r>
                      <a:endParaRPr lang="en-AU" sz="1100" kern="1200" dirty="0">
                        <a:solidFill>
                          <a:schemeClr val="tx1"/>
                        </a:solidFill>
                        <a:latin typeface="EYInterstate" panose="02000503020000020004" pitchFamily="2" charset="0"/>
                        <a:ea typeface="+mn-ea"/>
                        <a:cs typeface="+mn-cs"/>
                      </a:endParaRP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900854347"/>
                  </a:ext>
                </a:extLst>
              </a:tr>
            </a:tbl>
          </a:graphicData>
        </a:graphic>
      </p:graphicFrame>
      <p:sp>
        <p:nvSpPr>
          <p:cNvPr id="9" name="TextBox 8">
            <a:extLst>
              <a:ext uri="{FF2B5EF4-FFF2-40B4-BE49-F238E27FC236}">
                <a16:creationId xmlns:a16="http://schemas.microsoft.com/office/drawing/2014/main" id="{AF618E5E-D412-4308-9A15-486BE779561F}"/>
              </a:ext>
            </a:extLst>
          </p:cNvPr>
          <p:cNvSpPr txBox="1"/>
          <p:nvPr/>
        </p:nvSpPr>
        <p:spPr>
          <a:xfrm>
            <a:off x="855874" y="905400"/>
            <a:ext cx="3446029" cy="220041"/>
          </a:xfrm>
          <a:prstGeom prst="rect">
            <a:avLst/>
          </a:prstGeom>
          <a:solidFill>
            <a:srgbClr val="FFFFFF"/>
          </a:solidFill>
          <a:ln>
            <a:noFill/>
          </a:ln>
        </p:spPr>
        <p:txBody>
          <a:bodyPr wrap="square" lIns="0" tIns="36557" rIns="0" bIns="0" rtlCol="0" anchor="t">
            <a:spAutoFit/>
          </a:bodyPr>
          <a:lstStyle/>
          <a:p>
            <a:pPr marL="0" marR="0" lvl="0" indent="0" algn="l" defTabSz="914400" rtl="0" eaLnBrk="1" fontAlgn="auto" latinLnBrk="0" hangingPunct="1">
              <a:lnSpc>
                <a:spcPct val="85000"/>
              </a:lnSpc>
              <a:spcBef>
                <a:spcPts val="0"/>
              </a:spcBef>
              <a:spcAft>
                <a:spcPts val="600"/>
              </a:spcAft>
              <a:buClr>
                <a:srgbClr val="FFE600"/>
              </a:buClr>
              <a:buSzPct val="70000"/>
              <a:buFontTx/>
              <a:buNone/>
              <a:tabLst/>
              <a:defRPr/>
            </a:pPr>
            <a:r>
              <a:rPr kumimoji="0" lang="en-AU" sz="1400" b="1"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rPr>
              <a:t>Inputs</a:t>
            </a:r>
          </a:p>
        </p:txBody>
      </p:sp>
      <p:sp>
        <p:nvSpPr>
          <p:cNvPr id="10" name="TextBox 9">
            <a:extLst>
              <a:ext uri="{FF2B5EF4-FFF2-40B4-BE49-F238E27FC236}">
                <a16:creationId xmlns:a16="http://schemas.microsoft.com/office/drawing/2014/main" id="{9FEE9382-3175-452F-9B38-EFF6DF588B21}"/>
              </a:ext>
            </a:extLst>
          </p:cNvPr>
          <p:cNvSpPr txBox="1"/>
          <p:nvPr/>
        </p:nvSpPr>
        <p:spPr>
          <a:xfrm>
            <a:off x="855874" y="2744569"/>
            <a:ext cx="3446029" cy="220041"/>
          </a:xfrm>
          <a:prstGeom prst="rect">
            <a:avLst/>
          </a:prstGeom>
          <a:solidFill>
            <a:srgbClr val="FFFFFF"/>
          </a:solidFill>
          <a:ln>
            <a:noFill/>
          </a:ln>
        </p:spPr>
        <p:txBody>
          <a:bodyPr wrap="square" lIns="0" tIns="36557" rIns="0" bIns="0" rtlCol="0" anchor="t">
            <a:spAutoFit/>
          </a:bodyPr>
          <a:lstStyle/>
          <a:p>
            <a:pPr marL="0" marR="0" lvl="0" indent="0" algn="l" defTabSz="914400" rtl="0" eaLnBrk="1" fontAlgn="auto" latinLnBrk="0" hangingPunct="1">
              <a:lnSpc>
                <a:spcPct val="85000"/>
              </a:lnSpc>
              <a:spcBef>
                <a:spcPts val="0"/>
              </a:spcBef>
              <a:spcAft>
                <a:spcPts val="600"/>
              </a:spcAft>
              <a:buClr>
                <a:srgbClr val="FFE600"/>
              </a:buClr>
              <a:buSzPct val="70000"/>
              <a:buFontTx/>
              <a:buNone/>
              <a:tabLst/>
              <a:defRPr/>
            </a:pPr>
            <a:r>
              <a:rPr kumimoji="0" lang="en-AU" sz="1400" b="1" i="0" u="none" strike="noStrike" kern="0" cap="none" spc="0" normalizeH="0" baseline="0" noProof="0" dirty="0">
                <a:ln>
                  <a:noFill/>
                </a:ln>
                <a:solidFill>
                  <a:srgbClr val="000000">
                    <a:lumMod val="75000"/>
                    <a:lumOff val="25000"/>
                  </a:srgbClr>
                </a:solidFill>
                <a:effectLst/>
                <a:uLnTx/>
                <a:uFillTx/>
                <a:latin typeface="EYInterstate" panose="02000503020000020004" pitchFamily="2" charset="0"/>
                <a:ea typeface="+mn-ea"/>
                <a:cs typeface="+mn-cs"/>
              </a:rPr>
              <a:t>People</a:t>
            </a:r>
          </a:p>
        </p:txBody>
      </p:sp>
      <p:graphicFrame>
        <p:nvGraphicFramePr>
          <p:cNvPr id="11" name="Table 10">
            <a:extLst>
              <a:ext uri="{FF2B5EF4-FFF2-40B4-BE49-F238E27FC236}">
                <a16:creationId xmlns:a16="http://schemas.microsoft.com/office/drawing/2014/main" id="{12430612-A7A8-4102-A70E-6F74B40AD793}"/>
              </a:ext>
            </a:extLst>
          </p:cNvPr>
          <p:cNvGraphicFramePr>
            <a:graphicFrameLocks noGrp="1"/>
          </p:cNvGraphicFramePr>
          <p:nvPr>
            <p:extLst>
              <p:ext uri="{D42A27DB-BD31-4B8C-83A1-F6EECF244321}">
                <p14:modId xmlns:p14="http://schemas.microsoft.com/office/powerpoint/2010/main" val="1313726389"/>
              </p:ext>
            </p:extLst>
          </p:nvPr>
        </p:nvGraphicFramePr>
        <p:xfrm>
          <a:off x="843419" y="3000478"/>
          <a:ext cx="11007235" cy="1475991"/>
        </p:xfrm>
        <a:graphic>
          <a:graphicData uri="http://schemas.openxmlformats.org/drawingml/2006/table">
            <a:tbl>
              <a:tblPr>
                <a:tableStyleId>{5C22544A-7EE6-4342-B048-85BDC9FD1C3A}</a:tableStyleId>
              </a:tblPr>
              <a:tblGrid>
                <a:gridCol w="509923">
                  <a:extLst>
                    <a:ext uri="{9D8B030D-6E8A-4147-A177-3AD203B41FA5}">
                      <a16:colId xmlns:a16="http://schemas.microsoft.com/office/drawing/2014/main" val="20000"/>
                    </a:ext>
                  </a:extLst>
                </a:gridCol>
                <a:gridCol w="10497312">
                  <a:extLst>
                    <a:ext uri="{9D8B030D-6E8A-4147-A177-3AD203B41FA5}">
                      <a16:colId xmlns:a16="http://schemas.microsoft.com/office/drawing/2014/main" val="20001"/>
                    </a:ext>
                  </a:extLst>
                </a:gridCol>
              </a:tblGrid>
              <a:tr h="343529">
                <a:tc>
                  <a:txBody>
                    <a:bodyPr/>
                    <a:lstStyle/>
                    <a:p>
                      <a:pPr algn="ctr" fontAlgn="b">
                        <a:lnSpc>
                          <a:spcPct val="100000"/>
                        </a:lnSpc>
                      </a:pPr>
                      <a:r>
                        <a:rPr lang="en-US" sz="1200" b="0" i="0" u="none" strike="noStrike" dirty="0">
                          <a:solidFill>
                            <a:schemeClr val="tx1">
                              <a:lumMod val="75000"/>
                              <a:lumOff val="25000"/>
                            </a:schemeClr>
                          </a:solidFill>
                          <a:effectLst/>
                          <a:latin typeface="EYInterstate" panose="02000503020000020004" pitchFamily="2" charset="0"/>
                        </a:rPr>
                        <a:t>ID</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l" fontAlgn="b">
                        <a:lnSpc>
                          <a:spcPct val="100000"/>
                        </a:lnSpc>
                      </a:pPr>
                      <a:r>
                        <a:rPr lang="en-US" sz="1200" b="0" i="0" u="none" strike="noStrike" dirty="0">
                          <a:solidFill>
                            <a:schemeClr val="tx1">
                              <a:lumMod val="75000"/>
                              <a:lumOff val="25000"/>
                            </a:schemeClr>
                          </a:solidFill>
                          <a:effectLst/>
                          <a:latin typeface="EYInterstate" panose="02000503020000020004" pitchFamily="2" charset="0"/>
                        </a:rPr>
                        <a:t>Assumptions</a:t>
                      </a:r>
                      <a:r>
                        <a:rPr lang="en-US" sz="1200" b="0" i="0" u="none" strike="noStrike" baseline="0" dirty="0">
                          <a:solidFill>
                            <a:schemeClr val="tx1">
                              <a:lumMod val="75000"/>
                              <a:lumOff val="25000"/>
                            </a:schemeClr>
                          </a:solidFill>
                          <a:effectLst/>
                          <a:latin typeface="EYInterstate" panose="02000503020000020004" pitchFamily="2" charset="0"/>
                        </a:rPr>
                        <a:t> and/or Dependencies</a:t>
                      </a:r>
                      <a:endParaRPr lang="en-US" sz="1200" b="0" i="0" u="none" strike="noStrike" dirty="0">
                        <a:solidFill>
                          <a:schemeClr val="tx1">
                            <a:lumMod val="75000"/>
                            <a:lumOff val="25000"/>
                          </a:schemeClr>
                        </a:solidFill>
                        <a:effectLst/>
                        <a:latin typeface="EYInterstate" panose="02000503020000020004" pitchFamily="2" charset="0"/>
                      </a:endParaRP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93048">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1</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rtl="0" eaLnBrk="1" fontAlgn="b" latinLnBrk="0" hangingPunct="1">
                        <a:lnSpc>
                          <a:spcPct val="100000"/>
                        </a:lnSpc>
                        <a:spcBef>
                          <a:spcPts val="0"/>
                        </a:spcBef>
                        <a:spcAft>
                          <a:spcPts val="0"/>
                        </a:spcAft>
                        <a:buClrTx/>
                        <a:buSzTx/>
                        <a:buFontTx/>
                        <a:buNone/>
                      </a:pPr>
                      <a:r>
                        <a:rPr lang="en-AU" sz="1100" dirty="0">
                          <a:solidFill>
                            <a:schemeClr val="tx1"/>
                          </a:solidFill>
                          <a:latin typeface="EYInterstate" panose="02000503020000020004" pitchFamily="2" charset="0"/>
                        </a:rPr>
                        <a:t>AIAT will provide executive sponsors or key project owners access to ensure the project is in the right direction. </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581840723"/>
                  </a:ext>
                </a:extLst>
              </a:tr>
              <a:tr h="212711">
                <a:tc>
                  <a:txBody>
                    <a:bodyPr/>
                    <a:lstStyle/>
                    <a:p>
                      <a:pPr algn="ctr" fontAlgn="b">
                        <a:lnSpc>
                          <a:spcPct val="100000"/>
                        </a:lnSpc>
                      </a:pPr>
                      <a:r>
                        <a:rPr lang="en-US" sz="1100" b="0" i="0" u="none" strike="noStrike">
                          <a:solidFill>
                            <a:schemeClr val="tx1">
                              <a:lumMod val="75000"/>
                              <a:lumOff val="25000"/>
                            </a:schemeClr>
                          </a:solidFill>
                          <a:effectLst/>
                          <a:latin typeface="EYInterstate" panose="02000503020000020004" pitchFamily="2" charset="0"/>
                        </a:rPr>
                        <a:t>2</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1100" kern="1200" dirty="0">
                          <a:solidFill>
                            <a:schemeClr val="tx1"/>
                          </a:solidFill>
                          <a:latin typeface="EYInterstate" panose="02000503020000020004" pitchFamily="2" charset="0"/>
                          <a:ea typeface="+mn-ea"/>
                          <a:cs typeface="+mn-cs"/>
                        </a:rPr>
                        <a:t>EY will have timely access to AIAT stakeholders and materials required for workshops, interviews and all relevant meetings</a:t>
                      </a:r>
                      <a:endParaRPr lang="en-AU" sz="1100" dirty="0">
                        <a:solidFill>
                          <a:schemeClr val="tx1"/>
                        </a:solidFill>
                        <a:latin typeface="EYInterstate" panose="02000503020000020004" pitchFamily="2" charset="0"/>
                      </a:endParaRP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3841026677"/>
                  </a:ext>
                </a:extLst>
              </a:tr>
              <a:tr h="212711">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3</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dirty="0">
                          <a:ln>
                            <a:noFill/>
                          </a:ln>
                          <a:solidFill>
                            <a:schemeClr val="tx1"/>
                          </a:solidFill>
                          <a:effectLst/>
                          <a:uLnTx/>
                          <a:uFillTx/>
                          <a:latin typeface="EYInterstate" panose="02000503020000020004" pitchFamily="2" charset="0"/>
                          <a:ea typeface="+mn-ea"/>
                          <a:cs typeface="+mn-cs"/>
                        </a:rPr>
                        <a:t>AIAT will provide IT support for the technical support of account access right, on-premise systems access and existing systems support.</a:t>
                      </a:r>
                      <a:endParaRPr lang="en-AU" sz="1100" kern="1200" dirty="0">
                        <a:solidFill>
                          <a:schemeClr val="tx1"/>
                        </a:solidFill>
                        <a:latin typeface="EYInterstate" panose="02000503020000020004" pitchFamily="2" charset="0"/>
                        <a:ea typeface="+mn-ea"/>
                        <a:cs typeface="+mn-cs"/>
                      </a:endParaRP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258185870"/>
                  </a:ext>
                </a:extLst>
              </a:tr>
              <a:tr h="413992">
                <a:tc>
                  <a:txBody>
                    <a:bodyPr/>
                    <a:lstStyle/>
                    <a:p>
                      <a:pPr algn="ctr" fontAlgn="b">
                        <a:lnSpc>
                          <a:spcPct val="100000"/>
                        </a:lnSpc>
                      </a:pPr>
                      <a:r>
                        <a:rPr lang="en-US" sz="1100" b="0" i="0" u="none" strike="noStrike" dirty="0">
                          <a:solidFill>
                            <a:schemeClr val="tx1">
                              <a:lumMod val="75000"/>
                              <a:lumOff val="25000"/>
                            </a:schemeClr>
                          </a:solidFill>
                          <a:effectLst/>
                          <a:latin typeface="EYInterstate" panose="02000503020000020004" pitchFamily="2" charset="0"/>
                        </a:rPr>
                        <a:t>4</a:t>
                      </a:r>
                    </a:p>
                  </a:txBody>
                  <a:tcPr marL="2697" marR="2697" marT="2697"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kern="1200" dirty="0">
                          <a:solidFill>
                            <a:schemeClr val="tx1"/>
                          </a:solidFill>
                          <a:latin typeface="EYInterstate" panose="02000503020000020004" pitchFamily="2" charset="0"/>
                          <a:ea typeface="+mn-ea"/>
                          <a:cs typeface="+mn-cs"/>
                        </a:rPr>
                        <a:t>AIAT will provide subject matter experts (SME) with knowledge on data sources and business logics in relate to the source systems for Hyperion, SAP, </a:t>
                      </a:r>
                      <a:r>
                        <a:rPr lang="en-HK" sz="1100" kern="1200" dirty="0">
                          <a:solidFill>
                            <a:schemeClr val="tx1"/>
                          </a:solidFill>
                          <a:latin typeface="EYInterstate" panose="02000503020000020004" pitchFamily="2" charset="0"/>
                          <a:ea typeface="+mn-ea"/>
                          <a:cs typeface="+mn-cs"/>
                        </a:rPr>
                        <a:t>OTR+ and  DMS </a:t>
                      </a:r>
                    </a:p>
                  </a:txBody>
                  <a:tcPr marL="9520" marR="9520" marT="95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3233318335"/>
                  </a:ext>
                </a:extLst>
              </a:tr>
            </a:tbl>
          </a:graphicData>
        </a:graphic>
      </p:graphicFrame>
    </p:spTree>
    <p:extLst>
      <p:ext uri="{BB962C8B-B14F-4D97-AF65-F5344CB8AC3E}">
        <p14:creationId xmlns:p14="http://schemas.microsoft.com/office/powerpoint/2010/main" val="284936114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ChangeArrowheads="1"/>
          </p:cNvSpPr>
          <p:nvPr/>
        </p:nvSpPr>
        <p:spPr bwMode="auto">
          <a:xfrm>
            <a:off x="467726" y="336203"/>
            <a:ext cx="4417532" cy="3541419"/>
          </a:xfrm>
          <a:prstGeom prst="rect">
            <a:avLst/>
          </a:prstGeom>
          <a:noFill/>
          <a:ln w="12700">
            <a:noFill/>
            <a:miter lim="800000"/>
            <a:headEnd/>
            <a:tailEnd/>
          </a:ln>
        </p:spPr>
        <p:txBody>
          <a:bodyPr wrap="square" lIns="0" tIns="0" rIns="0" bIns="0">
            <a:spAutoFit/>
          </a:bodyPr>
          <a:lstStyle/>
          <a:p>
            <a:pPr defTabSz="850337" eaLnBrk="1" hangingPunct="1">
              <a:spcBef>
                <a:spcPts val="1051"/>
              </a:spcBef>
              <a:defRPr/>
            </a:pPr>
            <a:r>
              <a:rPr lang="en-US" sz="1199" b="1" kern="100" spc="-9">
                <a:solidFill>
                  <a:srgbClr val="FFFFFF"/>
                </a:solidFill>
                <a:latin typeface="EYInterstate" panose="02000503020000020004" pitchFamily="2" charset="0"/>
                <a:ea typeface="+mn-ea"/>
                <a:cs typeface="+mn-cs"/>
              </a:rPr>
              <a:t>EY</a:t>
            </a:r>
            <a:r>
              <a:rPr lang="en-US" sz="1000" b="1" kern="100" spc="-9">
                <a:solidFill>
                  <a:srgbClr val="FFFFFF"/>
                </a:solidFill>
                <a:latin typeface="EYInterstate" panose="02000503020000020004" pitchFamily="2" charset="0"/>
                <a:ea typeface="+mn-ea"/>
                <a:cs typeface="+mn-cs"/>
              </a:rPr>
              <a:t> </a:t>
            </a:r>
            <a:r>
              <a:rPr lang="en-US" sz="1000" kern="100" spc="-9">
                <a:solidFill>
                  <a:srgbClr val="FFFFFF"/>
                </a:solidFill>
                <a:latin typeface="EYInterstate" panose="02000503020000020004" pitchFamily="2" charset="0"/>
                <a:ea typeface="+mn-ea"/>
                <a:cs typeface="+mn-cs"/>
              </a:rPr>
              <a:t>|</a:t>
            </a:r>
            <a:r>
              <a:rPr lang="en-US" sz="1000" b="1" kern="100" spc="-9">
                <a:solidFill>
                  <a:srgbClr val="FFFFFF"/>
                </a:solidFill>
                <a:latin typeface="EYInterstate" panose="02000503020000020004" pitchFamily="2" charset="0"/>
                <a:ea typeface="+mn-ea"/>
                <a:cs typeface="+mn-cs"/>
              </a:rPr>
              <a:t> </a:t>
            </a:r>
            <a:r>
              <a:rPr lang="en-US" sz="1199" kern="100" spc="-9">
                <a:solidFill>
                  <a:srgbClr val="FFFFFF"/>
                </a:solidFill>
                <a:latin typeface="EYInterstate" panose="02000503020000020004" pitchFamily="2" charset="0"/>
                <a:ea typeface="+mn-ea"/>
                <a:cs typeface="+mn-cs"/>
              </a:rPr>
              <a:t>Assurance | Tax | Transactions | Advisory</a:t>
            </a:r>
          </a:p>
          <a:p>
            <a:pPr defTabSz="850337" eaLnBrk="1" hangingPunct="1">
              <a:defRPr/>
            </a:pPr>
            <a:endParaRPr lang="en-US" sz="900" b="1" kern="100" spc="-9">
              <a:solidFill>
                <a:srgbClr val="FFFFFF"/>
              </a:solidFill>
              <a:latin typeface="EYInterstate" panose="02000503020000020004" pitchFamily="2" charset="0"/>
              <a:ea typeface="+mn-ea"/>
              <a:cs typeface="+mn-cs"/>
            </a:endParaRPr>
          </a:p>
          <a:p>
            <a:pPr defTabSz="850337" eaLnBrk="1" hangingPunct="1">
              <a:defRPr/>
            </a:pPr>
            <a:r>
              <a:rPr lang="en-US" sz="900" b="1" kern="100" spc="-9">
                <a:solidFill>
                  <a:srgbClr val="FFFFFF"/>
                </a:solidFill>
                <a:latin typeface="EYInterstate" panose="02000503020000020004" pitchFamily="2" charset="0"/>
                <a:ea typeface="+mn-ea"/>
                <a:cs typeface="+mn-cs"/>
              </a:rPr>
              <a:t>About EY</a:t>
            </a:r>
          </a:p>
          <a:p>
            <a:pPr defTabSz="850337" eaLnBrk="1" hangingPunct="1">
              <a:defRPr/>
            </a:pPr>
            <a:r>
              <a:rPr lang="en-US" sz="900" kern="100" spc="-9">
                <a:solidFill>
                  <a:srgbClr val="FFFFFF"/>
                </a:solidFill>
                <a:latin typeface="EYInterstate" panose="02000503020000020004" pitchFamily="2" charset="0"/>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defTabSz="850337" eaLnBrk="1" hangingPunct="1">
              <a:spcBef>
                <a:spcPts val="788"/>
              </a:spcBef>
              <a:defRPr/>
            </a:pPr>
            <a:r>
              <a:rPr lang="en-US" sz="900" kern="100" spc="-9">
                <a:solidFill>
                  <a:srgbClr val="FFFFFF"/>
                </a:solidFill>
                <a:latin typeface="EYInterstate" panose="0200050302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defTabSz="850337" eaLnBrk="1" hangingPunct="1">
              <a:spcBef>
                <a:spcPts val="788"/>
              </a:spcBef>
              <a:defRPr/>
            </a:pPr>
            <a:endParaRPr lang="en-US" sz="900" kern="100" spc="-9">
              <a:solidFill>
                <a:srgbClr val="FFFFFF"/>
              </a:solidFill>
              <a:latin typeface="EYInterstate" panose="02000503020000020004" pitchFamily="2" charset="0"/>
              <a:ea typeface="+mn-ea"/>
              <a:cs typeface="+mn-cs"/>
            </a:endParaRPr>
          </a:p>
          <a:p>
            <a:pPr defTabSz="850337" eaLnBrk="1" hangingPunct="1">
              <a:defRPr/>
            </a:pPr>
            <a:br>
              <a:rPr lang="en-US" sz="1049" baseline="30000">
                <a:solidFill>
                  <a:srgbClr val="FFFFFF"/>
                </a:solidFill>
                <a:latin typeface="EYInterstate" panose="02000503020000020004" pitchFamily="2" charset="0"/>
                <a:ea typeface="+mn-ea"/>
                <a:cs typeface="+mn-cs"/>
              </a:rPr>
            </a:br>
            <a:r>
              <a:rPr lang="en-US" sz="900" kern="100" spc="-9">
                <a:solidFill>
                  <a:srgbClr val="FFFFFF"/>
                </a:solidFill>
                <a:latin typeface="EYInterstate" panose="02000503020000020004" pitchFamily="2" charset="0"/>
                <a:ea typeface="+mn-ea"/>
                <a:cs typeface="+mn-cs"/>
              </a:rPr>
              <a:t>Contact Details:</a:t>
            </a:r>
          </a:p>
          <a:p>
            <a:pPr defTabSz="850337" eaLnBrk="1" hangingPunct="1">
              <a:defRPr/>
            </a:pPr>
            <a:endParaRPr lang="en-US" sz="900" kern="100" spc="-9">
              <a:solidFill>
                <a:srgbClr val="FFFFFF"/>
              </a:solidFill>
              <a:latin typeface="EYInterstate" panose="02000503020000020004" pitchFamily="2" charset="0"/>
              <a:ea typeface="+mn-ea"/>
              <a:cs typeface="+mn-cs"/>
            </a:endParaRPr>
          </a:p>
          <a:p>
            <a:pPr defTabSz="846414" eaLnBrk="1" hangingPunct="1">
              <a:defRPr/>
            </a:pPr>
            <a:r>
              <a:rPr lang="en-US" sz="1049" b="1" kern="100" spc="-9">
                <a:solidFill>
                  <a:srgbClr val="FFFFFF"/>
                </a:solidFill>
                <a:latin typeface="EYInterstate" panose="02000503020000020004" pitchFamily="2" charset="0"/>
                <a:ea typeface="+mn-ea"/>
                <a:cs typeface="+mn-cs"/>
              </a:rPr>
              <a:t>Nitin Datta</a:t>
            </a:r>
          </a:p>
          <a:p>
            <a:pPr defTabSz="846414" eaLnBrk="1" hangingPunct="1">
              <a:defRPr/>
            </a:pPr>
            <a:r>
              <a:rPr lang="en-US" sz="1049" kern="100" spc="-9">
                <a:solidFill>
                  <a:srgbClr val="FFFFFF"/>
                </a:solidFill>
                <a:latin typeface="EYInterstate" panose="02000503020000020004" pitchFamily="2" charset="0"/>
                <a:ea typeface="+mn-ea"/>
                <a:cs typeface="+mn-cs"/>
              </a:rPr>
              <a:t>Partner</a:t>
            </a:r>
          </a:p>
          <a:p>
            <a:pPr defTabSz="846414" eaLnBrk="1" hangingPunct="1">
              <a:defRPr/>
            </a:pPr>
            <a:r>
              <a:rPr lang="en-US" sz="1049" kern="100" spc="-9">
                <a:solidFill>
                  <a:srgbClr val="FFFFFF"/>
                </a:solidFill>
                <a:latin typeface="EYInterstate" panose="02000503020000020004" pitchFamily="2" charset="0"/>
                <a:ea typeface="+mn-ea"/>
                <a:cs typeface="+mn-cs"/>
              </a:rPr>
              <a:t>E-mail: nitin-n.datta@sg.ey.com</a:t>
            </a:r>
            <a:endParaRPr lang="en-US" sz="1049" b="1" kern="100" spc="-9">
              <a:solidFill>
                <a:srgbClr val="FFFFFF"/>
              </a:solidFill>
              <a:latin typeface="EYInterstate" panose="02000503020000020004" pitchFamily="2" charset="0"/>
              <a:ea typeface="+mn-ea"/>
              <a:cs typeface="+mn-cs"/>
            </a:endParaRPr>
          </a:p>
          <a:p>
            <a:pPr defTabSz="850337" eaLnBrk="1" hangingPunct="1">
              <a:spcBef>
                <a:spcPts val="788"/>
              </a:spcBef>
              <a:defRPr/>
            </a:pPr>
            <a:r>
              <a:rPr lang="en-US" sz="900" kern="100" spc="-9">
                <a:solidFill>
                  <a:srgbClr val="FFFFFF"/>
                </a:solidFill>
                <a:latin typeface="EYInterstate" panose="02000503020000020004" pitchFamily="2" charset="0"/>
                <a:ea typeface="+mn-ea"/>
                <a:cs typeface="+mn-cs"/>
              </a:rPr>
              <a:t>© 2021 Ernst &amp; Young Advisory Pte. Ltd, Singapore</a:t>
            </a:r>
          </a:p>
          <a:p>
            <a:pPr defTabSz="850337" eaLnBrk="1" hangingPunct="1">
              <a:spcBef>
                <a:spcPts val="788"/>
              </a:spcBef>
              <a:defRPr/>
            </a:pPr>
            <a:r>
              <a:rPr lang="en-US" sz="900" kern="100" spc="-9">
                <a:solidFill>
                  <a:srgbClr val="FFFFFF"/>
                </a:solidFill>
                <a:latin typeface="EYInterstate" panose="02000503020000020004" pitchFamily="2" charset="0"/>
                <a:ea typeface="+mn-ea"/>
                <a:cs typeface="+mn-cs"/>
              </a:rPr>
              <a:t>All Rights Reserved.</a:t>
            </a:r>
          </a:p>
        </p:txBody>
      </p:sp>
      <p:grpSp>
        <p:nvGrpSpPr>
          <p:cNvPr id="5" name="Group 4">
            <a:extLst>
              <a:ext uri="{FF2B5EF4-FFF2-40B4-BE49-F238E27FC236}">
                <a16:creationId xmlns:a16="http://schemas.microsoft.com/office/drawing/2014/main" id="{3429448E-5AD2-4605-A0D3-A3B2E20A265C}"/>
              </a:ext>
            </a:extLst>
          </p:cNvPr>
          <p:cNvGrpSpPr/>
          <p:nvPr/>
        </p:nvGrpSpPr>
        <p:grpSpPr>
          <a:xfrm>
            <a:off x="10896419" y="5380971"/>
            <a:ext cx="1023716" cy="1200840"/>
            <a:chOff x="17101804" y="1049411"/>
            <a:chExt cx="1082675" cy="1270001"/>
          </a:xfrm>
        </p:grpSpPr>
        <p:sp>
          <p:nvSpPr>
            <p:cNvPr id="6" name="Freeform 5">
              <a:extLst>
                <a:ext uri="{FF2B5EF4-FFF2-40B4-BE49-F238E27FC236}">
                  <a16:creationId xmlns:a16="http://schemas.microsoft.com/office/drawing/2014/main" id="{E2F91F65-F736-4DAE-A840-855CDF8B9695}"/>
                </a:ext>
              </a:extLst>
            </p:cNvPr>
            <p:cNvSpPr>
              <a:spLocks/>
            </p:cNvSpPr>
            <p:nvPr/>
          </p:nvSpPr>
          <p:spPr bwMode="auto">
            <a:xfrm>
              <a:off x="17101804" y="1049411"/>
              <a:ext cx="866775" cy="317500"/>
            </a:xfrm>
            <a:custGeom>
              <a:avLst/>
              <a:gdLst>
                <a:gd name="T0" fmla="*/ 2731 w 2731"/>
                <a:gd name="T1" fmla="*/ 0 h 998"/>
                <a:gd name="T2" fmla="*/ 0 w 2731"/>
                <a:gd name="T3" fmla="*/ 998 h 998"/>
                <a:gd name="T4" fmla="*/ 2731 w 2731"/>
                <a:gd name="T5" fmla="*/ 515 h 998"/>
                <a:gd name="T6" fmla="*/ 2731 w 2731"/>
                <a:gd name="T7" fmla="*/ 0 h 998"/>
                <a:gd name="T8" fmla="*/ 2731 w 2731"/>
                <a:gd name="T9" fmla="*/ 0 h 998"/>
              </a:gdLst>
              <a:ahLst/>
              <a:cxnLst>
                <a:cxn ang="0">
                  <a:pos x="T0" y="T1"/>
                </a:cxn>
                <a:cxn ang="0">
                  <a:pos x="T2" y="T3"/>
                </a:cxn>
                <a:cxn ang="0">
                  <a:pos x="T4" y="T5"/>
                </a:cxn>
                <a:cxn ang="0">
                  <a:pos x="T6" y="T7"/>
                </a:cxn>
                <a:cxn ang="0">
                  <a:pos x="T8" y="T9"/>
                </a:cxn>
              </a:cxnLst>
              <a:rect l="0" t="0" r="r" b="b"/>
              <a:pathLst>
                <a:path w="2731" h="998">
                  <a:moveTo>
                    <a:pt x="2731" y="0"/>
                  </a:moveTo>
                  <a:lnTo>
                    <a:pt x="0" y="998"/>
                  </a:lnTo>
                  <a:lnTo>
                    <a:pt x="2731" y="515"/>
                  </a:lnTo>
                  <a:lnTo>
                    <a:pt x="2731" y="0"/>
                  </a:lnTo>
                  <a:lnTo>
                    <a:pt x="2731" y="0"/>
                  </a:lnTo>
                  <a:close/>
                </a:path>
              </a:pathLst>
            </a:custGeom>
            <a:solidFill>
              <a:schemeClr val="tx2"/>
            </a:solidFill>
            <a:ln>
              <a:noFill/>
            </a:ln>
          </p:spPr>
          <p:txBody>
            <a:bodyPr vert="horz" wrap="square" lIns="86461" tIns="43230" rIns="86461" bIns="43230" numCol="1" anchor="t" anchorCtr="0" compatLnSpc="1">
              <a:prstTxWarp prst="textNoShape">
                <a:avLst/>
              </a:prstTxWarp>
            </a:bodyPr>
            <a:lstStyle/>
            <a:p>
              <a:pPr defTabSz="993626" eaLnBrk="1" fontAlgn="auto" hangingPunct="1">
                <a:spcBef>
                  <a:spcPts val="0"/>
                </a:spcBef>
                <a:spcAft>
                  <a:spcPts val="0"/>
                </a:spcAft>
                <a:defRPr/>
              </a:pPr>
              <a:endParaRPr lang="en-US" sz="1702">
                <a:solidFill>
                  <a:srgbClr val="FFFFFF"/>
                </a:solidFill>
                <a:latin typeface="Arial"/>
                <a:ea typeface="+mn-ea"/>
                <a:cs typeface="+mn-cs"/>
              </a:endParaRPr>
            </a:p>
          </p:txBody>
        </p:sp>
        <p:sp>
          <p:nvSpPr>
            <p:cNvPr id="7" name="Freeform 6">
              <a:extLst>
                <a:ext uri="{FF2B5EF4-FFF2-40B4-BE49-F238E27FC236}">
                  <a16:creationId xmlns:a16="http://schemas.microsoft.com/office/drawing/2014/main" id="{55BA4AF6-6B2E-4285-95C6-20320E14A801}"/>
                </a:ext>
              </a:extLst>
            </p:cNvPr>
            <p:cNvSpPr>
              <a:spLocks noEditPoints="1"/>
            </p:cNvSpPr>
            <p:nvPr/>
          </p:nvSpPr>
          <p:spPr bwMode="auto">
            <a:xfrm>
              <a:off x="17101804" y="1498674"/>
              <a:ext cx="1082675" cy="820738"/>
            </a:xfrm>
            <a:custGeom>
              <a:avLst/>
              <a:gdLst>
                <a:gd name="T0" fmla="*/ 251 w 3410"/>
                <a:gd name="T1" fmla="*/ 1750 h 2587"/>
                <a:gd name="T2" fmla="*/ 283 w 3410"/>
                <a:gd name="T3" fmla="*/ 1962 h 2587"/>
                <a:gd name="T4" fmla="*/ 166 w 3410"/>
                <a:gd name="T5" fmla="*/ 1850 h 2587"/>
                <a:gd name="T6" fmla="*/ 388 w 3410"/>
                <a:gd name="T7" fmla="*/ 1948 h 2587"/>
                <a:gd name="T8" fmla="*/ 445 w 3410"/>
                <a:gd name="T9" fmla="*/ 2060 h 2587"/>
                <a:gd name="T10" fmla="*/ 1272 w 3410"/>
                <a:gd name="T11" fmla="*/ 1817 h 2587"/>
                <a:gd name="T12" fmla="*/ 1341 w 3410"/>
                <a:gd name="T13" fmla="*/ 1895 h 2587"/>
                <a:gd name="T14" fmla="*/ 769 w 3410"/>
                <a:gd name="T15" fmla="*/ 2057 h 2587"/>
                <a:gd name="T16" fmla="*/ 812 w 3410"/>
                <a:gd name="T17" fmla="*/ 1918 h 2587"/>
                <a:gd name="T18" fmla="*/ 962 w 3410"/>
                <a:gd name="T19" fmla="*/ 2057 h 2587"/>
                <a:gd name="T20" fmla="*/ 941 w 3410"/>
                <a:gd name="T21" fmla="*/ 1867 h 2587"/>
                <a:gd name="T22" fmla="*/ 2236 w 3410"/>
                <a:gd name="T23" fmla="*/ 2045 h 2587"/>
                <a:gd name="T24" fmla="*/ 2378 w 3410"/>
                <a:gd name="T25" fmla="*/ 1891 h 2587"/>
                <a:gd name="T26" fmla="*/ 2317 w 3410"/>
                <a:gd name="T27" fmla="*/ 1965 h 2587"/>
                <a:gd name="T28" fmla="*/ 1590 w 3410"/>
                <a:gd name="T29" fmla="*/ 1824 h 2587"/>
                <a:gd name="T30" fmla="*/ 1449 w 3410"/>
                <a:gd name="T31" fmla="*/ 1974 h 2587"/>
                <a:gd name="T32" fmla="*/ 1589 w 3410"/>
                <a:gd name="T33" fmla="*/ 2082 h 2587"/>
                <a:gd name="T34" fmla="*/ 1656 w 3410"/>
                <a:gd name="T35" fmla="*/ 2050 h 2587"/>
                <a:gd name="T36" fmla="*/ 1522 w 3410"/>
                <a:gd name="T37" fmla="*/ 1876 h 2587"/>
                <a:gd name="T38" fmla="*/ 1951 w 3410"/>
                <a:gd name="T39" fmla="*/ 1882 h 2587"/>
                <a:gd name="T40" fmla="*/ 1820 w 3410"/>
                <a:gd name="T41" fmla="*/ 2032 h 2587"/>
                <a:gd name="T42" fmla="*/ 1979 w 3410"/>
                <a:gd name="T43" fmla="*/ 1824 h 2587"/>
                <a:gd name="T44" fmla="*/ 1904 w 3410"/>
                <a:gd name="T45" fmla="*/ 1941 h 2587"/>
                <a:gd name="T46" fmla="*/ 2576 w 3410"/>
                <a:gd name="T47" fmla="*/ 1987 h 2587"/>
                <a:gd name="T48" fmla="*/ 2609 w 3410"/>
                <a:gd name="T49" fmla="*/ 1860 h 2587"/>
                <a:gd name="T50" fmla="*/ 2412 w 3410"/>
                <a:gd name="T51" fmla="*/ 1935 h 2587"/>
                <a:gd name="T52" fmla="*/ 2475 w 3410"/>
                <a:gd name="T53" fmla="*/ 1909 h 2587"/>
                <a:gd name="T54" fmla="*/ 3114 w 3410"/>
                <a:gd name="T55" fmla="*/ 2007 h 2587"/>
                <a:gd name="T56" fmla="*/ 3150 w 3410"/>
                <a:gd name="T57" fmla="*/ 1816 h 2587"/>
                <a:gd name="T58" fmla="*/ 3016 w 3410"/>
                <a:gd name="T59" fmla="*/ 2010 h 2587"/>
                <a:gd name="T60" fmla="*/ 3081 w 3410"/>
                <a:gd name="T61" fmla="*/ 1866 h 2587"/>
                <a:gd name="T62" fmla="*/ 2969 w 3410"/>
                <a:gd name="T63" fmla="*/ 1999 h 2587"/>
                <a:gd name="T64" fmla="*/ 2969 w 3410"/>
                <a:gd name="T65" fmla="*/ 1812 h 2587"/>
                <a:gd name="T66" fmla="*/ 2680 w 3410"/>
                <a:gd name="T67" fmla="*/ 1749 h 2587"/>
                <a:gd name="T68" fmla="*/ 3354 w 3410"/>
                <a:gd name="T69" fmla="*/ 1867 h 2587"/>
                <a:gd name="T70" fmla="*/ 3410 w 3410"/>
                <a:gd name="T71" fmla="*/ 1821 h 2587"/>
                <a:gd name="T72" fmla="*/ 2786 w 3410"/>
                <a:gd name="T73" fmla="*/ 2245 h 2587"/>
                <a:gd name="T74" fmla="*/ 2668 w 3410"/>
                <a:gd name="T75" fmla="*/ 2439 h 2587"/>
                <a:gd name="T76" fmla="*/ 2753 w 3410"/>
                <a:gd name="T77" fmla="*/ 2436 h 2587"/>
                <a:gd name="T78" fmla="*/ 2788 w 3410"/>
                <a:gd name="T79" fmla="*/ 2428 h 2587"/>
                <a:gd name="T80" fmla="*/ 664 w 3410"/>
                <a:gd name="T81" fmla="*/ 2256 h 2587"/>
                <a:gd name="T82" fmla="*/ 0 w 3410"/>
                <a:gd name="T83" fmla="*/ 2242 h 2587"/>
                <a:gd name="T84" fmla="*/ 377 w 3410"/>
                <a:gd name="T85" fmla="*/ 2264 h 2587"/>
                <a:gd name="T86" fmla="*/ 461 w 3410"/>
                <a:gd name="T87" fmla="*/ 2492 h 2587"/>
                <a:gd name="T88" fmla="*/ 494 w 3410"/>
                <a:gd name="T89" fmla="*/ 2245 h 2587"/>
                <a:gd name="T90" fmla="*/ 469 w 3410"/>
                <a:gd name="T91" fmla="*/ 2298 h 2587"/>
                <a:gd name="T92" fmla="*/ 2433 w 3410"/>
                <a:gd name="T93" fmla="*/ 2311 h 2587"/>
                <a:gd name="T94" fmla="*/ 2018 w 3410"/>
                <a:gd name="T95" fmla="*/ 2487 h 2587"/>
                <a:gd name="T96" fmla="*/ 2006 w 3410"/>
                <a:gd name="T97" fmla="*/ 2332 h 2587"/>
                <a:gd name="T98" fmla="*/ 2124 w 3410"/>
                <a:gd name="T99" fmla="*/ 2448 h 2587"/>
                <a:gd name="T100" fmla="*/ 2323 w 3410"/>
                <a:gd name="T101" fmla="*/ 2350 h 2587"/>
                <a:gd name="T102" fmla="*/ 2162 w 3410"/>
                <a:gd name="T103" fmla="*/ 2365 h 2587"/>
                <a:gd name="T104" fmla="*/ 2211 w 3410"/>
                <a:gd name="T105" fmla="*/ 2436 h 2587"/>
                <a:gd name="T106" fmla="*/ 1255 w 3410"/>
                <a:gd name="T107" fmla="*/ 2238 h 2587"/>
                <a:gd name="T108" fmla="*/ 1286 w 3410"/>
                <a:gd name="T109" fmla="*/ 2300 h 2587"/>
                <a:gd name="T110" fmla="*/ 1470 w 3410"/>
                <a:gd name="T111" fmla="*/ 2240 h 2587"/>
                <a:gd name="T112" fmla="*/ 1478 w 3410"/>
                <a:gd name="T113" fmla="*/ 2491 h 2587"/>
                <a:gd name="T114" fmla="*/ 1495 w 3410"/>
                <a:gd name="T115" fmla="*/ 2587 h 2587"/>
                <a:gd name="T116" fmla="*/ 1532 w 3410"/>
                <a:gd name="T117" fmla="*/ 2432 h 2587"/>
                <a:gd name="T118" fmla="*/ 1548 w 3410"/>
                <a:gd name="T119" fmla="*/ 2308 h 2587"/>
                <a:gd name="T120" fmla="*/ 439 w 3410"/>
                <a:gd name="T121" fmla="*/ 547 h 2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10" h="2587">
                  <a:moveTo>
                    <a:pt x="284" y="1950"/>
                  </a:moveTo>
                  <a:lnTo>
                    <a:pt x="284" y="1950"/>
                  </a:lnTo>
                  <a:lnTo>
                    <a:pt x="284" y="1941"/>
                  </a:lnTo>
                  <a:lnTo>
                    <a:pt x="283" y="1934"/>
                  </a:lnTo>
                  <a:lnTo>
                    <a:pt x="279" y="1920"/>
                  </a:lnTo>
                  <a:lnTo>
                    <a:pt x="273" y="1907"/>
                  </a:lnTo>
                  <a:lnTo>
                    <a:pt x="266" y="1898"/>
                  </a:lnTo>
                  <a:lnTo>
                    <a:pt x="257" y="1890"/>
                  </a:lnTo>
                  <a:lnTo>
                    <a:pt x="249" y="1884"/>
                  </a:lnTo>
                  <a:lnTo>
                    <a:pt x="241" y="1879"/>
                  </a:lnTo>
                  <a:lnTo>
                    <a:pt x="234" y="1876"/>
                  </a:lnTo>
                  <a:lnTo>
                    <a:pt x="234" y="1876"/>
                  </a:lnTo>
                  <a:lnTo>
                    <a:pt x="243" y="1869"/>
                  </a:lnTo>
                  <a:lnTo>
                    <a:pt x="250" y="1863"/>
                  </a:lnTo>
                  <a:lnTo>
                    <a:pt x="256" y="1856"/>
                  </a:lnTo>
                  <a:lnTo>
                    <a:pt x="262" y="1848"/>
                  </a:lnTo>
                  <a:lnTo>
                    <a:pt x="267" y="1839"/>
                  </a:lnTo>
                  <a:lnTo>
                    <a:pt x="269" y="1829"/>
                  </a:lnTo>
                  <a:lnTo>
                    <a:pt x="272" y="1819"/>
                  </a:lnTo>
                  <a:lnTo>
                    <a:pt x="272" y="1808"/>
                  </a:lnTo>
                  <a:lnTo>
                    <a:pt x="272" y="1808"/>
                  </a:lnTo>
                  <a:lnTo>
                    <a:pt x="272" y="1799"/>
                  </a:lnTo>
                  <a:lnTo>
                    <a:pt x="271" y="1789"/>
                  </a:lnTo>
                  <a:lnTo>
                    <a:pt x="268" y="1780"/>
                  </a:lnTo>
                  <a:lnTo>
                    <a:pt x="266" y="1772"/>
                  </a:lnTo>
                  <a:lnTo>
                    <a:pt x="262" y="1763"/>
                  </a:lnTo>
                  <a:lnTo>
                    <a:pt x="257" y="1756"/>
                  </a:lnTo>
                  <a:lnTo>
                    <a:pt x="251" y="1750"/>
                  </a:lnTo>
                  <a:lnTo>
                    <a:pt x="245" y="1744"/>
                  </a:lnTo>
                  <a:lnTo>
                    <a:pt x="238" y="1739"/>
                  </a:lnTo>
                  <a:lnTo>
                    <a:pt x="230" y="1734"/>
                  </a:lnTo>
                  <a:lnTo>
                    <a:pt x="222" y="1730"/>
                  </a:lnTo>
                  <a:lnTo>
                    <a:pt x="212" y="1727"/>
                  </a:lnTo>
                  <a:lnTo>
                    <a:pt x="202" y="1724"/>
                  </a:lnTo>
                  <a:lnTo>
                    <a:pt x="191" y="1722"/>
                  </a:lnTo>
                  <a:lnTo>
                    <a:pt x="180" y="1722"/>
                  </a:lnTo>
                  <a:lnTo>
                    <a:pt x="168" y="1721"/>
                  </a:lnTo>
                  <a:lnTo>
                    <a:pt x="24" y="1721"/>
                  </a:lnTo>
                  <a:lnTo>
                    <a:pt x="24" y="2057"/>
                  </a:lnTo>
                  <a:lnTo>
                    <a:pt x="167" y="2057"/>
                  </a:lnTo>
                  <a:lnTo>
                    <a:pt x="167" y="2057"/>
                  </a:lnTo>
                  <a:lnTo>
                    <a:pt x="180" y="2057"/>
                  </a:lnTo>
                  <a:lnTo>
                    <a:pt x="193" y="2056"/>
                  </a:lnTo>
                  <a:lnTo>
                    <a:pt x="205" y="2054"/>
                  </a:lnTo>
                  <a:lnTo>
                    <a:pt x="216" y="2050"/>
                  </a:lnTo>
                  <a:lnTo>
                    <a:pt x="227" y="2046"/>
                  </a:lnTo>
                  <a:lnTo>
                    <a:pt x="236" y="2042"/>
                  </a:lnTo>
                  <a:lnTo>
                    <a:pt x="245" y="2035"/>
                  </a:lnTo>
                  <a:lnTo>
                    <a:pt x="252" y="2029"/>
                  </a:lnTo>
                  <a:lnTo>
                    <a:pt x="260" y="2022"/>
                  </a:lnTo>
                  <a:lnTo>
                    <a:pt x="266" y="2013"/>
                  </a:lnTo>
                  <a:lnTo>
                    <a:pt x="272" y="2005"/>
                  </a:lnTo>
                  <a:lnTo>
                    <a:pt x="275" y="1995"/>
                  </a:lnTo>
                  <a:lnTo>
                    <a:pt x="279" y="1985"/>
                  </a:lnTo>
                  <a:lnTo>
                    <a:pt x="282" y="1974"/>
                  </a:lnTo>
                  <a:lnTo>
                    <a:pt x="283" y="1962"/>
                  </a:lnTo>
                  <a:lnTo>
                    <a:pt x="284" y="1950"/>
                  </a:lnTo>
                  <a:lnTo>
                    <a:pt x="284" y="1950"/>
                  </a:lnTo>
                  <a:lnTo>
                    <a:pt x="284" y="1950"/>
                  </a:lnTo>
                  <a:close/>
                  <a:moveTo>
                    <a:pt x="167" y="2001"/>
                  </a:moveTo>
                  <a:lnTo>
                    <a:pt x="87" y="2001"/>
                  </a:lnTo>
                  <a:lnTo>
                    <a:pt x="87" y="1905"/>
                  </a:lnTo>
                  <a:lnTo>
                    <a:pt x="167" y="1905"/>
                  </a:lnTo>
                  <a:lnTo>
                    <a:pt x="167" y="1905"/>
                  </a:lnTo>
                  <a:lnTo>
                    <a:pt x="179" y="1906"/>
                  </a:lnTo>
                  <a:lnTo>
                    <a:pt x="189" y="1907"/>
                  </a:lnTo>
                  <a:lnTo>
                    <a:pt x="197" y="1911"/>
                  </a:lnTo>
                  <a:lnTo>
                    <a:pt x="205" y="1917"/>
                  </a:lnTo>
                  <a:lnTo>
                    <a:pt x="211" y="1923"/>
                  </a:lnTo>
                  <a:lnTo>
                    <a:pt x="214" y="1932"/>
                  </a:lnTo>
                  <a:lnTo>
                    <a:pt x="217" y="1941"/>
                  </a:lnTo>
                  <a:lnTo>
                    <a:pt x="218" y="1952"/>
                  </a:lnTo>
                  <a:lnTo>
                    <a:pt x="218" y="1952"/>
                  </a:lnTo>
                  <a:lnTo>
                    <a:pt x="217" y="1963"/>
                  </a:lnTo>
                  <a:lnTo>
                    <a:pt x="214" y="1973"/>
                  </a:lnTo>
                  <a:lnTo>
                    <a:pt x="210" y="1982"/>
                  </a:lnTo>
                  <a:lnTo>
                    <a:pt x="205" y="1988"/>
                  </a:lnTo>
                  <a:lnTo>
                    <a:pt x="197" y="1994"/>
                  </a:lnTo>
                  <a:lnTo>
                    <a:pt x="189" y="1998"/>
                  </a:lnTo>
                  <a:lnTo>
                    <a:pt x="178" y="2000"/>
                  </a:lnTo>
                  <a:lnTo>
                    <a:pt x="167" y="2001"/>
                  </a:lnTo>
                  <a:lnTo>
                    <a:pt x="167" y="2001"/>
                  </a:lnTo>
                  <a:lnTo>
                    <a:pt x="167" y="2001"/>
                  </a:lnTo>
                  <a:close/>
                  <a:moveTo>
                    <a:pt x="166" y="1850"/>
                  </a:moveTo>
                  <a:lnTo>
                    <a:pt x="87" y="1850"/>
                  </a:lnTo>
                  <a:lnTo>
                    <a:pt x="87" y="1778"/>
                  </a:lnTo>
                  <a:lnTo>
                    <a:pt x="163" y="1778"/>
                  </a:lnTo>
                  <a:lnTo>
                    <a:pt x="163" y="1778"/>
                  </a:lnTo>
                  <a:lnTo>
                    <a:pt x="173" y="1779"/>
                  </a:lnTo>
                  <a:lnTo>
                    <a:pt x="183" y="1780"/>
                  </a:lnTo>
                  <a:lnTo>
                    <a:pt x="190" y="1783"/>
                  </a:lnTo>
                  <a:lnTo>
                    <a:pt x="196" y="1787"/>
                  </a:lnTo>
                  <a:lnTo>
                    <a:pt x="201" y="1793"/>
                  </a:lnTo>
                  <a:lnTo>
                    <a:pt x="205" y="1799"/>
                  </a:lnTo>
                  <a:lnTo>
                    <a:pt x="206" y="1806"/>
                  </a:lnTo>
                  <a:lnTo>
                    <a:pt x="207" y="1815"/>
                  </a:lnTo>
                  <a:lnTo>
                    <a:pt x="207" y="1815"/>
                  </a:lnTo>
                  <a:lnTo>
                    <a:pt x="207" y="1821"/>
                  </a:lnTo>
                  <a:lnTo>
                    <a:pt x="206" y="1827"/>
                  </a:lnTo>
                  <a:lnTo>
                    <a:pt x="204" y="1833"/>
                  </a:lnTo>
                  <a:lnTo>
                    <a:pt x="200" y="1838"/>
                  </a:lnTo>
                  <a:lnTo>
                    <a:pt x="194" y="1843"/>
                  </a:lnTo>
                  <a:lnTo>
                    <a:pt x="186" y="1846"/>
                  </a:lnTo>
                  <a:lnTo>
                    <a:pt x="178" y="1849"/>
                  </a:lnTo>
                  <a:lnTo>
                    <a:pt x="166" y="1850"/>
                  </a:lnTo>
                  <a:lnTo>
                    <a:pt x="166" y="1850"/>
                  </a:lnTo>
                  <a:lnTo>
                    <a:pt x="166" y="1850"/>
                  </a:lnTo>
                  <a:close/>
                  <a:moveTo>
                    <a:pt x="327" y="1951"/>
                  </a:moveTo>
                  <a:lnTo>
                    <a:pt x="327" y="1812"/>
                  </a:lnTo>
                  <a:lnTo>
                    <a:pt x="388" y="1812"/>
                  </a:lnTo>
                  <a:lnTo>
                    <a:pt x="388" y="1948"/>
                  </a:lnTo>
                  <a:lnTo>
                    <a:pt x="388" y="1948"/>
                  </a:lnTo>
                  <a:lnTo>
                    <a:pt x="388" y="1961"/>
                  </a:lnTo>
                  <a:lnTo>
                    <a:pt x="390" y="1974"/>
                  </a:lnTo>
                  <a:lnTo>
                    <a:pt x="394" y="1984"/>
                  </a:lnTo>
                  <a:lnTo>
                    <a:pt x="399" y="1993"/>
                  </a:lnTo>
                  <a:lnTo>
                    <a:pt x="405" y="1999"/>
                  </a:lnTo>
                  <a:lnTo>
                    <a:pt x="412" y="2004"/>
                  </a:lnTo>
                  <a:lnTo>
                    <a:pt x="422" y="2006"/>
                  </a:lnTo>
                  <a:lnTo>
                    <a:pt x="433" y="2007"/>
                  </a:lnTo>
                  <a:lnTo>
                    <a:pt x="433" y="2007"/>
                  </a:lnTo>
                  <a:lnTo>
                    <a:pt x="444" y="2006"/>
                  </a:lnTo>
                  <a:lnTo>
                    <a:pt x="452" y="2004"/>
                  </a:lnTo>
                  <a:lnTo>
                    <a:pt x="461" y="1999"/>
                  </a:lnTo>
                  <a:lnTo>
                    <a:pt x="467" y="1993"/>
                  </a:lnTo>
                  <a:lnTo>
                    <a:pt x="472" y="1984"/>
                  </a:lnTo>
                  <a:lnTo>
                    <a:pt x="475" y="1973"/>
                  </a:lnTo>
                  <a:lnTo>
                    <a:pt x="478" y="1961"/>
                  </a:lnTo>
                  <a:lnTo>
                    <a:pt x="478" y="1948"/>
                  </a:lnTo>
                  <a:lnTo>
                    <a:pt x="478" y="1812"/>
                  </a:lnTo>
                  <a:lnTo>
                    <a:pt x="539" y="1812"/>
                  </a:lnTo>
                  <a:lnTo>
                    <a:pt x="539" y="2057"/>
                  </a:lnTo>
                  <a:lnTo>
                    <a:pt x="478" y="2057"/>
                  </a:lnTo>
                  <a:lnTo>
                    <a:pt x="478" y="2038"/>
                  </a:lnTo>
                  <a:lnTo>
                    <a:pt x="478" y="2038"/>
                  </a:lnTo>
                  <a:lnTo>
                    <a:pt x="473" y="2044"/>
                  </a:lnTo>
                  <a:lnTo>
                    <a:pt x="466" y="2049"/>
                  </a:lnTo>
                  <a:lnTo>
                    <a:pt x="459" y="2054"/>
                  </a:lnTo>
                  <a:lnTo>
                    <a:pt x="452" y="2056"/>
                  </a:lnTo>
                  <a:lnTo>
                    <a:pt x="445" y="2060"/>
                  </a:lnTo>
                  <a:lnTo>
                    <a:pt x="436" y="2061"/>
                  </a:lnTo>
                  <a:lnTo>
                    <a:pt x="428" y="2062"/>
                  </a:lnTo>
                  <a:lnTo>
                    <a:pt x="419" y="2064"/>
                  </a:lnTo>
                  <a:lnTo>
                    <a:pt x="419" y="2064"/>
                  </a:lnTo>
                  <a:lnTo>
                    <a:pt x="405" y="2062"/>
                  </a:lnTo>
                  <a:lnTo>
                    <a:pt x="392" y="2060"/>
                  </a:lnTo>
                  <a:lnTo>
                    <a:pt x="381" y="2056"/>
                  </a:lnTo>
                  <a:lnTo>
                    <a:pt x="370" y="2051"/>
                  </a:lnTo>
                  <a:lnTo>
                    <a:pt x="362" y="2045"/>
                  </a:lnTo>
                  <a:lnTo>
                    <a:pt x="355" y="2039"/>
                  </a:lnTo>
                  <a:lnTo>
                    <a:pt x="349" y="2031"/>
                  </a:lnTo>
                  <a:lnTo>
                    <a:pt x="342" y="2022"/>
                  </a:lnTo>
                  <a:lnTo>
                    <a:pt x="339" y="2013"/>
                  </a:lnTo>
                  <a:lnTo>
                    <a:pt x="335" y="2005"/>
                  </a:lnTo>
                  <a:lnTo>
                    <a:pt x="330" y="1985"/>
                  </a:lnTo>
                  <a:lnTo>
                    <a:pt x="328" y="1967"/>
                  </a:lnTo>
                  <a:lnTo>
                    <a:pt x="327" y="1951"/>
                  </a:lnTo>
                  <a:lnTo>
                    <a:pt x="327" y="1951"/>
                  </a:lnTo>
                  <a:lnTo>
                    <a:pt x="327" y="1951"/>
                  </a:lnTo>
                  <a:close/>
                  <a:moveTo>
                    <a:pt x="1253" y="2057"/>
                  </a:moveTo>
                  <a:lnTo>
                    <a:pt x="1192" y="2057"/>
                  </a:lnTo>
                  <a:lnTo>
                    <a:pt x="1192" y="1812"/>
                  </a:lnTo>
                  <a:lnTo>
                    <a:pt x="1253" y="1812"/>
                  </a:lnTo>
                  <a:lnTo>
                    <a:pt x="1253" y="1833"/>
                  </a:lnTo>
                  <a:lnTo>
                    <a:pt x="1253" y="1833"/>
                  </a:lnTo>
                  <a:lnTo>
                    <a:pt x="1259" y="1827"/>
                  </a:lnTo>
                  <a:lnTo>
                    <a:pt x="1265" y="1821"/>
                  </a:lnTo>
                  <a:lnTo>
                    <a:pt x="1272" y="1817"/>
                  </a:lnTo>
                  <a:lnTo>
                    <a:pt x="1280" y="1813"/>
                  </a:lnTo>
                  <a:lnTo>
                    <a:pt x="1288" y="1810"/>
                  </a:lnTo>
                  <a:lnTo>
                    <a:pt x="1296" y="1808"/>
                  </a:lnTo>
                  <a:lnTo>
                    <a:pt x="1305" y="1807"/>
                  </a:lnTo>
                  <a:lnTo>
                    <a:pt x="1314" y="1806"/>
                  </a:lnTo>
                  <a:lnTo>
                    <a:pt x="1314" y="1806"/>
                  </a:lnTo>
                  <a:lnTo>
                    <a:pt x="1325" y="1807"/>
                  </a:lnTo>
                  <a:lnTo>
                    <a:pt x="1335" y="1808"/>
                  </a:lnTo>
                  <a:lnTo>
                    <a:pt x="1344" y="1811"/>
                  </a:lnTo>
                  <a:lnTo>
                    <a:pt x="1353" y="1813"/>
                  </a:lnTo>
                  <a:lnTo>
                    <a:pt x="1361" y="1817"/>
                  </a:lnTo>
                  <a:lnTo>
                    <a:pt x="1369" y="1823"/>
                  </a:lnTo>
                  <a:lnTo>
                    <a:pt x="1375" y="1828"/>
                  </a:lnTo>
                  <a:lnTo>
                    <a:pt x="1381" y="1835"/>
                  </a:lnTo>
                  <a:lnTo>
                    <a:pt x="1387" y="1843"/>
                  </a:lnTo>
                  <a:lnTo>
                    <a:pt x="1391" y="1851"/>
                  </a:lnTo>
                  <a:lnTo>
                    <a:pt x="1395" y="1860"/>
                  </a:lnTo>
                  <a:lnTo>
                    <a:pt x="1398" y="1869"/>
                  </a:lnTo>
                  <a:lnTo>
                    <a:pt x="1400" y="1880"/>
                  </a:lnTo>
                  <a:lnTo>
                    <a:pt x="1403" y="1893"/>
                  </a:lnTo>
                  <a:lnTo>
                    <a:pt x="1404" y="1905"/>
                  </a:lnTo>
                  <a:lnTo>
                    <a:pt x="1404" y="1918"/>
                  </a:lnTo>
                  <a:lnTo>
                    <a:pt x="1404" y="2057"/>
                  </a:lnTo>
                  <a:lnTo>
                    <a:pt x="1343" y="2057"/>
                  </a:lnTo>
                  <a:lnTo>
                    <a:pt x="1343" y="1922"/>
                  </a:lnTo>
                  <a:lnTo>
                    <a:pt x="1343" y="1922"/>
                  </a:lnTo>
                  <a:lnTo>
                    <a:pt x="1343" y="1907"/>
                  </a:lnTo>
                  <a:lnTo>
                    <a:pt x="1341" y="1895"/>
                  </a:lnTo>
                  <a:lnTo>
                    <a:pt x="1337" y="1885"/>
                  </a:lnTo>
                  <a:lnTo>
                    <a:pt x="1332" y="1877"/>
                  </a:lnTo>
                  <a:lnTo>
                    <a:pt x="1326" y="1871"/>
                  </a:lnTo>
                  <a:lnTo>
                    <a:pt x="1319" y="1866"/>
                  </a:lnTo>
                  <a:lnTo>
                    <a:pt x="1310" y="1863"/>
                  </a:lnTo>
                  <a:lnTo>
                    <a:pt x="1299" y="1862"/>
                  </a:lnTo>
                  <a:lnTo>
                    <a:pt x="1299" y="1862"/>
                  </a:lnTo>
                  <a:lnTo>
                    <a:pt x="1288" y="1863"/>
                  </a:lnTo>
                  <a:lnTo>
                    <a:pt x="1278" y="1866"/>
                  </a:lnTo>
                  <a:lnTo>
                    <a:pt x="1271" y="1871"/>
                  </a:lnTo>
                  <a:lnTo>
                    <a:pt x="1265" y="1877"/>
                  </a:lnTo>
                  <a:lnTo>
                    <a:pt x="1259" y="1885"/>
                  </a:lnTo>
                  <a:lnTo>
                    <a:pt x="1255" y="1896"/>
                  </a:lnTo>
                  <a:lnTo>
                    <a:pt x="1253" y="1909"/>
                  </a:lnTo>
                  <a:lnTo>
                    <a:pt x="1253" y="1922"/>
                  </a:lnTo>
                  <a:lnTo>
                    <a:pt x="1253" y="2057"/>
                  </a:lnTo>
                  <a:lnTo>
                    <a:pt x="1253" y="2057"/>
                  </a:lnTo>
                  <a:close/>
                  <a:moveTo>
                    <a:pt x="654" y="1927"/>
                  </a:moveTo>
                  <a:lnTo>
                    <a:pt x="654" y="2057"/>
                  </a:lnTo>
                  <a:lnTo>
                    <a:pt x="594" y="2057"/>
                  </a:lnTo>
                  <a:lnTo>
                    <a:pt x="594" y="1812"/>
                  </a:lnTo>
                  <a:lnTo>
                    <a:pt x="654" y="1812"/>
                  </a:lnTo>
                  <a:lnTo>
                    <a:pt x="654" y="1927"/>
                  </a:lnTo>
                  <a:lnTo>
                    <a:pt x="654" y="1927"/>
                  </a:lnTo>
                  <a:close/>
                  <a:moveTo>
                    <a:pt x="708" y="1740"/>
                  </a:moveTo>
                  <a:lnTo>
                    <a:pt x="769" y="1710"/>
                  </a:lnTo>
                  <a:lnTo>
                    <a:pt x="769" y="1932"/>
                  </a:lnTo>
                  <a:lnTo>
                    <a:pt x="769" y="2057"/>
                  </a:lnTo>
                  <a:lnTo>
                    <a:pt x="708" y="2057"/>
                  </a:lnTo>
                  <a:lnTo>
                    <a:pt x="708" y="1740"/>
                  </a:lnTo>
                  <a:lnTo>
                    <a:pt x="708" y="1740"/>
                  </a:lnTo>
                  <a:close/>
                  <a:moveTo>
                    <a:pt x="962" y="1829"/>
                  </a:moveTo>
                  <a:lnTo>
                    <a:pt x="962" y="1829"/>
                  </a:lnTo>
                  <a:lnTo>
                    <a:pt x="957" y="1823"/>
                  </a:lnTo>
                  <a:lnTo>
                    <a:pt x="951" y="1819"/>
                  </a:lnTo>
                  <a:lnTo>
                    <a:pt x="943" y="1815"/>
                  </a:lnTo>
                  <a:lnTo>
                    <a:pt x="937" y="1812"/>
                  </a:lnTo>
                  <a:lnTo>
                    <a:pt x="930" y="1810"/>
                  </a:lnTo>
                  <a:lnTo>
                    <a:pt x="923" y="1807"/>
                  </a:lnTo>
                  <a:lnTo>
                    <a:pt x="908" y="1806"/>
                  </a:lnTo>
                  <a:lnTo>
                    <a:pt x="908" y="1806"/>
                  </a:lnTo>
                  <a:lnTo>
                    <a:pt x="897" y="1807"/>
                  </a:lnTo>
                  <a:lnTo>
                    <a:pt x="886" y="1808"/>
                  </a:lnTo>
                  <a:lnTo>
                    <a:pt x="876" y="1811"/>
                  </a:lnTo>
                  <a:lnTo>
                    <a:pt x="868" y="1815"/>
                  </a:lnTo>
                  <a:lnTo>
                    <a:pt x="859" y="1819"/>
                  </a:lnTo>
                  <a:lnTo>
                    <a:pt x="851" y="1826"/>
                  </a:lnTo>
                  <a:lnTo>
                    <a:pt x="843" y="1833"/>
                  </a:lnTo>
                  <a:lnTo>
                    <a:pt x="837" y="1840"/>
                  </a:lnTo>
                  <a:lnTo>
                    <a:pt x="831" y="1849"/>
                  </a:lnTo>
                  <a:lnTo>
                    <a:pt x="826" y="1859"/>
                  </a:lnTo>
                  <a:lnTo>
                    <a:pt x="821" y="1868"/>
                  </a:lnTo>
                  <a:lnTo>
                    <a:pt x="818" y="1879"/>
                  </a:lnTo>
                  <a:lnTo>
                    <a:pt x="815" y="1891"/>
                  </a:lnTo>
                  <a:lnTo>
                    <a:pt x="813" y="1905"/>
                  </a:lnTo>
                  <a:lnTo>
                    <a:pt x="812" y="1918"/>
                  </a:lnTo>
                  <a:lnTo>
                    <a:pt x="812" y="1932"/>
                  </a:lnTo>
                  <a:lnTo>
                    <a:pt x="812" y="1932"/>
                  </a:lnTo>
                  <a:lnTo>
                    <a:pt x="812" y="1948"/>
                  </a:lnTo>
                  <a:lnTo>
                    <a:pt x="813" y="1961"/>
                  </a:lnTo>
                  <a:lnTo>
                    <a:pt x="815" y="1974"/>
                  </a:lnTo>
                  <a:lnTo>
                    <a:pt x="818" y="1987"/>
                  </a:lnTo>
                  <a:lnTo>
                    <a:pt x="821" y="1999"/>
                  </a:lnTo>
                  <a:lnTo>
                    <a:pt x="825" y="2010"/>
                  </a:lnTo>
                  <a:lnTo>
                    <a:pt x="830" y="2020"/>
                  </a:lnTo>
                  <a:lnTo>
                    <a:pt x="836" y="2028"/>
                  </a:lnTo>
                  <a:lnTo>
                    <a:pt x="843" y="2037"/>
                  </a:lnTo>
                  <a:lnTo>
                    <a:pt x="849" y="2043"/>
                  </a:lnTo>
                  <a:lnTo>
                    <a:pt x="858" y="2049"/>
                  </a:lnTo>
                  <a:lnTo>
                    <a:pt x="867" y="2054"/>
                  </a:lnTo>
                  <a:lnTo>
                    <a:pt x="875" y="2057"/>
                  </a:lnTo>
                  <a:lnTo>
                    <a:pt x="885" y="2061"/>
                  </a:lnTo>
                  <a:lnTo>
                    <a:pt x="896" y="2062"/>
                  </a:lnTo>
                  <a:lnTo>
                    <a:pt x="907" y="2064"/>
                  </a:lnTo>
                  <a:lnTo>
                    <a:pt x="907" y="2064"/>
                  </a:lnTo>
                  <a:lnTo>
                    <a:pt x="914" y="2062"/>
                  </a:lnTo>
                  <a:lnTo>
                    <a:pt x="921" y="2061"/>
                  </a:lnTo>
                  <a:lnTo>
                    <a:pt x="929" y="2060"/>
                  </a:lnTo>
                  <a:lnTo>
                    <a:pt x="936" y="2057"/>
                  </a:lnTo>
                  <a:lnTo>
                    <a:pt x="942" y="2054"/>
                  </a:lnTo>
                  <a:lnTo>
                    <a:pt x="949" y="2050"/>
                  </a:lnTo>
                  <a:lnTo>
                    <a:pt x="955" y="2045"/>
                  </a:lnTo>
                  <a:lnTo>
                    <a:pt x="962" y="2039"/>
                  </a:lnTo>
                  <a:lnTo>
                    <a:pt x="962" y="2057"/>
                  </a:lnTo>
                  <a:lnTo>
                    <a:pt x="1023" y="2057"/>
                  </a:lnTo>
                  <a:lnTo>
                    <a:pt x="1023" y="1710"/>
                  </a:lnTo>
                  <a:lnTo>
                    <a:pt x="962" y="1740"/>
                  </a:lnTo>
                  <a:lnTo>
                    <a:pt x="962" y="1829"/>
                  </a:lnTo>
                  <a:lnTo>
                    <a:pt x="962" y="1829"/>
                  </a:lnTo>
                  <a:close/>
                  <a:moveTo>
                    <a:pt x="919" y="2007"/>
                  </a:moveTo>
                  <a:lnTo>
                    <a:pt x="919" y="2007"/>
                  </a:lnTo>
                  <a:lnTo>
                    <a:pt x="912" y="2006"/>
                  </a:lnTo>
                  <a:lnTo>
                    <a:pt x="903" y="2004"/>
                  </a:lnTo>
                  <a:lnTo>
                    <a:pt x="896" y="2000"/>
                  </a:lnTo>
                  <a:lnTo>
                    <a:pt x="888" y="1993"/>
                  </a:lnTo>
                  <a:lnTo>
                    <a:pt x="882" y="1983"/>
                  </a:lnTo>
                  <a:lnTo>
                    <a:pt x="877" y="1970"/>
                  </a:lnTo>
                  <a:lnTo>
                    <a:pt x="874" y="1952"/>
                  </a:lnTo>
                  <a:lnTo>
                    <a:pt x="873" y="1931"/>
                  </a:lnTo>
                  <a:lnTo>
                    <a:pt x="873" y="1931"/>
                  </a:lnTo>
                  <a:lnTo>
                    <a:pt x="874" y="1911"/>
                  </a:lnTo>
                  <a:lnTo>
                    <a:pt x="877" y="1896"/>
                  </a:lnTo>
                  <a:lnTo>
                    <a:pt x="882" y="1884"/>
                  </a:lnTo>
                  <a:lnTo>
                    <a:pt x="888" y="1876"/>
                  </a:lnTo>
                  <a:lnTo>
                    <a:pt x="895" y="1868"/>
                  </a:lnTo>
                  <a:lnTo>
                    <a:pt x="903" y="1865"/>
                  </a:lnTo>
                  <a:lnTo>
                    <a:pt x="910" y="1862"/>
                  </a:lnTo>
                  <a:lnTo>
                    <a:pt x="919" y="1862"/>
                  </a:lnTo>
                  <a:lnTo>
                    <a:pt x="919" y="1862"/>
                  </a:lnTo>
                  <a:lnTo>
                    <a:pt x="926" y="1862"/>
                  </a:lnTo>
                  <a:lnTo>
                    <a:pt x="934" y="1865"/>
                  </a:lnTo>
                  <a:lnTo>
                    <a:pt x="941" y="1867"/>
                  </a:lnTo>
                  <a:lnTo>
                    <a:pt x="946" y="1871"/>
                  </a:lnTo>
                  <a:lnTo>
                    <a:pt x="951" y="1874"/>
                  </a:lnTo>
                  <a:lnTo>
                    <a:pt x="955" y="1878"/>
                  </a:lnTo>
                  <a:lnTo>
                    <a:pt x="962" y="1887"/>
                  </a:lnTo>
                  <a:lnTo>
                    <a:pt x="962" y="1983"/>
                  </a:lnTo>
                  <a:lnTo>
                    <a:pt x="962" y="1983"/>
                  </a:lnTo>
                  <a:lnTo>
                    <a:pt x="954" y="1992"/>
                  </a:lnTo>
                  <a:lnTo>
                    <a:pt x="946" y="1999"/>
                  </a:lnTo>
                  <a:lnTo>
                    <a:pt x="941" y="2002"/>
                  </a:lnTo>
                  <a:lnTo>
                    <a:pt x="934" y="2005"/>
                  </a:lnTo>
                  <a:lnTo>
                    <a:pt x="927" y="2006"/>
                  </a:lnTo>
                  <a:lnTo>
                    <a:pt x="919" y="2007"/>
                  </a:lnTo>
                  <a:lnTo>
                    <a:pt x="919" y="2007"/>
                  </a:lnTo>
                  <a:lnTo>
                    <a:pt x="919" y="2007"/>
                  </a:lnTo>
                  <a:close/>
                  <a:moveTo>
                    <a:pt x="2285" y="1806"/>
                  </a:moveTo>
                  <a:lnTo>
                    <a:pt x="2285" y="1806"/>
                  </a:lnTo>
                  <a:lnTo>
                    <a:pt x="2279" y="1807"/>
                  </a:lnTo>
                  <a:lnTo>
                    <a:pt x="2272" y="1808"/>
                  </a:lnTo>
                  <a:lnTo>
                    <a:pt x="2257" y="1812"/>
                  </a:lnTo>
                  <a:lnTo>
                    <a:pt x="2244" y="1819"/>
                  </a:lnTo>
                  <a:lnTo>
                    <a:pt x="2231" y="1829"/>
                  </a:lnTo>
                  <a:lnTo>
                    <a:pt x="2231" y="1716"/>
                  </a:lnTo>
                  <a:lnTo>
                    <a:pt x="2171" y="1746"/>
                  </a:lnTo>
                  <a:lnTo>
                    <a:pt x="2171" y="2057"/>
                  </a:lnTo>
                  <a:lnTo>
                    <a:pt x="2231" y="2057"/>
                  </a:lnTo>
                  <a:lnTo>
                    <a:pt x="2231" y="2039"/>
                  </a:lnTo>
                  <a:lnTo>
                    <a:pt x="2231" y="2039"/>
                  </a:lnTo>
                  <a:lnTo>
                    <a:pt x="2236" y="2045"/>
                  </a:lnTo>
                  <a:lnTo>
                    <a:pt x="2244" y="2050"/>
                  </a:lnTo>
                  <a:lnTo>
                    <a:pt x="2250" y="2054"/>
                  </a:lnTo>
                  <a:lnTo>
                    <a:pt x="2257" y="2057"/>
                  </a:lnTo>
                  <a:lnTo>
                    <a:pt x="2263" y="2060"/>
                  </a:lnTo>
                  <a:lnTo>
                    <a:pt x="2272" y="2061"/>
                  </a:lnTo>
                  <a:lnTo>
                    <a:pt x="2279" y="2062"/>
                  </a:lnTo>
                  <a:lnTo>
                    <a:pt x="2286" y="2064"/>
                  </a:lnTo>
                  <a:lnTo>
                    <a:pt x="2286" y="2064"/>
                  </a:lnTo>
                  <a:lnTo>
                    <a:pt x="2297" y="2062"/>
                  </a:lnTo>
                  <a:lnTo>
                    <a:pt x="2308" y="2061"/>
                  </a:lnTo>
                  <a:lnTo>
                    <a:pt x="2318" y="2059"/>
                  </a:lnTo>
                  <a:lnTo>
                    <a:pt x="2328" y="2054"/>
                  </a:lnTo>
                  <a:lnTo>
                    <a:pt x="2336" y="2049"/>
                  </a:lnTo>
                  <a:lnTo>
                    <a:pt x="2344" y="2044"/>
                  </a:lnTo>
                  <a:lnTo>
                    <a:pt x="2351" y="2037"/>
                  </a:lnTo>
                  <a:lnTo>
                    <a:pt x="2357" y="2029"/>
                  </a:lnTo>
                  <a:lnTo>
                    <a:pt x="2363" y="2020"/>
                  </a:lnTo>
                  <a:lnTo>
                    <a:pt x="2368" y="2010"/>
                  </a:lnTo>
                  <a:lnTo>
                    <a:pt x="2372" y="1999"/>
                  </a:lnTo>
                  <a:lnTo>
                    <a:pt x="2375" y="1988"/>
                  </a:lnTo>
                  <a:lnTo>
                    <a:pt x="2379" y="1976"/>
                  </a:lnTo>
                  <a:lnTo>
                    <a:pt x="2380" y="1962"/>
                  </a:lnTo>
                  <a:lnTo>
                    <a:pt x="2381" y="1948"/>
                  </a:lnTo>
                  <a:lnTo>
                    <a:pt x="2383" y="1932"/>
                  </a:lnTo>
                  <a:lnTo>
                    <a:pt x="2383" y="1932"/>
                  </a:lnTo>
                  <a:lnTo>
                    <a:pt x="2381" y="1918"/>
                  </a:lnTo>
                  <a:lnTo>
                    <a:pt x="2380" y="1905"/>
                  </a:lnTo>
                  <a:lnTo>
                    <a:pt x="2378" y="1891"/>
                  </a:lnTo>
                  <a:lnTo>
                    <a:pt x="2375" y="1879"/>
                  </a:lnTo>
                  <a:lnTo>
                    <a:pt x="2372" y="1868"/>
                  </a:lnTo>
                  <a:lnTo>
                    <a:pt x="2367" y="1859"/>
                  </a:lnTo>
                  <a:lnTo>
                    <a:pt x="2362" y="1849"/>
                  </a:lnTo>
                  <a:lnTo>
                    <a:pt x="2356" y="1840"/>
                  </a:lnTo>
                  <a:lnTo>
                    <a:pt x="2350" y="1833"/>
                  </a:lnTo>
                  <a:lnTo>
                    <a:pt x="2342" y="1826"/>
                  </a:lnTo>
                  <a:lnTo>
                    <a:pt x="2334" y="1819"/>
                  </a:lnTo>
                  <a:lnTo>
                    <a:pt x="2325" y="1815"/>
                  </a:lnTo>
                  <a:lnTo>
                    <a:pt x="2317" y="1811"/>
                  </a:lnTo>
                  <a:lnTo>
                    <a:pt x="2307" y="1808"/>
                  </a:lnTo>
                  <a:lnTo>
                    <a:pt x="2296" y="1807"/>
                  </a:lnTo>
                  <a:lnTo>
                    <a:pt x="2285" y="1806"/>
                  </a:lnTo>
                  <a:lnTo>
                    <a:pt x="2285" y="1806"/>
                  </a:lnTo>
                  <a:lnTo>
                    <a:pt x="2285" y="1806"/>
                  </a:lnTo>
                  <a:close/>
                  <a:moveTo>
                    <a:pt x="2274" y="1862"/>
                  </a:moveTo>
                  <a:lnTo>
                    <a:pt x="2274" y="1862"/>
                  </a:lnTo>
                  <a:lnTo>
                    <a:pt x="2283" y="1863"/>
                  </a:lnTo>
                  <a:lnTo>
                    <a:pt x="2291" y="1866"/>
                  </a:lnTo>
                  <a:lnTo>
                    <a:pt x="2299" y="1871"/>
                  </a:lnTo>
                  <a:lnTo>
                    <a:pt x="2306" y="1878"/>
                  </a:lnTo>
                  <a:lnTo>
                    <a:pt x="2312" y="1887"/>
                  </a:lnTo>
                  <a:lnTo>
                    <a:pt x="2316" y="1899"/>
                  </a:lnTo>
                  <a:lnTo>
                    <a:pt x="2319" y="1913"/>
                  </a:lnTo>
                  <a:lnTo>
                    <a:pt x="2320" y="1931"/>
                  </a:lnTo>
                  <a:lnTo>
                    <a:pt x="2320" y="1931"/>
                  </a:lnTo>
                  <a:lnTo>
                    <a:pt x="2319" y="1949"/>
                  </a:lnTo>
                  <a:lnTo>
                    <a:pt x="2317" y="1965"/>
                  </a:lnTo>
                  <a:lnTo>
                    <a:pt x="2314" y="1977"/>
                  </a:lnTo>
                  <a:lnTo>
                    <a:pt x="2309" y="1988"/>
                  </a:lnTo>
                  <a:lnTo>
                    <a:pt x="2302" y="1996"/>
                  </a:lnTo>
                  <a:lnTo>
                    <a:pt x="2295" y="2002"/>
                  </a:lnTo>
                  <a:lnTo>
                    <a:pt x="2286" y="2006"/>
                  </a:lnTo>
                  <a:lnTo>
                    <a:pt x="2275" y="2007"/>
                  </a:lnTo>
                  <a:lnTo>
                    <a:pt x="2275" y="2007"/>
                  </a:lnTo>
                  <a:lnTo>
                    <a:pt x="2267" y="2006"/>
                  </a:lnTo>
                  <a:lnTo>
                    <a:pt x="2260" y="2005"/>
                  </a:lnTo>
                  <a:lnTo>
                    <a:pt x="2253" y="2001"/>
                  </a:lnTo>
                  <a:lnTo>
                    <a:pt x="2247" y="1999"/>
                  </a:lnTo>
                  <a:lnTo>
                    <a:pt x="2238" y="1990"/>
                  </a:lnTo>
                  <a:lnTo>
                    <a:pt x="2231" y="1984"/>
                  </a:lnTo>
                  <a:lnTo>
                    <a:pt x="2231" y="1887"/>
                  </a:lnTo>
                  <a:lnTo>
                    <a:pt x="2231" y="1887"/>
                  </a:lnTo>
                  <a:lnTo>
                    <a:pt x="2235" y="1882"/>
                  </a:lnTo>
                  <a:lnTo>
                    <a:pt x="2240" y="1877"/>
                  </a:lnTo>
                  <a:lnTo>
                    <a:pt x="2245" y="1872"/>
                  </a:lnTo>
                  <a:lnTo>
                    <a:pt x="2250" y="1868"/>
                  </a:lnTo>
                  <a:lnTo>
                    <a:pt x="2256" y="1866"/>
                  </a:lnTo>
                  <a:lnTo>
                    <a:pt x="2262" y="1863"/>
                  </a:lnTo>
                  <a:lnTo>
                    <a:pt x="2268" y="1862"/>
                  </a:lnTo>
                  <a:lnTo>
                    <a:pt x="2274" y="1862"/>
                  </a:lnTo>
                  <a:lnTo>
                    <a:pt x="2274" y="1862"/>
                  </a:lnTo>
                  <a:lnTo>
                    <a:pt x="2274" y="1862"/>
                  </a:lnTo>
                  <a:close/>
                  <a:moveTo>
                    <a:pt x="1595" y="1829"/>
                  </a:moveTo>
                  <a:lnTo>
                    <a:pt x="1595" y="1829"/>
                  </a:lnTo>
                  <a:lnTo>
                    <a:pt x="1590" y="1824"/>
                  </a:lnTo>
                  <a:lnTo>
                    <a:pt x="1584" y="1819"/>
                  </a:lnTo>
                  <a:lnTo>
                    <a:pt x="1577" y="1816"/>
                  </a:lnTo>
                  <a:lnTo>
                    <a:pt x="1571" y="1812"/>
                  </a:lnTo>
                  <a:lnTo>
                    <a:pt x="1564" y="1810"/>
                  </a:lnTo>
                  <a:lnTo>
                    <a:pt x="1556" y="1807"/>
                  </a:lnTo>
                  <a:lnTo>
                    <a:pt x="1549" y="1807"/>
                  </a:lnTo>
                  <a:lnTo>
                    <a:pt x="1542" y="1806"/>
                  </a:lnTo>
                  <a:lnTo>
                    <a:pt x="1542" y="1806"/>
                  </a:lnTo>
                  <a:lnTo>
                    <a:pt x="1531" y="1807"/>
                  </a:lnTo>
                  <a:lnTo>
                    <a:pt x="1520" y="1808"/>
                  </a:lnTo>
                  <a:lnTo>
                    <a:pt x="1510" y="1811"/>
                  </a:lnTo>
                  <a:lnTo>
                    <a:pt x="1501" y="1815"/>
                  </a:lnTo>
                  <a:lnTo>
                    <a:pt x="1493" y="1819"/>
                  </a:lnTo>
                  <a:lnTo>
                    <a:pt x="1484" y="1826"/>
                  </a:lnTo>
                  <a:lnTo>
                    <a:pt x="1477" y="1833"/>
                  </a:lnTo>
                  <a:lnTo>
                    <a:pt x="1471" y="1840"/>
                  </a:lnTo>
                  <a:lnTo>
                    <a:pt x="1465" y="1849"/>
                  </a:lnTo>
                  <a:lnTo>
                    <a:pt x="1460" y="1859"/>
                  </a:lnTo>
                  <a:lnTo>
                    <a:pt x="1455" y="1868"/>
                  </a:lnTo>
                  <a:lnTo>
                    <a:pt x="1452" y="1879"/>
                  </a:lnTo>
                  <a:lnTo>
                    <a:pt x="1449" y="1891"/>
                  </a:lnTo>
                  <a:lnTo>
                    <a:pt x="1447" y="1905"/>
                  </a:lnTo>
                  <a:lnTo>
                    <a:pt x="1445" y="1918"/>
                  </a:lnTo>
                  <a:lnTo>
                    <a:pt x="1445" y="1932"/>
                  </a:lnTo>
                  <a:lnTo>
                    <a:pt x="1445" y="1932"/>
                  </a:lnTo>
                  <a:lnTo>
                    <a:pt x="1445" y="1948"/>
                  </a:lnTo>
                  <a:lnTo>
                    <a:pt x="1447" y="1961"/>
                  </a:lnTo>
                  <a:lnTo>
                    <a:pt x="1449" y="1974"/>
                  </a:lnTo>
                  <a:lnTo>
                    <a:pt x="1452" y="1987"/>
                  </a:lnTo>
                  <a:lnTo>
                    <a:pt x="1455" y="1999"/>
                  </a:lnTo>
                  <a:lnTo>
                    <a:pt x="1459" y="2010"/>
                  </a:lnTo>
                  <a:lnTo>
                    <a:pt x="1465" y="2020"/>
                  </a:lnTo>
                  <a:lnTo>
                    <a:pt x="1470" y="2028"/>
                  </a:lnTo>
                  <a:lnTo>
                    <a:pt x="1477" y="2037"/>
                  </a:lnTo>
                  <a:lnTo>
                    <a:pt x="1483" y="2043"/>
                  </a:lnTo>
                  <a:lnTo>
                    <a:pt x="1492" y="2049"/>
                  </a:lnTo>
                  <a:lnTo>
                    <a:pt x="1500" y="2054"/>
                  </a:lnTo>
                  <a:lnTo>
                    <a:pt x="1509" y="2057"/>
                  </a:lnTo>
                  <a:lnTo>
                    <a:pt x="1519" y="2061"/>
                  </a:lnTo>
                  <a:lnTo>
                    <a:pt x="1530" y="2062"/>
                  </a:lnTo>
                  <a:lnTo>
                    <a:pt x="1540" y="2062"/>
                  </a:lnTo>
                  <a:lnTo>
                    <a:pt x="1540" y="2062"/>
                  </a:lnTo>
                  <a:lnTo>
                    <a:pt x="1548" y="2062"/>
                  </a:lnTo>
                  <a:lnTo>
                    <a:pt x="1555" y="2061"/>
                  </a:lnTo>
                  <a:lnTo>
                    <a:pt x="1562" y="2060"/>
                  </a:lnTo>
                  <a:lnTo>
                    <a:pt x="1570" y="2057"/>
                  </a:lnTo>
                  <a:lnTo>
                    <a:pt x="1577" y="2054"/>
                  </a:lnTo>
                  <a:lnTo>
                    <a:pt x="1583" y="2049"/>
                  </a:lnTo>
                  <a:lnTo>
                    <a:pt x="1589" y="2045"/>
                  </a:lnTo>
                  <a:lnTo>
                    <a:pt x="1595" y="2039"/>
                  </a:lnTo>
                  <a:lnTo>
                    <a:pt x="1595" y="2045"/>
                  </a:lnTo>
                  <a:lnTo>
                    <a:pt x="1595" y="2045"/>
                  </a:lnTo>
                  <a:lnTo>
                    <a:pt x="1595" y="2055"/>
                  </a:lnTo>
                  <a:lnTo>
                    <a:pt x="1594" y="2066"/>
                  </a:lnTo>
                  <a:lnTo>
                    <a:pt x="1592" y="2077"/>
                  </a:lnTo>
                  <a:lnTo>
                    <a:pt x="1589" y="2082"/>
                  </a:lnTo>
                  <a:lnTo>
                    <a:pt x="1586" y="2087"/>
                  </a:lnTo>
                  <a:lnTo>
                    <a:pt x="1582" y="2092"/>
                  </a:lnTo>
                  <a:lnTo>
                    <a:pt x="1577" y="2096"/>
                  </a:lnTo>
                  <a:lnTo>
                    <a:pt x="1570" y="2100"/>
                  </a:lnTo>
                  <a:lnTo>
                    <a:pt x="1562" y="2103"/>
                  </a:lnTo>
                  <a:lnTo>
                    <a:pt x="1554" y="2106"/>
                  </a:lnTo>
                  <a:lnTo>
                    <a:pt x="1543" y="2107"/>
                  </a:lnTo>
                  <a:lnTo>
                    <a:pt x="1531" y="2110"/>
                  </a:lnTo>
                  <a:lnTo>
                    <a:pt x="1517" y="2110"/>
                  </a:lnTo>
                  <a:lnTo>
                    <a:pt x="1515" y="2110"/>
                  </a:lnTo>
                  <a:lnTo>
                    <a:pt x="1536" y="2157"/>
                  </a:lnTo>
                  <a:lnTo>
                    <a:pt x="1537" y="2157"/>
                  </a:lnTo>
                  <a:lnTo>
                    <a:pt x="1537" y="2157"/>
                  </a:lnTo>
                  <a:lnTo>
                    <a:pt x="1551" y="2157"/>
                  </a:lnTo>
                  <a:lnTo>
                    <a:pt x="1565" y="2155"/>
                  </a:lnTo>
                  <a:lnTo>
                    <a:pt x="1578" y="2153"/>
                  </a:lnTo>
                  <a:lnTo>
                    <a:pt x="1589" y="2149"/>
                  </a:lnTo>
                  <a:lnTo>
                    <a:pt x="1600" y="2145"/>
                  </a:lnTo>
                  <a:lnTo>
                    <a:pt x="1610" y="2140"/>
                  </a:lnTo>
                  <a:lnTo>
                    <a:pt x="1618" y="2133"/>
                  </a:lnTo>
                  <a:lnTo>
                    <a:pt x="1627" y="2127"/>
                  </a:lnTo>
                  <a:lnTo>
                    <a:pt x="1634" y="2118"/>
                  </a:lnTo>
                  <a:lnTo>
                    <a:pt x="1639" y="2109"/>
                  </a:lnTo>
                  <a:lnTo>
                    <a:pt x="1645" y="2099"/>
                  </a:lnTo>
                  <a:lnTo>
                    <a:pt x="1649" y="2088"/>
                  </a:lnTo>
                  <a:lnTo>
                    <a:pt x="1653" y="2076"/>
                  </a:lnTo>
                  <a:lnTo>
                    <a:pt x="1655" y="2064"/>
                  </a:lnTo>
                  <a:lnTo>
                    <a:pt x="1656" y="2050"/>
                  </a:lnTo>
                  <a:lnTo>
                    <a:pt x="1656" y="2034"/>
                  </a:lnTo>
                  <a:lnTo>
                    <a:pt x="1656" y="1812"/>
                  </a:lnTo>
                  <a:lnTo>
                    <a:pt x="1595" y="1812"/>
                  </a:lnTo>
                  <a:lnTo>
                    <a:pt x="1595" y="1829"/>
                  </a:lnTo>
                  <a:lnTo>
                    <a:pt x="1595" y="1829"/>
                  </a:lnTo>
                  <a:close/>
                  <a:moveTo>
                    <a:pt x="1595" y="1887"/>
                  </a:moveTo>
                  <a:lnTo>
                    <a:pt x="1595" y="1983"/>
                  </a:lnTo>
                  <a:lnTo>
                    <a:pt x="1595" y="1983"/>
                  </a:lnTo>
                  <a:lnTo>
                    <a:pt x="1588" y="1992"/>
                  </a:lnTo>
                  <a:lnTo>
                    <a:pt x="1578" y="2000"/>
                  </a:lnTo>
                  <a:lnTo>
                    <a:pt x="1573" y="2002"/>
                  </a:lnTo>
                  <a:lnTo>
                    <a:pt x="1567" y="2005"/>
                  </a:lnTo>
                  <a:lnTo>
                    <a:pt x="1560" y="2006"/>
                  </a:lnTo>
                  <a:lnTo>
                    <a:pt x="1553" y="2007"/>
                  </a:lnTo>
                  <a:lnTo>
                    <a:pt x="1553" y="2007"/>
                  </a:lnTo>
                  <a:lnTo>
                    <a:pt x="1544" y="2006"/>
                  </a:lnTo>
                  <a:lnTo>
                    <a:pt x="1537" y="2004"/>
                  </a:lnTo>
                  <a:lnTo>
                    <a:pt x="1528" y="1999"/>
                  </a:lnTo>
                  <a:lnTo>
                    <a:pt x="1522" y="1993"/>
                  </a:lnTo>
                  <a:lnTo>
                    <a:pt x="1516" y="1983"/>
                  </a:lnTo>
                  <a:lnTo>
                    <a:pt x="1511" y="1970"/>
                  </a:lnTo>
                  <a:lnTo>
                    <a:pt x="1508" y="1952"/>
                  </a:lnTo>
                  <a:lnTo>
                    <a:pt x="1506" y="1931"/>
                  </a:lnTo>
                  <a:lnTo>
                    <a:pt x="1506" y="1931"/>
                  </a:lnTo>
                  <a:lnTo>
                    <a:pt x="1508" y="1911"/>
                  </a:lnTo>
                  <a:lnTo>
                    <a:pt x="1511" y="1896"/>
                  </a:lnTo>
                  <a:lnTo>
                    <a:pt x="1516" y="1884"/>
                  </a:lnTo>
                  <a:lnTo>
                    <a:pt x="1522" y="1876"/>
                  </a:lnTo>
                  <a:lnTo>
                    <a:pt x="1528" y="1868"/>
                  </a:lnTo>
                  <a:lnTo>
                    <a:pt x="1537" y="1865"/>
                  </a:lnTo>
                  <a:lnTo>
                    <a:pt x="1544" y="1862"/>
                  </a:lnTo>
                  <a:lnTo>
                    <a:pt x="1553" y="1862"/>
                  </a:lnTo>
                  <a:lnTo>
                    <a:pt x="1553" y="1862"/>
                  </a:lnTo>
                  <a:lnTo>
                    <a:pt x="1560" y="1862"/>
                  </a:lnTo>
                  <a:lnTo>
                    <a:pt x="1567" y="1865"/>
                  </a:lnTo>
                  <a:lnTo>
                    <a:pt x="1575" y="1867"/>
                  </a:lnTo>
                  <a:lnTo>
                    <a:pt x="1579" y="1869"/>
                  </a:lnTo>
                  <a:lnTo>
                    <a:pt x="1584" y="1874"/>
                  </a:lnTo>
                  <a:lnTo>
                    <a:pt x="1589" y="1878"/>
                  </a:lnTo>
                  <a:lnTo>
                    <a:pt x="1595" y="1887"/>
                  </a:lnTo>
                  <a:lnTo>
                    <a:pt x="1595" y="1887"/>
                  </a:lnTo>
                  <a:lnTo>
                    <a:pt x="1595" y="1887"/>
                  </a:lnTo>
                  <a:close/>
                  <a:moveTo>
                    <a:pt x="1845" y="1872"/>
                  </a:moveTo>
                  <a:lnTo>
                    <a:pt x="1845" y="1872"/>
                  </a:lnTo>
                  <a:lnTo>
                    <a:pt x="1860" y="1865"/>
                  </a:lnTo>
                  <a:lnTo>
                    <a:pt x="1874" y="1860"/>
                  </a:lnTo>
                  <a:lnTo>
                    <a:pt x="1890" y="1856"/>
                  </a:lnTo>
                  <a:lnTo>
                    <a:pt x="1907" y="1855"/>
                  </a:lnTo>
                  <a:lnTo>
                    <a:pt x="1907" y="1855"/>
                  </a:lnTo>
                  <a:lnTo>
                    <a:pt x="1918" y="1856"/>
                  </a:lnTo>
                  <a:lnTo>
                    <a:pt x="1927" y="1857"/>
                  </a:lnTo>
                  <a:lnTo>
                    <a:pt x="1934" y="1860"/>
                  </a:lnTo>
                  <a:lnTo>
                    <a:pt x="1940" y="1865"/>
                  </a:lnTo>
                  <a:lnTo>
                    <a:pt x="1945" y="1869"/>
                  </a:lnTo>
                  <a:lnTo>
                    <a:pt x="1949" y="1876"/>
                  </a:lnTo>
                  <a:lnTo>
                    <a:pt x="1951" y="1882"/>
                  </a:lnTo>
                  <a:lnTo>
                    <a:pt x="1951" y="1890"/>
                  </a:lnTo>
                  <a:lnTo>
                    <a:pt x="1951" y="1907"/>
                  </a:lnTo>
                  <a:lnTo>
                    <a:pt x="1951" y="1907"/>
                  </a:lnTo>
                  <a:lnTo>
                    <a:pt x="1940" y="1902"/>
                  </a:lnTo>
                  <a:lnTo>
                    <a:pt x="1927" y="1899"/>
                  </a:lnTo>
                  <a:lnTo>
                    <a:pt x="1913" y="1896"/>
                  </a:lnTo>
                  <a:lnTo>
                    <a:pt x="1899" y="1895"/>
                  </a:lnTo>
                  <a:lnTo>
                    <a:pt x="1899" y="1895"/>
                  </a:lnTo>
                  <a:lnTo>
                    <a:pt x="1882" y="1896"/>
                  </a:lnTo>
                  <a:lnTo>
                    <a:pt x="1865" y="1900"/>
                  </a:lnTo>
                  <a:lnTo>
                    <a:pt x="1849" y="1905"/>
                  </a:lnTo>
                  <a:lnTo>
                    <a:pt x="1840" y="1909"/>
                  </a:lnTo>
                  <a:lnTo>
                    <a:pt x="1833" y="1913"/>
                  </a:lnTo>
                  <a:lnTo>
                    <a:pt x="1827" y="1918"/>
                  </a:lnTo>
                  <a:lnTo>
                    <a:pt x="1821" y="1924"/>
                  </a:lnTo>
                  <a:lnTo>
                    <a:pt x="1815" y="1931"/>
                  </a:lnTo>
                  <a:lnTo>
                    <a:pt x="1810" y="1938"/>
                  </a:lnTo>
                  <a:lnTo>
                    <a:pt x="1806" y="1946"/>
                  </a:lnTo>
                  <a:lnTo>
                    <a:pt x="1804" y="1956"/>
                  </a:lnTo>
                  <a:lnTo>
                    <a:pt x="1802" y="1966"/>
                  </a:lnTo>
                  <a:lnTo>
                    <a:pt x="1801" y="1976"/>
                  </a:lnTo>
                  <a:lnTo>
                    <a:pt x="1801" y="1976"/>
                  </a:lnTo>
                  <a:lnTo>
                    <a:pt x="1802" y="1988"/>
                  </a:lnTo>
                  <a:lnTo>
                    <a:pt x="1804" y="1999"/>
                  </a:lnTo>
                  <a:lnTo>
                    <a:pt x="1806" y="2007"/>
                  </a:lnTo>
                  <a:lnTo>
                    <a:pt x="1810" y="2017"/>
                  </a:lnTo>
                  <a:lnTo>
                    <a:pt x="1813" y="2024"/>
                  </a:lnTo>
                  <a:lnTo>
                    <a:pt x="1820" y="2032"/>
                  </a:lnTo>
                  <a:lnTo>
                    <a:pt x="1824" y="2038"/>
                  </a:lnTo>
                  <a:lnTo>
                    <a:pt x="1832" y="2044"/>
                  </a:lnTo>
                  <a:lnTo>
                    <a:pt x="1838" y="2049"/>
                  </a:lnTo>
                  <a:lnTo>
                    <a:pt x="1845" y="2053"/>
                  </a:lnTo>
                  <a:lnTo>
                    <a:pt x="1861" y="2059"/>
                  </a:lnTo>
                  <a:lnTo>
                    <a:pt x="1877" y="2062"/>
                  </a:lnTo>
                  <a:lnTo>
                    <a:pt x="1893" y="2064"/>
                  </a:lnTo>
                  <a:lnTo>
                    <a:pt x="1893" y="2064"/>
                  </a:lnTo>
                  <a:lnTo>
                    <a:pt x="1906" y="2061"/>
                  </a:lnTo>
                  <a:lnTo>
                    <a:pt x="1915" y="2060"/>
                  </a:lnTo>
                  <a:lnTo>
                    <a:pt x="1922" y="2057"/>
                  </a:lnTo>
                  <a:lnTo>
                    <a:pt x="1930" y="2054"/>
                  </a:lnTo>
                  <a:lnTo>
                    <a:pt x="1938" y="2049"/>
                  </a:lnTo>
                  <a:lnTo>
                    <a:pt x="1945" y="2044"/>
                  </a:lnTo>
                  <a:lnTo>
                    <a:pt x="1951" y="2038"/>
                  </a:lnTo>
                  <a:lnTo>
                    <a:pt x="1951" y="2057"/>
                  </a:lnTo>
                  <a:lnTo>
                    <a:pt x="2012" y="2057"/>
                  </a:lnTo>
                  <a:lnTo>
                    <a:pt x="2012" y="1891"/>
                  </a:lnTo>
                  <a:lnTo>
                    <a:pt x="2012" y="1891"/>
                  </a:lnTo>
                  <a:lnTo>
                    <a:pt x="2012" y="1882"/>
                  </a:lnTo>
                  <a:lnTo>
                    <a:pt x="2011" y="1873"/>
                  </a:lnTo>
                  <a:lnTo>
                    <a:pt x="2008" y="1865"/>
                  </a:lnTo>
                  <a:lnTo>
                    <a:pt x="2006" y="1856"/>
                  </a:lnTo>
                  <a:lnTo>
                    <a:pt x="2001" y="1849"/>
                  </a:lnTo>
                  <a:lnTo>
                    <a:pt x="1997" y="1841"/>
                  </a:lnTo>
                  <a:lnTo>
                    <a:pt x="1991" y="1835"/>
                  </a:lnTo>
                  <a:lnTo>
                    <a:pt x="1985" y="1829"/>
                  </a:lnTo>
                  <a:lnTo>
                    <a:pt x="1979" y="1824"/>
                  </a:lnTo>
                  <a:lnTo>
                    <a:pt x="1972" y="1819"/>
                  </a:lnTo>
                  <a:lnTo>
                    <a:pt x="1963" y="1816"/>
                  </a:lnTo>
                  <a:lnTo>
                    <a:pt x="1955" y="1812"/>
                  </a:lnTo>
                  <a:lnTo>
                    <a:pt x="1945" y="1810"/>
                  </a:lnTo>
                  <a:lnTo>
                    <a:pt x="1935" y="1808"/>
                  </a:lnTo>
                  <a:lnTo>
                    <a:pt x="1924" y="1807"/>
                  </a:lnTo>
                  <a:lnTo>
                    <a:pt x="1913" y="1806"/>
                  </a:lnTo>
                  <a:lnTo>
                    <a:pt x="1913" y="1806"/>
                  </a:lnTo>
                  <a:lnTo>
                    <a:pt x="1900" y="1807"/>
                  </a:lnTo>
                  <a:lnTo>
                    <a:pt x="1889" y="1807"/>
                  </a:lnTo>
                  <a:lnTo>
                    <a:pt x="1877" y="1810"/>
                  </a:lnTo>
                  <a:lnTo>
                    <a:pt x="1865" y="1812"/>
                  </a:lnTo>
                  <a:lnTo>
                    <a:pt x="1854" y="1816"/>
                  </a:lnTo>
                  <a:lnTo>
                    <a:pt x="1843" y="1819"/>
                  </a:lnTo>
                  <a:lnTo>
                    <a:pt x="1832" y="1824"/>
                  </a:lnTo>
                  <a:lnTo>
                    <a:pt x="1821" y="1830"/>
                  </a:lnTo>
                  <a:lnTo>
                    <a:pt x="1845" y="1872"/>
                  </a:lnTo>
                  <a:lnTo>
                    <a:pt x="1845" y="1872"/>
                  </a:lnTo>
                  <a:close/>
                  <a:moveTo>
                    <a:pt x="1862" y="1976"/>
                  </a:moveTo>
                  <a:lnTo>
                    <a:pt x="1862" y="1976"/>
                  </a:lnTo>
                  <a:lnTo>
                    <a:pt x="1862" y="1968"/>
                  </a:lnTo>
                  <a:lnTo>
                    <a:pt x="1865" y="1961"/>
                  </a:lnTo>
                  <a:lnTo>
                    <a:pt x="1868" y="1955"/>
                  </a:lnTo>
                  <a:lnTo>
                    <a:pt x="1873" y="1950"/>
                  </a:lnTo>
                  <a:lnTo>
                    <a:pt x="1879" y="1946"/>
                  </a:lnTo>
                  <a:lnTo>
                    <a:pt x="1887" y="1944"/>
                  </a:lnTo>
                  <a:lnTo>
                    <a:pt x="1895" y="1941"/>
                  </a:lnTo>
                  <a:lnTo>
                    <a:pt x="1904" y="1941"/>
                  </a:lnTo>
                  <a:lnTo>
                    <a:pt x="1904" y="1941"/>
                  </a:lnTo>
                  <a:lnTo>
                    <a:pt x="1917" y="1941"/>
                  </a:lnTo>
                  <a:lnTo>
                    <a:pt x="1929" y="1944"/>
                  </a:lnTo>
                  <a:lnTo>
                    <a:pt x="1940" y="1948"/>
                  </a:lnTo>
                  <a:lnTo>
                    <a:pt x="1951" y="1954"/>
                  </a:lnTo>
                  <a:lnTo>
                    <a:pt x="1951" y="1987"/>
                  </a:lnTo>
                  <a:lnTo>
                    <a:pt x="1951" y="1987"/>
                  </a:lnTo>
                  <a:lnTo>
                    <a:pt x="1949" y="1992"/>
                  </a:lnTo>
                  <a:lnTo>
                    <a:pt x="1944" y="1996"/>
                  </a:lnTo>
                  <a:lnTo>
                    <a:pt x="1939" y="2001"/>
                  </a:lnTo>
                  <a:lnTo>
                    <a:pt x="1933" y="2005"/>
                  </a:lnTo>
                  <a:lnTo>
                    <a:pt x="1927" y="2009"/>
                  </a:lnTo>
                  <a:lnTo>
                    <a:pt x="1919" y="2011"/>
                  </a:lnTo>
                  <a:lnTo>
                    <a:pt x="1912" y="2012"/>
                  </a:lnTo>
                  <a:lnTo>
                    <a:pt x="1904" y="2013"/>
                  </a:lnTo>
                  <a:lnTo>
                    <a:pt x="1904" y="2013"/>
                  </a:lnTo>
                  <a:lnTo>
                    <a:pt x="1895" y="2012"/>
                  </a:lnTo>
                  <a:lnTo>
                    <a:pt x="1887" y="2010"/>
                  </a:lnTo>
                  <a:lnTo>
                    <a:pt x="1879" y="2007"/>
                  </a:lnTo>
                  <a:lnTo>
                    <a:pt x="1873" y="2002"/>
                  </a:lnTo>
                  <a:lnTo>
                    <a:pt x="1868" y="1998"/>
                  </a:lnTo>
                  <a:lnTo>
                    <a:pt x="1865" y="1992"/>
                  </a:lnTo>
                  <a:lnTo>
                    <a:pt x="1863" y="1984"/>
                  </a:lnTo>
                  <a:lnTo>
                    <a:pt x="1862" y="1976"/>
                  </a:lnTo>
                  <a:lnTo>
                    <a:pt x="1862" y="1976"/>
                  </a:lnTo>
                  <a:lnTo>
                    <a:pt x="1862" y="1976"/>
                  </a:lnTo>
                  <a:close/>
                  <a:moveTo>
                    <a:pt x="2576" y="1987"/>
                  </a:moveTo>
                  <a:lnTo>
                    <a:pt x="2576" y="1987"/>
                  </a:lnTo>
                  <a:lnTo>
                    <a:pt x="2568" y="1994"/>
                  </a:lnTo>
                  <a:lnTo>
                    <a:pt x="2557" y="2000"/>
                  </a:lnTo>
                  <a:lnTo>
                    <a:pt x="2551" y="2002"/>
                  </a:lnTo>
                  <a:lnTo>
                    <a:pt x="2543" y="2005"/>
                  </a:lnTo>
                  <a:lnTo>
                    <a:pt x="2536" y="2006"/>
                  </a:lnTo>
                  <a:lnTo>
                    <a:pt x="2529" y="2007"/>
                  </a:lnTo>
                  <a:lnTo>
                    <a:pt x="2529" y="2007"/>
                  </a:lnTo>
                  <a:lnTo>
                    <a:pt x="2523" y="2006"/>
                  </a:lnTo>
                  <a:lnTo>
                    <a:pt x="2515" y="2006"/>
                  </a:lnTo>
                  <a:lnTo>
                    <a:pt x="2507" y="2004"/>
                  </a:lnTo>
                  <a:lnTo>
                    <a:pt x="2497" y="1999"/>
                  </a:lnTo>
                  <a:lnTo>
                    <a:pt x="2489" y="1993"/>
                  </a:lnTo>
                  <a:lnTo>
                    <a:pt x="2485" y="1988"/>
                  </a:lnTo>
                  <a:lnTo>
                    <a:pt x="2481" y="1983"/>
                  </a:lnTo>
                  <a:lnTo>
                    <a:pt x="2479" y="1977"/>
                  </a:lnTo>
                  <a:lnTo>
                    <a:pt x="2476" y="1970"/>
                  </a:lnTo>
                  <a:lnTo>
                    <a:pt x="2475" y="1962"/>
                  </a:lnTo>
                  <a:lnTo>
                    <a:pt x="2474" y="1954"/>
                  </a:lnTo>
                  <a:lnTo>
                    <a:pt x="2624" y="1954"/>
                  </a:lnTo>
                  <a:lnTo>
                    <a:pt x="2624" y="1954"/>
                  </a:lnTo>
                  <a:lnTo>
                    <a:pt x="2625" y="1935"/>
                  </a:lnTo>
                  <a:lnTo>
                    <a:pt x="2625" y="1935"/>
                  </a:lnTo>
                  <a:lnTo>
                    <a:pt x="2625" y="1921"/>
                  </a:lnTo>
                  <a:lnTo>
                    <a:pt x="2623" y="1907"/>
                  </a:lnTo>
                  <a:lnTo>
                    <a:pt x="2621" y="1894"/>
                  </a:lnTo>
                  <a:lnTo>
                    <a:pt x="2618" y="1882"/>
                  </a:lnTo>
                  <a:lnTo>
                    <a:pt x="2614" y="1871"/>
                  </a:lnTo>
                  <a:lnTo>
                    <a:pt x="2609" y="1860"/>
                  </a:lnTo>
                  <a:lnTo>
                    <a:pt x="2603" y="1850"/>
                  </a:lnTo>
                  <a:lnTo>
                    <a:pt x="2597" y="1841"/>
                  </a:lnTo>
                  <a:lnTo>
                    <a:pt x="2590" y="1833"/>
                  </a:lnTo>
                  <a:lnTo>
                    <a:pt x="2582" y="1827"/>
                  </a:lnTo>
                  <a:lnTo>
                    <a:pt x="2574" y="1821"/>
                  </a:lnTo>
                  <a:lnTo>
                    <a:pt x="2564" y="1816"/>
                  </a:lnTo>
                  <a:lnTo>
                    <a:pt x="2554" y="1812"/>
                  </a:lnTo>
                  <a:lnTo>
                    <a:pt x="2545" y="1808"/>
                  </a:lnTo>
                  <a:lnTo>
                    <a:pt x="2534" y="1807"/>
                  </a:lnTo>
                  <a:lnTo>
                    <a:pt x="2522" y="1806"/>
                  </a:lnTo>
                  <a:lnTo>
                    <a:pt x="2522" y="1806"/>
                  </a:lnTo>
                  <a:lnTo>
                    <a:pt x="2511" y="1807"/>
                  </a:lnTo>
                  <a:lnTo>
                    <a:pt x="2500" y="1808"/>
                  </a:lnTo>
                  <a:lnTo>
                    <a:pt x="2489" y="1812"/>
                  </a:lnTo>
                  <a:lnTo>
                    <a:pt x="2478" y="1816"/>
                  </a:lnTo>
                  <a:lnTo>
                    <a:pt x="2468" y="1821"/>
                  </a:lnTo>
                  <a:lnTo>
                    <a:pt x="2459" y="1828"/>
                  </a:lnTo>
                  <a:lnTo>
                    <a:pt x="2451" y="1834"/>
                  </a:lnTo>
                  <a:lnTo>
                    <a:pt x="2444" y="1843"/>
                  </a:lnTo>
                  <a:lnTo>
                    <a:pt x="2436" y="1851"/>
                  </a:lnTo>
                  <a:lnTo>
                    <a:pt x="2430" y="1861"/>
                  </a:lnTo>
                  <a:lnTo>
                    <a:pt x="2425" y="1872"/>
                  </a:lnTo>
                  <a:lnTo>
                    <a:pt x="2420" y="1883"/>
                  </a:lnTo>
                  <a:lnTo>
                    <a:pt x="2417" y="1895"/>
                  </a:lnTo>
                  <a:lnTo>
                    <a:pt x="2414" y="1909"/>
                  </a:lnTo>
                  <a:lnTo>
                    <a:pt x="2413" y="1921"/>
                  </a:lnTo>
                  <a:lnTo>
                    <a:pt x="2412" y="1935"/>
                  </a:lnTo>
                  <a:lnTo>
                    <a:pt x="2412" y="1935"/>
                  </a:lnTo>
                  <a:lnTo>
                    <a:pt x="2413" y="1949"/>
                  </a:lnTo>
                  <a:lnTo>
                    <a:pt x="2414" y="1962"/>
                  </a:lnTo>
                  <a:lnTo>
                    <a:pt x="2417" y="1976"/>
                  </a:lnTo>
                  <a:lnTo>
                    <a:pt x="2420" y="1988"/>
                  </a:lnTo>
                  <a:lnTo>
                    <a:pt x="2425" y="1999"/>
                  </a:lnTo>
                  <a:lnTo>
                    <a:pt x="2430" y="2010"/>
                  </a:lnTo>
                  <a:lnTo>
                    <a:pt x="2436" y="2020"/>
                  </a:lnTo>
                  <a:lnTo>
                    <a:pt x="2444" y="2028"/>
                  </a:lnTo>
                  <a:lnTo>
                    <a:pt x="2452" y="2035"/>
                  </a:lnTo>
                  <a:lnTo>
                    <a:pt x="2461" y="2043"/>
                  </a:lnTo>
                  <a:lnTo>
                    <a:pt x="2470" y="2049"/>
                  </a:lnTo>
                  <a:lnTo>
                    <a:pt x="2480" y="2054"/>
                  </a:lnTo>
                  <a:lnTo>
                    <a:pt x="2491" y="2057"/>
                  </a:lnTo>
                  <a:lnTo>
                    <a:pt x="2503" y="2061"/>
                  </a:lnTo>
                  <a:lnTo>
                    <a:pt x="2515" y="2062"/>
                  </a:lnTo>
                  <a:lnTo>
                    <a:pt x="2529" y="2064"/>
                  </a:lnTo>
                  <a:lnTo>
                    <a:pt x="2529" y="2064"/>
                  </a:lnTo>
                  <a:lnTo>
                    <a:pt x="2541" y="2062"/>
                  </a:lnTo>
                  <a:lnTo>
                    <a:pt x="2552" y="2061"/>
                  </a:lnTo>
                  <a:lnTo>
                    <a:pt x="2564" y="2057"/>
                  </a:lnTo>
                  <a:lnTo>
                    <a:pt x="2575" y="2054"/>
                  </a:lnTo>
                  <a:lnTo>
                    <a:pt x="2586" y="2048"/>
                  </a:lnTo>
                  <a:lnTo>
                    <a:pt x="2596" y="2042"/>
                  </a:lnTo>
                  <a:lnTo>
                    <a:pt x="2606" y="2033"/>
                  </a:lnTo>
                  <a:lnTo>
                    <a:pt x="2615" y="2024"/>
                  </a:lnTo>
                  <a:lnTo>
                    <a:pt x="2576" y="1987"/>
                  </a:lnTo>
                  <a:lnTo>
                    <a:pt x="2576" y="1987"/>
                  </a:lnTo>
                  <a:close/>
                  <a:moveTo>
                    <a:pt x="2475" y="1909"/>
                  </a:moveTo>
                  <a:lnTo>
                    <a:pt x="2475" y="1909"/>
                  </a:lnTo>
                  <a:lnTo>
                    <a:pt x="2476" y="1898"/>
                  </a:lnTo>
                  <a:lnTo>
                    <a:pt x="2479" y="1888"/>
                  </a:lnTo>
                  <a:lnTo>
                    <a:pt x="2483" y="1879"/>
                  </a:lnTo>
                  <a:lnTo>
                    <a:pt x="2489" y="1872"/>
                  </a:lnTo>
                  <a:lnTo>
                    <a:pt x="2495" y="1866"/>
                  </a:lnTo>
                  <a:lnTo>
                    <a:pt x="2502" y="1862"/>
                  </a:lnTo>
                  <a:lnTo>
                    <a:pt x="2511" y="1859"/>
                  </a:lnTo>
                  <a:lnTo>
                    <a:pt x="2520" y="1859"/>
                  </a:lnTo>
                  <a:lnTo>
                    <a:pt x="2520" y="1859"/>
                  </a:lnTo>
                  <a:lnTo>
                    <a:pt x="2531" y="1860"/>
                  </a:lnTo>
                  <a:lnTo>
                    <a:pt x="2541" y="1862"/>
                  </a:lnTo>
                  <a:lnTo>
                    <a:pt x="2548" y="1867"/>
                  </a:lnTo>
                  <a:lnTo>
                    <a:pt x="2554" y="1874"/>
                  </a:lnTo>
                  <a:lnTo>
                    <a:pt x="2559" y="1882"/>
                  </a:lnTo>
                  <a:lnTo>
                    <a:pt x="2563" y="1890"/>
                  </a:lnTo>
                  <a:lnTo>
                    <a:pt x="2565" y="1900"/>
                  </a:lnTo>
                  <a:lnTo>
                    <a:pt x="2567" y="1909"/>
                  </a:lnTo>
                  <a:lnTo>
                    <a:pt x="2475" y="1909"/>
                  </a:lnTo>
                  <a:lnTo>
                    <a:pt x="2475" y="1909"/>
                  </a:lnTo>
                  <a:close/>
                  <a:moveTo>
                    <a:pt x="3163" y="1987"/>
                  </a:moveTo>
                  <a:lnTo>
                    <a:pt x="3163" y="1987"/>
                  </a:lnTo>
                  <a:lnTo>
                    <a:pt x="3153" y="1994"/>
                  </a:lnTo>
                  <a:lnTo>
                    <a:pt x="3143" y="2000"/>
                  </a:lnTo>
                  <a:lnTo>
                    <a:pt x="3136" y="2002"/>
                  </a:lnTo>
                  <a:lnTo>
                    <a:pt x="3130" y="2005"/>
                  </a:lnTo>
                  <a:lnTo>
                    <a:pt x="3122" y="2006"/>
                  </a:lnTo>
                  <a:lnTo>
                    <a:pt x="3114" y="2007"/>
                  </a:lnTo>
                  <a:lnTo>
                    <a:pt x="3114" y="2007"/>
                  </a:lnTo>
                  <a:lnTo>
                    <a:pt x="3108" y="2006"/>
                  </a:lnTo>
                  <a:lnTo>
                    <a:pt x="3100" y="2006"/>
                  </a:lnTo>
                  <a:lnTo>
                    <a:pt x="3092" y="2004"/>
                  </a:lnTo>
                  <a:lnTo>
                    <a:pt x="3083" y="1999"/>
                  </a:lnTo>
                  <a:lnTo>
                    <a:pt x="3075" y="1993"/>
                  </a:lnTo>
                  <a:lnTo>
                    <a:pt x="3071" y="1988"/>
                  </a:lnTo>
                  <a:lnTo>
                    <a:pt x="3068" y="1983"/>
                  </a:lnTo>
                  <a:lnTo>
                    <a:pt x="3065" y="1977"/>
                  </a:lnTo>
                  <a:lnTo>
                    <a:pt x="3063" y="1970"/>
                  </a:lnTo>
                  <a:lnTo>
                    <a:pt x="3060" y="1962"/>
                  </a:lnTo>
                  <a:lnTo>
                    <a:pt x="3059" y="1954"/>
                  </a:lnTo>
                  <a:lnTo>
                    <a:pt x="3210" y="1954"/>
                  </a:lnTo>
                  <a:lnTo>
                    <a:pt x="3210" y="1954"/>
                  </a:lnTo>
                  <a:lnTo>
                    <a:pt x="3211" y="1935"/>
                  </a:lnTo>
                  <a:lnTo>
                    <a:pt x="3211" y="1935"/>
                  </a:lnTo>
                  <a:lnTo>
                    <a:pt x="3210" y="1921"/>
                  </a:lnTo>
                  <a:lnTo>
                    <a:pt x="3209" y="1907"/>
                  </a:lnTo>
                  <a:lnTo>
                    <a:pt x="3206" y="1894"/>
                  </a:lnTo>
                  <a:lnTo>
                    <a:pt x="3204" y="1882"/>
                  </a:lnTo>
                  <a:lnTo>
                    <a:pt x="3199" y="1871"/>
                  </a:lnTo>
                  <a:lnTo>
                    <a:pt x="3194" y="1860"/>
                  </a:lnTo>
                  <a:lnTo>
                    <a:pt x="3189" y="1850"/>
                  </a:lnTo>
                  <a:lnTo>
                    <a:pt x="3183" y="1841"/>
                  </a:lnTo>
                  <a:lnTo>
                    <a:pt x="3176" y="1833"/>
                  </a:lnTo>
                  <a:lnTo>
                    <a:pt x="3167" y="1827"/>
                  </a:lnTo>
                  <a:lnTo>
                    <a:pt x="3159" y="1821"/>
                  </a:lnTo>
                  <a:lnTo>
                    <a:pt x="3150" y="1816"/>
                  </a:lnTo>
                  <a:lnTo>
                    <a:pt x="3141" y="1812"/>
                  </a:lnTo>
                  <a:lnTo>
                    <a:pt x="3130" y="1808"/>
                  </a:lnTo>
                  <a:lnTo>
                    <a:pt x="3119" y="1807"/>
                  </a:lnTo>
                  <a:lnTo>
                    <a:pt x="3108" y="1806"/>
                  </a:lnTo>
                  <a:lnTo>
                    <a:pt x="3108" y="1806"/>
                  </a:lnTo>
                  <a:lnTo>
                    <a:pt x="3096" y="1807"/>
                  </a:lnTo>
                  <a:lnTo>
                    <a:pt x="3085" y="1808"/>
                  </a:lnTo>
                  <a:lnTo>
                    <a:pt x="3074" y="1812"/>
                  </a:lnTo>
                  <a:lnTo>
                    <a:pt x="3064" y="1816"/>
                  </a:lnTo>
                  <a:lnTo>
                    <a:pt x="3054" y="1821"/>
                  </a:lnTo>
                  <a:lnTo>
                    <a:pt x="3044" y="1828"/>
                  </a:lnTo>
                  <a:lnTo>
                    <a:pt x="3037" y="1834"/>
                  </a:lnTo>
                  <a:lnTo>
                    <a:pt x="3029" y="1843"/>
                  </a:lnTo>
                  <a:lnTo>
                    <a:pt x="3021" y="1851"/>
                  </a:lnTo>
                  <a:lnTo>
                    <a:pt x="3015" y="1861"/>
                  </a:lnTo>
                  <a:lnTo>
                    <a:pt x="3010" y="1872"/>
                  </a:lnTo>
                  <a:lnTo>
                    <a:pt x="3005" y="1883"/>
                  </a:lnTo>
                  <a:lnTo>
                    <a:pt x="3003" y="1895"/>
                  </a:lnTo>
                  <a:lnTo>
                    <a:pt x="2999" y="1909"/>
                  </a:lnTo>
                  <a:lnTo>
                    <a:pt x="2998" y="1921"/>
                  </a:lnTo>
                  <a:lnTo>
                    <a:pt x="2998" y="1935"/>
                  </a:lnTo>
                  <a:lnTo>
                    <a:pt x="2998" y="1935"/>
                  </a:lnTo>
                  <a:lnTo>
                    <a:pt x="2998" y="1949"/>
                  </a:lnTo>
                  <a:lnTo>
                    <a:pt x="2999" y="1962"/>
                  </a:lnTo>
                  <a:lnTo>
                    <a:pt x="3002" y="1976"/>
                  </a:lnTo>
                  <a:lnTo>
                    <a:pt x="3005" y="1988"/>
                  </a:lnTo>
                  <a:lnTo>
                    <a:pt x="3010" y="1999"/>
                  </a:lnTo>
                  <a:lnTo>
                    <a:pt x="3016" y="2010"/>
                  </a:lnTo>
                  <a:lnTo>
                    <a:pt x="3022" y="2020"/>
                  </a:lnTo>
                  <a:lnTo>
                    <a:pt x="3030" y="2028"/>
                  </a:lnTo>
                  <a:lnTo>
                    <a:pt x="3037" y="2035"/>
                  </a:lnTo>
                  <a:lnTo>
                    <a:pt x="3046" y="2043"/>
                  </a:lnTo>
                  <a:lnTo>
                    <a:pt x="3055" y="2049"/>
                  </a:lnTo>
                  <a:lnTo>
                    <a:pt x="3066" y="2054"/>
                  </a:lnTo>
                  <a:lnTo>
                    <a:pt x="3077" y="2057"/>
                  </a:lnTo>
                  <a:lnTo>
                    <a:pt x="3088" y="2061"/>
                  </a:lnTo>
                  <a:lnTo>
                    <a:pt x="3102" y="2062"/>
                  </a:lnTo>
                  <a:lnTo>
                    <a:pt x="3114" y="2064"/>
                  </a:lnTo>
                  <a:lnTo>
                    <a:pt x="3114" y="2064"/>
                  </a:lnTo>
                  <a:lnTo>
                    <a:pt x="3126" y="2062"/>
                  </a:lnTo>
                  <a:lnTo>
                    <a:pt x="3138" y="2061"/>
                  </a:lnTo>
                  <a:lnTo>
                    <a:pt x="3149" y="2057"/>
                  </a:lnTo>
                  <a:lnTo>
                    <a:pt x="3160" y="2054"/>
                  </a:lnTo>
                  <a:lnTo>
                    <a:pt x="3171" y="2048"/>
                  </a:lnTo>
                  <a:lnTo>
                    <a:pt x="3182" y="2042"/>
                  </a:lnTo>
                  <a:lnTo>
                    <a:pt x="3192" y="2033"/>
                  </a:lnTo>
                  <a:lnTo>
                    <a:pt x="3200" y="2024"/>
                  </a:lnTo>
                  <a:lnTo>
                    <a:pt x="3163" y="1987"/>
                  </a:lnTo>
                  <a:lnTo>
                    <a:pt x="3163" y="1987"/>
                  </a:lnTo>
                  <a:close/>
                  <a:moveTo>
                    <a:pt x="3060" y="1909"/>
                  </a:moveTo>
                  <a:lnTo>
                    <a:pt x="3060" y="1909"/>
                  </a:lnTo>
                  <a:lnTo>
                    <a:pt x="3061" y="1898"/>
                  </a:lnTo>
                  <a:lnTo>
                    <a:pt x="3065" y="1888"/>
                  </a:lnTo>
                  <a:lnTo>
                    <a:pt x="3069" y="1879"/>
                  </a:lnTo>
                  <a:lnTo>
                    <a:pt x="3074" y="1872"/>
                  </a:lnTo>
                  <a:lnTo>
                    <a:pt x="3081" y="1866"/>
                  </a:lnTo>
                  <a:lnTo>
                    <a:pt x="3088" y="1862"/>
                  </a:lnTo>
                  <a:lnTo>
                    <a:pt x="3097" y="1859"/>
                  </a:lnTo>
                  <a:lnTo>
                    <a:pt x="3107" y="1859"/>
                  </a:lnTo>
                  <a:lnTo>
                    <a:pt x="3107" y="1859"/>
                  </a:lnTo>
                  <a:lnTo>
                    <a:pt x="3118" y="1860"/>
                  </a:lnTo>
                  <a:lnTo>
                    <a:pt x="3126" y="1862"/>
                  </a:lnTo>
                  <a:lnTo>
                    <a:pt x="3135" y="1867"/>
                  </a:lnTo>
                  <a:lnTo>
                    <a:pt x="3141" y="1874"/>
                  </a:lnTo>
                  <a:lnTo>
                    <a:pt x="3146" y="1882"/>
                  </a:lnTo>
                  <a:lnTo>
                    <a:pt x="3149" y="1890"/>
                  </a:lnTo>
                  <a:lnTo>
                    <a:pt x="3152" y="1900"/>
                  </a:lnTo>
                  <a:lnTo>
                    <a:pt x="3153" y="1909"/>
                  </a:lnTo>
                  <a:lnTo>
                    <a:pt x="3060" y="1909"/>
                  </a:lnTo>
                  <a:lnTo>
                    <a:pt x="3060" y="1909"/>
                  </a:lnTo>
                  <a:close/>
                  <a:moveTo>
                    <a:pt x="2914" y="1972"/>
                  </a:moveTo>
                  <a:lnTo>
                    <a:pt x="2914" y="1972"/>
                  </a:lnTo>
                  <a:lnTo>
                    <a:pt x="2914" y="1981"/>
                  </a:lnTo>
                  <a:lnTo>
                    <a:pt x="2915" y="1987"/>
                  </a:lnTo>
                  <a:lnTo>
                    <a:pt x="2918" y="1993"/>
                  </a:lnTo>
                  <a:lnTo>
                    <a:pt x="2920" y="1998"/>
                  </a:lnTo>
                  <a:lnTo>
                    <a:pt x="2924" y="2001"/>
                  </a:lnTo>
                  <a:lnTo>
                    <a:pt x="2929" y="2004"/>
                  </a:lnTo>
                  <a:lnTo>
                    <a:pt x="2933" y="2005"/>
                  </a:lnTo>
                  <a:lnTo>
                    <a:pt x="2941" y="2005"/>
                  </a:lnTo>
                  <a:lnTo>
                    <a:pt x="2941" y="2005"/>
                  </a:lnTo>
                  <a:lnTo>
                    <a:pt x="2949" y="2005"/>
                  </a:lnTo>
                  <a:lnTo>
                    <a:pt x="2959" y="2002"/>
                  </a:lnTo>
                  <a:lnTo>
                    <a:pt x="2969" y="1999"/>
                  </a:lnTo>
                  <a:lnTo>
                    <a:pt x="2977" y="1994"/>
                  </a:lnTo>
                  <a:lnTo>
                    <a:pt x="2970" y="2051"/>
                  </a:lnTo>
                  <a:lnTo>
                    <a:pt x="2970" y="2051"/>
                  </a:lnTo>
                  <a:lnTo>
                    <a:pt x="2959" y="2056"/>
                  </a:lnTo>
                  <a:lnTo>
                    <a:pt x="2946" y="2060"/>
                  </a:lnTo>
                  <a:lnTo>
                    <a:pt x="2932" y="2062"/>
                  </a:lnTo>
                  <a:lnTo>
                    <a:pt x="2919" y="2064"/>
                  </a:lnTo>
                  <a:lnTo>
                    <a:pt x="2919" y="2064"/>
                  </a:lnTo>
                  <a:lnTo>
                    <a:pt x="2910" y="2062"/>
                  </a:lnTo>
                  <a:lnTo>
                    <a:pt x="2902" y="2061"/>
                  </a:lnTo>
                  <a:lnTo>
                    <a:pt x="2894" y="2059"/>
                  </a:lnTo>
                  <a:lnTo>
                    <a:pt x="2888" y="2056"/>
                  </a:lnTo>
                  <a:lnTo>
                    <a:pt x="2882" y="2053"/>
                  </a:lnTo>
                  <a:lnTo>
                    <a:pt x="2876" y="2049"/>
                  </a:lnTo>
                  <a:lnTo>
                    <a:pt x="2873" y="2044"/>
                  </a:lnTo>
                  <a:lnTo>
                    <a:pt x="2868" y="2038"/>
                  </a:lnTo>
                  <a:lnTo>
                    <a:pt x="2862" y="2027"/>
                  </a:lnTo>
                  <a:lnTo>
                    <a:pt x="2857" y="2013"/>
                  </a:lnTo>
                  <a:lnTo>
                    <a:pt x="2854" y="2001"/>
                  </a:lnTo>
                  <a:lnTo>
                    <a:pt x="2853" y="1988"/>
                  </a:lnTo>
                  <a:lnTo>
                    <a:pt x="2853" y="1868"/>
                  </a:lnTo>
                  <a:lnTo>
                    <a:pt x="2815" y="1868"/>
                  </a:lnTo>
                  <a:lnTo>
                    <a:pt x="2815" y="1812"/>
                  </a:lnTo>
                  <a:lnTo>
                    <a:pt x="2853" y="1812"/>
                  </a:lnTo>
                  <a:lnTo>
                    <a:pt x="2853" y="1749"/>
                  </a:lnTo>
                  <a:lnTo>
                    <a:pt x="2914" y="1718"/>
                  </a:lnTo>
                  <a:lnTo>
                    <a:pt x="2914" y="1812"/>
                  </a:lnTo>
                  <a:lnTo>
                    <a:pt x="2969" y="1812"/>
                  </a:lnTo>
                  <a:lnTo>
                    <a:pt x="2969" y="1868"/>
                  </a:lnTo>
                  <a:lnTo>
                    <a:pt x="2914" y="1868"/>
                  </a:lnTo>
                  <a:lnTo>
                    <a:pt x="2914" y="1972"/>
                  </a:lnTo>
                  <a:lnTo>
                    <a:pt x="2914" y="1972"/>
                  </a:lnTo>
                  <a:close/>
                  <a:moveTo>
                    <a:pt x="2796" y="2051"/>
                  </a:moveTo>
                  <a:lnTo>
                    <a:pt x="2796" y="2051"/>
                  </a:lnTo>
                  <a:lnTo>
                    <a:pt x="2785" y="2056"/>
                  </a:lnTo>
                  <a:lnTo>
                    <a:pt x="2773" y="2060"/>
                  </a:lnTo>
                  <a:lnTo>
                    <a:pt x="2759" y="2062"/>
                  </a:lnTo>
                  <a:lnTo>
                    <a:pt x="2746" y="2064"/>
                  </a:lnTo>
                  <a:lnTo>
                    <a:pt x="2746" y="2064"/>
                  </a:lnTo>
                  <a:lnTo>
                    <a:pt x="2736" y="2062"/>
                  </a:lnTo>
                  <a:lnTo>
                    <a:pt x="2729" y="2061"/>
                  </a:lnTo>
                  <a:lnTo>
                    <a:pt x="2721" y="2059"/>
                  </a:lnTo>
                  <a:lnTo>
                    <a:pt x="2714" y="2056"/>
                  </a:lnTo>
                  <a:lnTo>
                    <a:pt x="2709" y="2053"/>
                  </a:lnTo>
                  <a:lnTo>
                    <a:pt x="2703" y="2049"/>
                  </a:lnTo>
                  <a:lnTo>
                    <a:pt x="2698" y="2044"/>
                  </a:lnTo>
                  <a:lnTo>
                    <a:pt x="2695" y="2038"/>
                  </a:lnTo>
                  <a:lnTo>
                    <a:pt x="2687" y="2027"/>
                  </a:lnTo>
                  <a:lnTo>
                    <a:pt x="2684" y="2013"/>
                  </a:lnTo>
                  <a:lnTo>
                    <a:pt x="2680" y="2001"/>
                  </a:lnTo>
                  <a:lnTo>
                    <a:pt x="2680" y="1988"/>
                  </a:lnTo>
                  <a:lnTo>
                    <a:pt x="2680" y="1868"/>
                  </a:lnTo>
                  <a:lnTo>
                    <a:pt x="2642" y="1868"/>
                  </a:lnTo>
                  <a:lnTo>
                    <a:pt x="2642" y="1812"/>
                  </a:lnTo>
                  <a:lnTo>
                    <a:pt x="2680" y="1812"/>
                  </a:lnTo>
                  <a:lnTo>
                    <a:pt x="2680" y="1749"/>
                  </a:lnTo>
                  <a:lnTo>
                    <a:pt x="2741" y="1718"/>
                  </a:lnTo>
                  <a:lnTo>
                    <a:pt x="2741" y="1812"/>
                  </a:lnTo>
                  <a:lnTo>
                    <a:pt x="2792" y="1812"/>
                  </a:lnTo>
                  <a:lnTo>
                    <a:pt x="2792" y="1868"/>
                  </a:lnTo>
                  <a:lnTo>
                    <a:pt x="2741" y="1868"/>
                  </a:lnTo>
                  <a:lnTo>
                    <a:pt x="2741" y="1972"/>
                  </a:lnTo>
                  <a:lnTo>
                    <a:pt x="2741" y="1972"/>
                  </a:lnTo>
                  <a:lnTo>
                    <a:pt x="2741" y="1981"/>
                  </a:lnTo>
                  <a:lnTo>
                    <a:pt x="2742" y="1987"/>
                  </a:lnTo>
                  <a:lnTo>
                    <a:pt x="2745" y="1993"/>
                  </a:lnTo>
                  <a:lnTo>
                    <a:pt x="2747" y="1998"/>
                  </a:lnTo>
                  <a:lnTo>
                    <a:pt x="2751" y="2001"/>
                  </a:lnTo>
                  <a:lnTo>
                    <a:pt x="2756" y="2004"/>
                  </a:lnTo>
                  <a:lnTo>
                    <a:pt x="2760" y="2005"/>
                  </a:lnTo>
                  <a:lnTo>
                    <a:pt x="2767" y="2005"/>
                  </a:lnTo>
                  <a:lnTo>
                    <a:pt x="2767" y="2005"/>
                  </a:lnTo>
                  <a:lnTo>
                    <a:pt x="2776" y="2005"/>
                  </a:lnTo>
                  <a:lnTo>
                    <a:pt x="2786" y="2002"/>
                  </a:lnTo>
                  <a:lnTo>
                    <a:pt x="2795" y="1999"/>
                  </a:lnTo>
                  <a:lnTo>
                    <a:pt x="2803" y="1994"/>
                  </a:lnTo>
                  <a:lnTo>
                    <a:pt x="2796" y="2051"/>
                  </a:lnTo>
                  <a:lnTo>
                    <a:pt x="2796" y="2051"/>
                  </a:lnTo>
                  <a:close/>
                  <a:moveTo>
                    <a:pt x="3394" y="1880"/>
                  </a:moveTo>
                  <a:lnTo>
                    <a:pt x="3394" y="1880"/>
                  </a:lnTo>
                  <a:lnTo>
                    <a:pt x="3386" y="1874"/>
                  </a:lnTo>
                  <a:lnTo>
                    <a:pt x="3376" y="1871"/>
                  </a:lnTo>
                  <a:lnTo>
                    <a:pt x="3365" y="1868"/>
                  </a:lnTo>
                  <a:lnTo>
                    <a:pt x="3354" y="1867"/>
                  </a:lnTo>
                  <a:lnTo>
                    <a:pt x="3354" y="1867"/>
                  </a:lnTo>
                  <a:lnTo>
                    <a:pt x="3344" y="1868"/>
                  </a:lnTo>
                  <a:lnTo>
                    <a:pt x="3334" y="1871"/>
                  </a:lnTo>
                  <a:lnTo>
                    <a:pt x="3327" y="1876"/>
                  </a:lnTo>
                  <a:lnTo>
                    <a:pt x="3321" y="1882"/>
                  </a:lnTo>
                  <a:lnTo>
                    <a:pt x="3316" y="1889"/>
                  </a:lnTo>
                  <a:lnTo>
                    <a:pt x="3314" y="1899"/>
                  </a:lnTo>
                  <a:lnTo>
                    <a:pt x="3311" y="1911"/>
                  </a:lnTo>
                  <a:lnTo>
                    <a:pt x="3310" y="1924"/>
                  </a:lnTo>
                  <a:lnTo>
                    <a:pt x="3310" y="2057"/>
                  </a:lnTo>
                  <a:lnTo>
                    <a:pt x="3250" y="2057"/>
                  </a:lnTo>
                  <a:lnTo>
                    <a:pt x="3250" y="1812"/>
                  </a:lnTo>
                  <a:lnTo>
                    <a:pt x="3310" y="1812"/>
                  </a:lnTo>
                  <a:lnTo>
                    <a:pt x="3310" y="1833"/>
                  </a:lnTo>
                  <a:lnTo>
                    <a:pt x="3310" y="1833"/>
                  </a:lnTo>
                  <a:lnTo>
                    <a:pt x="3316" y="1827"/>
                  </a:lnTo>
                  <a:lnTo>
                    <a:pt x="3322" y="1821"/>
                  </a:lnTo>
                  <a:lnTo>
                    <a:pt x="3328" y="1817"/>
                  </a:lnTo>
                  <a:lnTo>
                    <a:pt x="3336" y="1813"/>
                  </a:lnTo>
                  <a:lnTo>
                    <a:pt x="3342" y="1810"/>
                  </a:lnTo>
                  <a:lnTo>
                    <a:pt x="3349" y="1808"/>
                  </a:lnTo>
                  <a:lnTo>
                    <a:pt x="3356" y="1807"/>
                  </a:lnTo>
                  <a:lnTo>
                    <a:pt x="3365" y="1806"/>
                  </a:lnTo>
                  <a:lnTo>
                    <a:pt x="3365" y="1806"/>
                  </a:lnTo>
                  <a:lnTo>
                    <a:pt x="3377" y="1807"/>
                  </a:lnTo>
                  <a:lnTo>
                    <a:pt x="3389" y="1811"/>
                  </a:lnTo>
                  <a:lnTo>
                    <a:pt x="3400" y="1815"/>
                  </a:lnTo>
                  <a:lnTo>
                    <a:pt x="3410" y="1821"/>
                  </a:lnTo>
                  <a:lnTo>
                    <a:pt x="3394" y="1880"/>
                  </a:lnTo>
                  <a:lnTo>
                    <a:pt x="3394" y="1880"/>
                  </a:lnTo>
                  <a:close/>
                  <a:moveTo>
                    <a:pt x="654" y="1746"/>
                  </a:moveTo>
                  <a:lnTo>
                    <a:pt x="654" y="1777"/>
                  </a:lnTo>
                  <a:lnTo>
                    <a:pt x="594" y="1777"/>
                  </a:lnTo>
                  <a:lnTo>
                    <a:pt x="594" y="1716"/>
                  </a:lnTo>
                  <a:lnTo>
                    <a:pt x="654" y="1716"/>
                  </a:lnTo>
                  <a:lnTo>
                    <a:pt x="654" y="1746"/>
                  </a:lnTo>
                  <a:lnTo>
                    <a:pt x="654" y="1746"/>
                  </a:lnTo>
                  <a:close/>
                  <a:moveTo>
                    <a:pt x="1076" y="1812"/>
                  </a:moveTo>
                  <a:lnTo>
                    <a:pt x="1137" y="1812"/>
                  </a:lnTo>
                  <a:lnTo>
                    <a:pt x="1137" y="1922"/>
                  </a:lnTo>
                  <a:lnTo>
                    <a:pt x="1137" y="2057"/>
                  </a:lnTo>
                  <a:lnTo>
                    <a:pt x="1076" y="2057"/>
                  </a:lnTo>
                  <a:lnTo>
                    <a:pt x="1076" y="1812"/>
                  </a:lnTo>
                  <a:lnTo>
                    <a:pt x="1076" y="1812"/>
                  </a:lnTo>
                  <a:close/>
                  <a:moveTo>
                    <a:pt x="1137" y="1746"/>
                  </a:moveTo>
                  <a:lnTo>
                    <a:pt x="1137" y="1777"/>
                  </a:lnTo>
                  <a:lnTo>
                    <a:pt x="1076" y="1777"/>
                  </a:lnTo>
                  <a:lnTo>
                    <a:pt x="1076" y="1716"/>
                  </a:lnTo>
                  <a:lnTo>
                    <a:pt x="1137" y="1716"/>
                  </a:lnTo>
                  <a:lnTo>
                    <a:pt x="1137" y="1746"/>
                  </a:lnTo>
                  <a:lnTo>
                    <a:pt x="1137" y="1746"/>
                  </a:lnTo>
                  <a:close/>
                  <a:moveTo>
                    <a:pt x="2804" y="2259"/>
                  </a:moveTo>
                  <a:lnTo>
                    <a:pt x="2804" y="2259"/>
                  </a:lnTo>
                  <a:lnTo>
                    <a:pt x="2798" y="2254"/>
                  </a:lnTo>
                  <a:lnTo>
                    <a:pt x="2792" y="2249"/>
                  </a:lnTo>
                  <a:lnTo>
                    <a:pt x="2786" y="2245"/>
                  </a:lnTo>
                  <a:lnTo>
                    <a:pt x="2779" y="2242"/>
                  </a:lnTo>
                  <a:lnTo>
                    <a:pt x="2773" y="2239"/>
                  </a:lnTo>
                  <a:lnTo>
                    <a:pt x="2765" y="2238"/>
                  </a:lnTo>
                  <a:lnTo>
                    <a:pt x="2749" y="2236"/>
                  </a:lnTo>
                  <a:lnTo>
                    <a:pt x="2749" y="2236"/>
                  </a:lnTo>
                  <a:lnTo>
                    <a:pt x="2738" y="2237"/>
                  </a:lnTo>
                  <a:lnTo>
                    <a:pt x="2729" y="2238"/>
                  </a:lnTo>
                  <a:lnTo>
                    <a:pt x="2719" y="2242"/>
                  </a:lnTo>
                  <a:lnTo>
                    <a:pt x="2709" y="2245"/>
                  </a:lnTo>
                  <a:lnTo>
                    <a:pt x="2701" y="2250"/>
                  </a:lnTo>
                  <a:lnTo>
                    <a:pt x="2693" y="2255"/>
                  </a:lnTo>
                  <a:lnTo>
                    <a:pt x="2686" y="2262"/>
                  </a:lnTo>
                  <a:lnTo>
                    <a:pt x="2679" y="2270"/>
                  </a:lnTo>
                  <a:lnTo>
                    <a:pt x="2674" y="2278"/>
                  </a:lnTo>
                  <a:lnTo>
                    <a:pt x="2668" y="2288"/>
                  </a:lnTo>
                  <a:lnTo>
                    <a:pt x="2664" y="2298"/>
                  </a:lnTo>
                  <a:lnTo>
                    <a:pt x="2660" y="2310"/>
                  </a:lnTo>
                  <a:lnTo>
                    <a:pt x="2657" y="2321"/>
                  </a:lnTo>
                  <a:lnTo>
                    <a:pt x="2656" y="2334"/>
                  </a:lnTo>
                  <a:lnTo>
                    <a:pt x="2654" y="2348"/>
                  </a:lnTo>
                  <a:lnTo>
                    <a:pt x="2653" y="2362"/>
                  </a:lnTo>
                  <a:lnTo>
                    <a:pt x="2653" y="2362"/>
                  </a:lnTo>
                  <a:lnTo>
                    <a:pt x="2654" y="2377"/>
                  </a:lnTo>
                  <a:lnTo>
                    <a:pt x="2656" y="2391"/>
                  </a:lnTo>
                  <a:lnTo>
                    <a:pt x="2657" y="2404"/>
                  </a:lnTo>
                  <a:lnTo>
                    <a:pt x="2660" y="2417"/>
                  </a:lnTo>
                  <a:lnTo>
                    <a:pt x="2663" y="2428"/>
                  </a:lnTo>
                  <a:lnTo>
                    <a:pt x="2668" y="2439"/>
                  </a:lnTo>
                  <a:lnTo>
                    <a:pt x="2673" y="2449"/>
                  </a:lnTo>
                  <a:lnTo>
                    <a:pt x="2679" y="2458"/>
                  </a:lnTo>
                  <a:lnTo>
                    <a:pt x="2685" y="2466"/>
                  </a:lnTo>
                  <a:lnTo>
                    <a:pt x="2692" y="2472"/>
                  </a:lnTo>
                  <a:lnTo>
                    <a:pt x="2699" y="2478"/>
                  </a:lnTo>
                  <a:lnTo>
                    <a:pt x="2708" y="2483"/>
                  </a:lnTo>
                  <a:lnTo>
                    <a:pt x="2718" y="2488"/>
                  </a:lnTo>
                  <a:lnTo>
                    <a:pt x="2728" y="2491"/>
                  </a:lnTo>
                  <a:lnTo>
                    <a:pt x="2737" y="2492"/>
                  </a:lnTo>
                  <a:lnTo>
                    <a:pt x="2748" y="2493"/>
                  </a:lnTo>
                  <a:lnTo>
                    <a:pt x="2748" y="2493"/>
                  </a:lnTo>
                  <a:lnTo>
                    <a:pt x="2756" y="2492"/>
                  </a:lnTo>
                  <a:lnTo>
                    <a:pt x="2764" y="2491"/>
                  </a:lnTo>
                  <a:lnTo>
                    <a:pt x="2771" y="2489"/>
                  </a:lnTo>
                  <a:lnTo>
                    <a:pt x="2777" y="2487"/>
                  </a:lnTo>
                  <a:lnTo>
                    <a:pt x="2785" y="2483"/>
                  </a:lnTo>
                  <a:lnTo>
                    <a:pt x="2792" y="2480"/>
                  </a:lnTo>
                  <a:lnTo>
                    <a:pt x="2798" y="2475"/>
                  </a:lnTo>
                  <a:lnTo>
                    <a:pt x="2804" y="2469"/>
                  </a:lnTo>
                  <a:lnTo>
                    <a:pt x="2804" y="2487"/>
                  </a:lnTo>
                  <a:lnTo>
                    <a:pt x="2865" y="2487"/>
                  </a:lnTo>
                  <a:lnTo>
                    <a:pt x="2865" y="2139"/>
                  </a:lnTo>
                  <a:lnTo>
                    <a:pt x="2804" y="2170"/>
                  </a:lnTo>
                  <a:lnTo>
                    <a:pt x="2804" y="2259"/>
                  </a:lnTo>
                  <a:lnTo>
                    <a:pt x="2804" y="2259"/>
                  </a:lnTo>
                  <a:close/>
                  <a:moveTo>
                    <a:pt x="2762" y="2437"/>
                  </a:moveTo>
                  <a:lnTo>
                    <a:pt x="2762" y="2437"/>
                  </a:lnTo>
                  <a:lnTo>
                    <a:pt x="2753" y="2436"/>
                  </a:lnTo>
                  <a:lnTo>
                    <a:pt x="2746" y="2433"/>
                  </a:lnTo>
                  <a:lnTo>
                    <a:pt x="2737" y="2430"/>
                  </a:lnTo>
                  <a:lnTo>
                    <a:pt x="2730" y="2422"/>
                  </a:lnTo>
                  <a:lnTo>
                    <a:pt x="2724" y="2413"/>
                  </a:lnTo>
                  <a:lnTo>
                    <a:pt x="2719" y="2399"/>
                  </a:lnTo>
                  <a:lnTo>
                    <a:pt x="2717" y="2382"/>
                  </a:lnTo>
                  <a:lnTo>
                    <a:pt x="2715" y="2360"/>
                  </a:lnTo>
                  <a:lnTo>
                    <a:pt x="2715" y="2360"/>
                  </a:lnTo>
                  <a:lnTo>
                    <a:pt x="2717" y="2342"/>
                  </a:lnTo>
                  <a:lnTo>
                    <a:pt x="2719" y="2326"/>
                  </a:lnTo>
                  <a:lnTo>
                    <a:pt x="2724" y="2314"/>
                  </a:lnTo>
                  <a:lnTo>
                    <a:pt x="2730" y="2305"/>
                  </a:lnTo>
                  <a:lnTo>
                    <a:pt x="2737" y="2299"/>
                  </a:lnTo>
                  <a:lnTo>
                    <a:pt x="2745" y="2294"/>
                  </a:lnTo>
                  <a:lnTo>
                    <a:pt x="2753" y="2293"/>
                  </a:lnTo>
                  <a:lnTo>
                    <a:pt x="2760" y="2292"/>
                  </a:lnTo>
                  <a:lnTo>
                    <a:pt x="2760" y="2292"/>
                  </a:lnTo>
                  <a:lnTo>
                    <a:pt x="2769" y="2293"/>
                  </a:lnTo>
                  <a:lnTo>
                    <a:pt x="2776" y="2294"/>
                  </a:lnTo>
                  <a:lnTo>
                    <a:pt x="2782" y="2297"/>
                  </a:lnTo>
                  <a:lnTo>
                    <a:pt x="2788" y="2300"/>
                  </a:lnTo>
                  <a:lnTo>
                    <a:pt x="2793" y="2304"/>
                  </a:lnTo>
                  <a:lnTo>
                    <a:pt x="2798" y="2308"/>
                  </a:lnTo>
                  <a:lnTo>
                    <a:pt x="2804" y="2316"/>
                  </a:lnTo>
                  <a:lnTo>
                    <a:pt x="2804" y="2413"/>
                  </a:lnTo>
                  <a:lnTo>
                    <a:pt x="2804" y="2413"/>
                  </a:lnTo>
                  <a:lnTo>
                    <a:pt x="2797" y="2421"/>
                  </a:lnTo>
                  <a:lnTo>
                    <a:pt x="2788" y="2428"/>
                  </a:lnTo>
                  <a:lnTo>
                    <a:pt x="2782" y="2432"/>
                  </a:lnTo>
                  <a:lnTo>
                    <a:pt x="2776" y="2434"/>
                  </a:lnTo>
                  <a:lnTo>
                    <a:pt x="2769" y="2436"/>
                  </a:lnTo>
                  <a:lnTo>
                    <a:pt x="2762" y="2437"/>
                  </a:lnTo>
                  <a:lnTo>
                    <a:pt x="2762" y="2437"/>
                  </a:lnTo>
                  <a:lnTo>
                    <a:pt x="2762" y="2437"/>
                  </a:lnTo>
                  <a:close/>
                  <a:moveTo>
                    <a:pt x="742" y="2310"/>
                  </a:moveTo>
                  <a:lnTo>
                    <a:pt x="742" y="2310"/>
                  </a:lnTo>
                  <a:lnTo>
                    <a:pt x="734" y="2305"/>
                  </a:lnTo>
                  <a:lnTo>
                    <a:pt x="724" y="2300"/>
                  </a:lnTo>
                  <a:lnTo>
                    <a:pt x="713" y="2298"/>
                  </a:lnTo>
                  <a:lnTo>
                    <a:pt x="702" y="2297"/>
                  </a:lnTo>
                  <a:lnTo>
                    <a:pt x="702" y="2297"/>
                  </a:lnTo>
                  <a:lnTo>
                    <a:pt x="692" y="2298"/>
                  </a:lnTo>
                  <a:lnTo>
                    <a:pt x="682" y="2300"/>
                  </a:lnTo>
                  <a:lnTo>
                    <a:pt x="675" y="2305"/>
                  </a:lnTo>
                  <a:lnTo>
                    <a:pt x="669" y="2311"/>
                  </a:lnTo>
                  <a:lnTo>
                    <a:pt x="664" y="2319"/>
                  </a:lnTo>
                  <a:lnTo>
                    <a:pt x="662" y="2328"/>
                  </a:lnTo>
                  <a:lnTo>
                    <a:pt x="659" y="2341"/>
                  </a:lnTo>
                  <a:lnTo>
                    <a:pt x="658" y="2354"/>
                  </a:lnTo>
                  <a:lnTo>
                    <a:pt x="658" y="2487"/>
                  </a:lnTo>
                  <a:lnTo>
                    <a:pt x="598" y="2487"/>
                  </a:lnTo>
                  <a:lnTo>
                    <a:pt x="598" y="2242"/>
                  </a:lnTo>
                  <a:lnTo>
                    <a:pt x="658" y="2242"/>
                  </a:lnTo>
                  <a:lnTo>
                    <a:pt x="658" y="2262"/>
                  </a:lnTo>
                  <a:lnTo>
                    <a:pt x="658" y="2262"/>
                  </a:lnTo>
                  <a:lnTo>
                    <a:pt x="664" y="2256"/>
                  </a:lnTo>
                  <a:lnTo>
                    <a:pt x="670" y="2250"/>
                  </a:lnTo>
                  <a:lnTo>
                    <a:pt x="676" y="2247"/>
                  </a:lnTo>
                  <a:lnTo>
                    <a:pt x="684" y="2243"/>
                  </a:lnTo>
                  <a:lnTo>
                    <a:pt x="690" y="2239"/>
                  </a:lnTo>
                  <a:lnTo>
                    <a:pt x="697" y="2238"/>
                  </a:lnTo>
                  <a:lnTo>
                    <a:pt x="706" y="2237"/>
                  </a:lnTo>
                  <a:lnTo>
                    <a:pt x="713" y="2236"/>
                  </a:lnTo>
                  <a:lnTo>
                    <a:pt x="713" y="2236"/>
                  </a:lnTo>
                  <a:lnTo>
                    <a:pt x="725" y="2237"/>
                  </a:lnTo>
                  <a:lnTo>
                    <a:pt x="737" y="2240"/>
                  </a:lnTo>
                  <a:lnTo>
                    <a:pt x="750" y="2245"/>
                  </a:lnTo>
                  <a:lnTo>
                    <a:pt x="759" y="2251"/>
                  </a:lnTo>
                  <a:lnTo>
                    <a:pt x="742" y="2310"/>
                  </a:lnTo>
                  <a:lnTo>
                    <a:pt x="742" y="2310"/>
                  </a:lnTo>
                  <a:close/>
                  <a:moveTo>
                    <a:pt x="266" y="2242"/>
                  </a:moveTo>
                  <a:lnTo>
                    <a:pt x="325" y="2242"/>
                  </a:lnTo>
                  <a:lnTo>
                    <a:pt x="256" y="2487"/>
                  </a:lnTo>
                  <a:lnTo>
                    <a:pt x="204" y="2487"/>
                  </a:lnTo>
                  <a:lnTo>
                    <a:pt x="177" y="2386"/>
                  </a:lnTo>
                  <a:lnTo>
                    <a:pt x="177" y="2386"/>
                  </a:lnTo>
                  <a:lnTo>
                    <a:pt x="163" y="2332"/>
                  </a:lnTo>
                  <a:lnTo>
                    <a:pt x="163" y="2332"/>
                  </a:lnTo>
                  <a:lnTo>
                    <a:pt x="157" y="2358"/>
                  </a:lnTo>
                  <a:lnTo>
                    <a:pt x="150" y="2387"/>
                  </a:lnTo>
                  <a:lnTo>
                    <a:pt x="122" y="2487"/>
                  </a:lnTo>
                  <a:lnTo>
                    <a:pt x="69" y="2487"/>
                  </a:lnTo>
                  <a:lnTo>
                    <a:pt x="69" y="2486"/>
                  </a:lnTo>
                  <a:lnTo>
                    <a:pt x="0" y="2242"/>
                  </a:lnTo>
                  <a:lnTo>
                    <a:pt x="63" y="2242"/>
                  </a:lnTo>
                  <a:lnTo>
                    <a:pt x="85" y="2333"/>
                  </a:lnTo>
                  <a:lnTo>
                    <a:pt x="85" y="2333"/>
                  </a:lnTo>
                  <a:lnTo>
                    <a:pt x="91" y="2362"/>
                  </a:lnTo>
                  <a:lnTo>
                    <a:pt x="97" y="2393"/>
                  </a:lnTo>
                  <a:lnTo>
                    <a:pt x="97" y="2393"/>
                  </a:lnTo>
                  <a:lnTo>
                    <a:pt x="105" y="2362"/>
                  </a:lnTo>
                  <a:lnTo>
                    <a:pt x="112" y="2332"/>
                  </a:lnTo>
                  <a:lnTo>
                    <a:pt x="138" y="2242"/>
                  </a:lnTo>
                  <a:lnTo>
                    <a:pt x="190" y="2242"/>
                  </a:lnTo>
                  <a:lnTo>
                    <a:pt x="216" y="2332"/>
                  </a:lnTo>
                  <a:lnTo>
                    <a:pt x="216" y="2332"/>
                  </a:lnTo>
                  <a:lnTo>
                    <a:pt x="223" y="2361"/>
                  </a:lnTo>
                  <a:lnTo>
                    <a:pt x="230" y="2394"/>
                  </a:lnTo>
                  <a:lnTo>
                    <a:pt x="230" y="2394"/>
                  </a:lnTo>
                  <a:lnTo>
                    <a:pt x="235" y="2366"/>
                  </a:lnTo>
                  <a:lnTo>
                    <a:pt x="243" y="2332"/>
                  </a:lnTo>
                  <a:lnTo>
                    <a:pt x="266" y="2242"/>
                  </a:lnTo>
                  <a:lnTo>
                    <a:pt x="266" y="2242"/>
                  </a:lnTo>
                  <a:close/>
                  <a:moveTo>
                    <a:pt x="448" y="2236"/>
                  </a:moveTo>
                  <a:lnTo>
                    <a:pt x="448" y="2236"/>
                  </a:lnTo>
                  <a:lnTo>
                    <a:pt x="438" y="2237"/>
                  </a:lnTo>
                  <a:lnTo>
                    <a:pt x="425" y="2238"/>
                  </a:lnTo>
                  <a:lnTo>
                    <a:pt x="414" y="2242"/>
                  </a:lnTo>
                  <a:lnTo>
                    <a:pt x="405" y="2245"/>
                  </a:lnTo>
                  <a:lnTo>
                    <a:pt x="395" y="2250"/>
                  </a:lnTo>
                  <a:lnTo>
                    <a:pt x="385" y="2256"/>
                  </a:lnTo>
                  <a:lnTo>
                    <a:pt x="377" y="2264"/>
                  </a:lnTo>
                  <a:lnTo>
                    <a:pt x="369" y="2272"/>
                  </a:lnTo>
                  <a:lnTo>
                    <a:pt x="362" y="2281"/>
                  </a:lnTo>
                  <a:lnTo>
                    <a:pt x="356" y="2290"/>
                  </a:lnTo>
                  <a:lnTo>
                    <a:pt x="350" y="2301"/>
                  </a:lnTo>
                  <a:lnTo>
                    <a:pt x="346" y="2312"/>
                  </a:lnTo>
                  <a:lnTo>
                    <a:pt x="342" y="2325"/>
                  </a:lnTo>
                  <a:lnTo>
                    <a:pt x="340" y="2337"/>
                  </a:lnTo>
                  <a:lnTo>
                    <a:pt x="338" y="2350"/>
                  </a:lnTo>
                  <a:lnTo>
                    <a:pt x="338" y="2365"/>
                  </a:lnTo>
                  <a:lnTo>
                    <a:pt x="338" y="2365"/>
                  </a:lnTo>
                  <a:lnTo>
                    <a:pt x="338" y="2378"/>
                  </a:lnTo>
                  <a:lnTo>
                    <a:pt x="340" y="2392"/>
                  </a:lnTo>
                  <a:lnTo>
                    <a:pt x="342" y="2404"/>
                  </a:lnTo>
                  <a:lnTo>
                    <a:pt x="346" y="2416"/>
                  </a:lnTo>
                  <a:lnTo>
                    <a:pt x="350" y="2427"/>
                  </a:lnTo>
                  <a:lnTo>
                    <a:pt x="356" y="2438"/>
                  </a:lnTo>
                  <a:lnTo>
                    <a:pt x="362" y="2448"/>
                  </a:lnTo>
                  <a:lnTo>
                    <a:pt x="369" y="2456"/>
                  </a:lnTo>
                  <a:lnTo>
                    <a:pt x="377" y="2465"/>
                  </a:lnTo>
                  <a:lnTo>
                    <a:pt x="385" y="2472"/>
                  </a:lnTo>
                  <a:lnTo>
                    <a:pt x="395" y="2478"/>
                  </a:lnTo>
                  <a:lnTo>
                    <a:pt x="405" y="2483"/>
                  </a:lnTo>
                  <a:lnTo>
                    <a:pt x="414" y="2487"/>
                  </a:lnTo>
                  <a:lnTo>
                    <a:pt x="425" y="2491"/>
                  </a:lnTo>
                  <a:lnTo>
                    <a:pt x="438" y="2492"/>
                  </a:lnTo>
                  <a:lnTo>
                    <a:pt x="448" y="2493"/>
                  </a:lnTo>
                  <a:lnTo>
                    <a:pt x="448" y="2493"/>
                  </a:lnTo>
                  <a:lnTo>
                    <a:pt x="461" y="2492"/>
                  </a:lnTo>
                  <a:lnTo>
                    <a:pt x="473" y="2491"/>
                  </a:lnTo>
                  <a:lnTo>
                    <a:pt x="484" y="2487"/>
                  </a:lnTo>
                  <a:lnTo>
                    <a:pt x="494" y="2483"/>
                  </a:lnTo>
                  <a:lnTo>
                    <a:pt x="503" y="2478"/>
                  </a:lnTo>
                  <a:lnTo>
                    <a:pt x="513" y="2472"/>
                  </a:lnTo>
                  <a:lnTo>
                    <a:pt x="522" y="2465"/>
                  </a:lnTo>
                  <a:lnTo>
                    <a:pt x="529" y="2456"/>
                  </a:lnTo>
                  <a:lnTo>
                    <a:pt x="536" y="2448"/>
                  </a:lnTo>
                  <a:lnTo>
                    <a:pt x="542" y="2438"/>
                  </a:lnTo>
                  <a:lnTo>
                    <a:pt x="547" y="2427"/>
                  </a:lnTo>
                  <a:lnTo>
                    <a:pt x="552" y="2416"/>
                  </a:lnTo>
                  <a:lnTo>
                    <a:pt x="556" y="2404"/>
                  </a:lnTo>
                  <a:lnTo>
                    <a:pt x="558" y="2392"/>
                  </a:lnTo>
                  <a:lnTo>
                    <a:pt x="561" y="2378"/>
                  </a:lnTo>
                  <a:lnTo>
                    <a:pt x="561" y="2365"/>
                  </a:lnTo>
                  <a:lnTo>
                    <a:pt x="561" y="2365"/>
                  </a:lnTo>
                  <a:lnTo>
                    <a:pt x="561" y="2350"/>
                  </a:lnTo>
                  <a:lnTo>
                    <a:pt x="558" y="2337"/>
                  </a:lnTo>
                  <a:lnTo>
                    <a:pt x="556" y="2325"/>
                  </a:lnTo>
                  <a:lnTo>
                    <a:pt x="552" y="2312"/>
                  </a:lnTo>
                  <a:lnTo>
                    <a:pt x="547" y="2301"/>
                  </a:lnTo>
                  <a:lnTo>
                    <a:pt x="542" y="2290"/>
                  </a:lnTo>
                  <a:lnTo>
                    <a:pt x="536" y="2281"/>
                  </a:lnTo>
                  <a:lnTo>
                    <a:pt x="529" y="2272"/>
                  </a:lnTo>
                  <a:lnTo>
                    <a:pt x="522" y="2264"/>
                  </a:lnTo>
                  <a:lnTo>
                    <a:pt x="513" y="2256"/>
                  </a:lnTo>
                  <a:lnTo>
                    <a:pt x="503" y="2250"/>
                  </a:lnTo>
                  <a:lnTo>
                    <a:pt x="494" y="2245"/>
                  </a:lnTo>
                  <a:lnTo>
                    <a:pt x="484" y="2242"/>
                  </a:lnTo>
                  <a:lnTo>
                    <a:pt x="473" y="2238"/>
                  </a:lnTo>
                  <a:lnTo>
                    <a:pt x="461" y="2237"/>
                  </a:lnTo>
                  <a:lnTo>
                    <a:pt x="448" y="2236"/>
                  </a:lnTo>
                  <a:lnTo>
                    <a:pt x="448" y="2236"/>
                  </a:lnTo>
                  <a:lnTo>
                    <a:pt x="448" y="2236"/>
                  </a:lnTo>
                  <a:close/>
                  <a:moveTo>
                    <a:pt x="448" y="2436"/>
                  </a:moveTo>
                  <a:lnTo>
                    <a:pt x="448" y="2436"/>
                  </a:lnTo>
                  <a:lnTo>
                    <a:pt x="438" y="2434"/>
                  </a:lnTo>
                  <a:lnTo>
                    <a:pt x="428" y="2431"/>
                  </a:lnTo>
                  <a:lnTo>
                    <a:pt x="420" y="2425"/>
                  </a:lnTo>
                  <a:lnTo>
                    <a:pt x="413" y="2416"/>
                  </a:lnTo>
                  <a:lnTo>
                    <a:pt x="407" y="2406"/>
                  </a:lnTo>
                  <a:lnTo>
                    <a:pt x="402" y="2394"/>
                  </a:lnTo>
                  <a:lnTo>
                    <a:pt x="400" y="2380"/>
                  </a:lnTo>
                  <a:lnTo>
                    <a:pt x="400" y="2365"/>
                  </a:lnTo>
                  <a:lnTo>
                    <a:pt x="400" y="2365"/>
                  </a:lnTo>
                  <a:lnTo>
                    <a:pt x="400" y="2349"/>
                  </a:lnTo>
                  <a:lnTo>
                    <a:pt x="402" y="2334"/>
                  </a:lnTo>
                  <a:lnTo>
                    <a:pt x="407" y="2323"/>
                  </a:lnTo>
                  <a:lnTo>
                    <a:pt x="413" y="2312"/>
                  </a:lnTo>
                  <a:lnTo>
                    <a:pt x="420" y="2304"/>
                  </a:lnTo>
                  <a:lnTo>
                    <a:pt x="428" y="2298"/>
                  </a:lnTo>
                  <a:lnTo>
                    <a:pt x="438" y="2294"/>
                  </a:lnTo>
                  <a:lnTo>
                    <a:pt x="448" y="2293"/>
                  </a:lnTo>
                  <a:lnTo>
                    <a:pt x="448" y="2293"/>
                  </a:lnTo>
                  <a:lnTo>
                    <a:pt x="459" y="2294"/>
                  </a:lnTo>
                  <a:lnTo>
                    <a:pt x="469" y="2298"/>
                  </a:lnTo>
                  <a:lnTo>
                    <a:pt x="478" y="2304"/>
                  </a:lnTo>
                  <a:lnTo>
                    <a:pt x="485" y="2312"/>
                  </a:lnTo>
                  <a:lnTo>
                    <a:pt x="491" y="2323"/>
                  </a:lnTo>
                  <a:lnTo>
                    <a:pt x="495" y="2334"/>
                  </a:lnTo>
                  <a:lnTo>
                    <a:pt x="497" y="2349"/>
                  </a:lnTo>
                  <a:lnTo>
                    <a:pt x="498" y="2365"/>
                  </a:lnTo>
                  <a:lnTo>
                    <a:pt x="498" y="2365"/>
                  </a:lnTo>
                  <a:lnTo>
                    <a:pt x="497" y="2380"/>
                  </a:lnTo>
                  <a:lnTo>
                    <a:pt x="495" y="2394"/>
                  </a:lnTo>
                  <a:lnTo>
                    <a:pt x="491" y="2406"/>
                  </a:lnTo>
                  <a:lnTo>
                    <a:pt x="485" y="2416"/>
                  </a:lnTo>
                  <a:lnTo>
                    <a:pt x="478" y="2425"/>
                  </a:lnTo>
                  <a:lnTo>
                    <a:pt x="469" y="2431"/>
                  </a:lnTo>
                  <a:lnTo>
                    <a:pt x="459" y="2434"/>
                  </a:lnTo>
                  <a:lnTo>
                    <a:pt x="448" y="2436"/>
                  </a:lnTo>
                  <a:lnTo>
                    <a:pt x="448" y="2436"/>
                  </a:lnTo>
                  <a:lnTo>
                    <a:pt x="448" y="2436"/>
                  </a:lnTo>
                  <a:close/>
                  <a:moveTo>
                    <a:pt x="2506" y="2310"/>
                  </a:moveTo>
                  <a:lnTo>
                    <a:pt x="2506" y="2310"/>
                  </a:lnTo>
                  <a:lnTo>
                    <a:pt x="2496" y="2305"/>
                  </a:lnTo>
                  <a:lnTo>
                    <a:pt x="2486" y="2300"/>
                  </a:lnTo>
                  <a:lnTo>
                    <a:pt x="2475" y="2298"/>
                  </a:lnTo>
                  <a:lnTo>
                    <a:pt x="2465" y="2297"/>
                  </a:lnTo>
                  <a:lnTo>
                    <a:pt x="2465" y="2297"/>
                  </a:lnTo>
                  <a:lnTo>
                    <a:pt x="2455" y="2298"/>
                  </a:lnTo>
                  <a:lnTo>
                    <a:pt x="2446" y="2300"/>
                  </a:lnTo>
                  <a:lnTo>
                    <a:pt x="2439" y="2305"/>
                  </a:lnTo>
                  <a:lnTo>
                    <a:pt x="2433" y="2311"/>
                  </a:lnTo>
                  <a:lnTo>
                    <a:pt x="2428" y="2319"/>
                  </a:lnTo>
                  <a:lnTo>
                    <a:pt x="2424" y="2328"/>
                  </a:lnTo>
                  <a:lnTo>
                    <a:pt x="2422" y="2341"/>
                  </a:lnTo>
                  <a:lnTo>
                    <a:pt x="2422" y="2354"/>
                  </a:lnTo>
                  <a:lnTo>
                    <a:pt x="2422" y="2487"/>
                  </a:lnTo>
                  <a:lnTo>
                    <a:pt x="2361" y="2487"/>
                  </a:lnTo>
                  <a:lnTo>
                    <a:pt x="2361" y="2242"/>
                  </a:lnTo>
                  <a:lnTo>
                    <a:pt x="2422" y="2242"/>
                  </a:lnTo>
                  <a:lnTo>
                    <a:pt x="2422" y="2262"/>
                  </a:lnTo>
                  <a:lnTo>
                    <a:pt x="2422" y="2262"/>
                  </a:lnTo>
                  <a:lnTo>
                    <a:pt x="2426" y="2256"/>
                  </a:lnTo>
                  <a:lnTo>
                    <a:pt x="2433" y="2250"/>
                  </a:lnTo>
                  <a:lnTo>
                    <a:pt x="2439" y="2247"/>
                  </a:lnTo>
                  <a:lnTo>
                    <a:pt x="2446" y="2243"/>
                  </a:lnTo>
                  <a:lnTo>
                    <a:pt x="2453" y="2239"/>
                  </a:lnTo>
                  <a:lnTo>
                    <a:pt x="2461" y="2238"/>
                  </a:lnTo>
                  <a:lnTo>
                    <a:pt x="2468" y="2237"/>
                  </a:lnTo>
                  <a:lnTo>
                    <a:pt x="2475" y="2236"/>
                  </a:lnTo>
                  <a:lnTo>
                    <a:pt x="2475" y="2236"/>
                  </a:lnTo>
                  <a:lnTo>
                    <a:pt x="2487" y="2237"/>
                  </a:lnTo>
                  <a:lnTo>
                    <a:pt x="2500" y="2240"/>
                  </a:lnTo>
                  <a:lnTo>
                    <a:pt x="2512" y="2245"/>
                  </a:lnTo>
                  <a:lnTo>
                    <a:pt x="2522" y="2251"/>
                  </a:lnTo>
                  <a:lnTo>
                    <a:pt x="2506" y="2310"/>
                  </a:lnTo>
                  <a:lnTo>
                    <a:pt x="2506" y="2310"/>
                  </a:lnTo>
                  <a:close/>
                  <a:moveTo>
                    <a:pt x="2028" y="2242"/>
                  </a:moveTo>
                  <a:lnTo>
                    <a:pt x="2088" y="2242"/>
                  </a:lnTo>
                  <a:lnTo>
                    <a:pt x="2018" y="2487"/>
                  </a:lnTo>
                  <a:lnTo>
                    <a:pt x="1966" y="2487"/>
                  </a:lnTo>
                  <a:lnTo>
                    <a:pt x="1939" y="2386"/>
                  </a:lnTo>
                  <a:lnTo>
                    <a:pt x="1939" y="2386"/>
                  </a:lnTo>
                  <a:lnTo>
                    <a:pt x="1926" y="2332"/>
                  </a:lnTo>
                  <a:lnTo>
                    <a:pt x="1926" y="2332"/>
                  </a:lnTo>
                  <a:lnTo>
                    <a:pt x="1919" y="2358"/>
                  </a:lnTo>
                  <a:lnTo>
                    <a:pt x="1912" y="2387"/>
                  </a:lnTo>
                  <a:lnTo>
                    <a:pt x="1885" y="2487"/>
                  </a:lnTo>
                  <a:lnTo>
                    <a:pt x="1833" y="2487"/>
                  </a:lnTo>
                  <a:lnTo>
                    <a:pt x="1832" y="2486"/>
                  </a:lnTo>
                  <a:lnTo>
                    <a:pt x="1763" y="2242"/>
                  </a:lnTo>
                  <a:lnTo>
                    <a:pt x="1826" y="2242"/>
                  </a:lnTo>
                  <a:lnTo>
                    <a:pt x="1849" y="2333"/>
                  </a:lnTo>
                  <a:lnTo>
                    <a:pt x="1849" y="2333"/>
                  </a:lnTo>
                  <a:lnTo>
                    <a:pt x="1855" y="2362"/>
                  </a:lnTo>
                  <a:lnTo>
                    <a:pt x="1861" y="2393"/>
                  </a:lnTo>
                  <a:lnTo>
                    <a:pt x="1861" y="2393"/>
                  </a:lnTo>
                  <a:lnTo>
                    <a:pt x="1867" y="2362"/>
                  </a:lnTo>
                  <a:lnTo>
                    <a:pt x="1876" y="2332"/>
                  </a:lnTo>
                  <a:lnTo>
                    <a:pt x="1901" y="2242"/>
                  </a:lnTo>
                  <a:lnTo>
                    <a:pt x="1952" y="2242"/>
                  </a:lnTo>
                  <a:lnTo>
                    <a:pt x="1978" y="2332"/>
                  </a:lnTo>
                  <a:lnTo>
                    <a:pt x="1978" y="2332"/>
                  </a:lnTo>
                  <a:lnTo>
                    <a:pt x="1985" y="2361"/>
                  </a:lnTo>
                  <a:lnTo>
                    <a:pt x="1993" y="2394"/>
                  </a:lnTo>
                  <a:lnTo>
                    <a:pt x="1993" y="2394"/>
                  </a:lnTo>
                  <a:lnTo>
                    <a:pt x="1999" y="2366"/>
                  </a:lnTo>
                  <a:lnTo>
                    <a:pt x="2006" y="2332"/>
                  </a:lnTo>
                  <a:lnTo>
                    <a:pt x="2028" y="2242"/>
                  </a:lnTo>
                  <a:lnTo>
                    <a:pt x="2028" y="2242"/>
                  </a:lnTo>
                  <a:close/>
                  <a:moveTo>
                    <a:pt x="2211" y="2236"/>
                  </a:moveTo>
                  <a:lnTo>
                    <a:pt x="2211" y="2236"/>
                  </a:lnTo>
                  <a:lnTo>
                    <a:pt x="2200" y="2237"/>
                  </a:lnTo>
                  <a:lnTo>
                    <a:pt x="2188" y="2238"/>
                  </a:lnTo>
                  <a:lnTo>
                    <a:pt x="2177" y="2242"/>
                  </a:lnTo>
                  <a:lnTo>
                    <a:pt x="2167" y="2245"/>
                  </a:lnTo>
                  <a:lnTo>
                    <a:pt x="2157" y="2250"/>
                  </a:lnTo>
                  <a:lnTo>
                    <a:pt x="2147" y="2258"/>
                  </a:lnTo>
                  <a:lnTo>
                    <a:pt x="2139" y="2264"/>
                  </a:lnTo>
                  <a:lnTo>
                    <a:pt x="2132" y="2272"/>
                  </a:lnTo>
                  <a:lnTo>
                    <a:pt x="2124" y="2281"/>
                  </a:lnTo>
                  <a:lnTo>
                    <a:pt x="2118" y="2290"/>
                  </a:lnTo>
                  <a:lnTo>
                    <a:pt x="2112" y="2301"/>
                  </a:lnTo>
                  <a:lnTo>
                    <a:pt x="2108" y="2312"/>
                  </a:lnTo>
                  <a:lnTo>
                    <a:pt x="2105" y="2325"/>
                  </a:lnTo>
                  <a:lnTo>
                    <a:pt x="2101" y="2338"/>
                  </a:lnTo>
                  <a:lnTo>
                    <a:pt x="2100" y="2350"/>
                  </a:lnTo>
                  <a:lnTo>
                    <a:pt x="2100" y="2365"/>
                  </a:lnTo>
                  <a:lnTo>
                    <a:pt x="2100" y="2365"/>
                  </a:lnTo>
                  <a:lnTo>
                    <a:pt x="2100" y="2378"/>
                  </a:lnTo>
                  <a:lnTo>
                    <a:pt x="2101" y="2392"/>
                  </a:lnTo>
                  <a:lnTo>
                    <a:pt x="2105" y="2404"/>
                  </a:lnTo>
                  <a:lnTo>
                    <a:pt x="2108" y="2416"/>
                  </a:lnTo>
                  <a:lnTo>
                    <a:pt x="2112" y="2427"/>
                  </a:lnTo>
                  <a:lnTo>
                    <a:pt x="2118" y="2438"/>
                  </a:lnTo>
                  <a:lnTo>
                    <a:pt x="2124" y="2448"/>
                  </a:lnTo>
                  <a:lnTo>
                    <a:pt x="2132" y="2456"/>
                  </a:lnTo>
                  <a:lnTo>
                    <a:pt x="2139" y="2465"/>
                  </a:lnTo>
                  <a:lnTo>
                    <a:pt x="2147" y="2472"/>
                  </a:lnTo>
                  <a:lnTo>
                    <a:pt x="2157" y="2478"/>
                  </a:lnTo>
                  <a:lnTo>
                    <a:pt x="2167" y="2483"/>
                  </a:lnTo>
                  <a:lnTo>
                    <a:pt x="2177" y="2487"/>
                  </a:lnTo>
                  <a:lnTo>
                    <a:pt x="2188" y="2491"/>
                  </a:lnTo>
                  <a:lnTo>
                    <a:pt x="2200" y="2492"/>
                  </a:lnTo>
                  <a:lnTo>
                    <a:pt x="2211" y="2493"/>
                  </a:lnTo>
                  <a:lnTo>
                    <a:pt x="2211" y="2493"/>
                  </a:lnTo>
                  <a:lnTo>
                    <a:pt x="2223" y="2492"/>
                  </a:lnTo>
                  <a:lnTo>
                    <a:pt x="2235" y="2491"/>
                  </a:lnTo>
                  <a:lnTo>
                    <a:pt x="2246" y="2487"/>
                  </a:lnTo>
                  <a:lnTo>
                    <a:pt x="2256" y="2483"/>
                  </a:lnTo>
                  <a:lnTo>
                    <a:pt x="2266" y="2478"/>
                  </a:lnTo>
                  <a:lnTo>
                    <a:pt x="2275" y="2472"/>
                  </a:lnTo>
                  <a:lnTo>
                    <a:pt x="2284" y="2465"/>
                  </a:lnTo>
                  <a:lnTo>
                    <a:pt x="2291" y="2456"/>
                  </a:lnTo>
                  <a:lnTo>
                    <a:pt x="2299" y="2448"/>
                  </a:lnTo>
                  <a:lnTo>
                    <a:pt x="2305" y="2438"/>
                  </a:lnTo>
                  <a:lnTo>
                    <a:pt x="2309" y="2427"/>
                  </a:lnTo>
                  <a:lnTo>
                    <a:pt x="2314" y="2416"/>
                  </a:lnTo>
                  <a:lnTo>
                    <a:pt x="2318" y="2404"/>
                  </a:lnTo>
                  <a:lnTo>
                    <a:pt x="2320" y="2392"/>
                  </a:lnTo>
                  <a:lnTo>
                    <a:pt x="2323" y="2378"/>
                  </a:lnTo>
                  <a:lnTo>
                    <a:pt x="2323" y="2365"/>
                  </a:lnTo>
                  <a:lnTo>
                    <a:pt x="2323" y="2365"/>
                  </a:lnTo>
                  <a:lnTo>
                    <a:pt x="2323" y="2350"/>
                  </a:lnTo>
                  <a:lnTo>
                    <a:pt x="2320" y="2338"/>
                  </a:lnTo>
                  <a:lnTo>
                    <a:pt x="2318" y="2325"/>
                  </a:lnTo>
                  <a:lnTo>
                    <a:pt x="2314" y="2312"/>
                  </a:lnTo>
                  <a:lnTo>
                    <a:pt x="2309" y="2301"/>
                  </a:lnTo>
                  <a:lnTo>
                    <a:pt x="2305" y="2290"/>
                  </a:lnTo>
                  <a:lnTo>
                    <a:pt x="2299" y="2281"/>
                  </a:lnTo>
                  <a:lnTo>
                    <a:pt x="2291" y="2272"/>
                  </a:lnTo>
                  <a:lnTo>
                    <a:pt x="2284" y="2264"/>
                  </a:lnTo>
                  <a:lnTo>
                    <a:pt x="2275" y="2258"/>
                  </a:lnTo>
                  <a:lnTo>
                    <a:pt x="2266" y="2250"/>
                  </a:lnTo>
                  <a:lnTo>
                    <a:pt x="2256" y="2245"/>
                  </a:lnTo>
                  <a:lnTo>
                    <a:pt x="2246" y="2242"/>
                  </a:lnTo>
                  <a:lnTo>
                    <a:pt x="2235" y="2238"/>
                  </a:lnTo>
                  <a:lnTo>
                    <a:pt x="2223" y="2237"/>
                  </a:lnTo>
                  <a:lnTo>
                    <a:pt x="2211" y="2236"/>
                  </a:lnTo>
                  <a:lnTo>
                    <a:pt x="2211" y="2236"/>
                  </a:lnTo>
                  <a:lnTo>
                    <a:pt x="2211" y="2236"/>
                  </a:lnTo>
                  <a:close/>
                  <a:moveTo>
                    <a:pt x="2211" y="2436"/>
                  </a:moveTo>
                  <a:lnTo>
                    <a:pt x="2211" y="2436"/>
                  </a:lnTo>
                  <a:lnTo>
                    <a:pt x="2200" y="2434"/>
                  </a:lnTo>
                  <a:lnTo>
                    <a:pt x="2191" y="2431"/>
                  </a:lnTo>
                  <a:lnTo>
                    <a:pt x="2183" y="2425"/>
                  </a:lnTo>
                  <a:lnTo>
                    <a:pt x="2175" y="2416"/>
                  </a:lnTo>
                  <a:lnTo>
                    <a:pt x="2169" y="2406"/>
                  </a:lnTo>
                  <a:lnTo>
                    <a:pt x="2164" y="2394"/>
                  </a:lnTo>
                  <a:lnTo>
                    <a:pt x="2162" y="2380"/>
                  </a:lnTo>
                  <a:lnTo>
                    <a:pt x="2162" y="2365"/>
                  </a:lnTo>
                  <a:lnTo>
                    <a:pt x="2162" y="2365"/>
                  </a:lnTo>
                  <a:lnTo>
                    <a:pt x="2162" y="2349"/>
                  </a:lnTo>
                  <a:lnTo>
                    <a:pt x="2164" y="2336"/>
                  </a:lnTo>
                  <a:lnTo>
                    <a:pt x="2169" y="2323"/>
                  </a:lnTo>
                  <a:lnTo>
                    <a:pt x="2175" y="2312"/>
                  </a:lnTo>
                  <a:lnTo>
                    <a:pt x="2183" y="2304"/>
                  </a:lnTo>
                  <a:lnTo>
                    <a:pt x="2191" y="2298"/>
                  </a:lnTo>
                  <a:lnTo>
                    <a:pt x="2200" y="2294"/>
                  </a:lnTo>
                  <a:lnTo>
                    <a:pt x="2211" y="2293"/>
                  </a:lnTo>
                  <a:lnTo>
                    <a:pt x="2211" y="2293"/>
                  </a:lnTo>
                  <a:lnTo>
                    <a:pt x="2222" y="2294"/>
                  </a:lnTo>
                  <a:lnTo>
                    <a:pt x="2231" y="2298"/>
                  </a:lnTo>
                  <a:lnTo>
                    <a:pt x="2240" y="2304"/>
                  </a:lnTo>
                  <a:lnTo>
                    <a:pt x="2247" y="2312"/>
                  </a:lnTo>
                  <a:lnTo>
                    <a:pt x="2253" y="2323"/>
                  </a:lnTo>
                  <a:lnTo>
                    <a:pt x="2257" y="2336"/>
                  </a:lnTo>
                  <a:lnTo>
                    <a:pt x="2260" y="2349"/>
                  </a:lnTo>
                  <a:lnTo>
                    <a:pt x="2261" y="2365"/>
                  </a:lnTo>
                  <a:lnTo>
                    <a:pt x="2261" y="2365"/>
                  </a:lnTo>
                  <a:lnTo>
                    <a:pt x="2260" y="2380"/>
                  </a:lnTo>
                  <a:lnTo>
                    <a:pt x="2257" y="2394"/>
                  </a:lnTo>
                  <a:lnTo>
                    <a:pt x="2253" y="2406"/>
                  </a:lnTo>
                  <a:lnTo>
                    <a:pt x="2247" y="2416"/>
                  </a:lnTo>
                  <a:lnTo>
                    <a:pt x="2240" y="2425"/>
                  </a:lnTo>
                  <a:lnTo>
                    <a:pt x="2231" y="2431"/>
                  </a:lnTo>
                  <a:lnTo>
                    <a:pt x="2222" y="2434"/>
                  </a:lnTo>
                  <a:lnTo>
                    <a:pt x="2211" y="2436"/>
                  </a:lnTo>
                  <a:lnTo>
                    <a:pt x="2211" y="2436"/>
                  </a:lnTo>
                  <a:lnTo>
                    <a:pt x="2211" y="2436"/>
                  </a:lnTo>
                  <a:close/>
                  <a:moveTo>
                    <a:pt x="924" y="2322"/>
                  </a:moveTo>
                  <a:lnTo>
                    <a:pt x="998" y="2487"/>
                  </a:lnTo>
                  <a:lnTo>
                    <a:pt x="931" y="2487"/>
                  </a:lnTo>
                  <a:lnTo>
                    <a:pt x="880" y="2373"/>
                  </a:lnTo>
                  <a:lnTo>
                    <a:pt x="847" y="2414"/>
                  </a:lnTo>
                  <a:lnTo>
                    <a:pt x="847" y="2487"/>
                  </a:lnTo>
                  <a:lnTo>
                    <a:pt x="787" y="2487"/>
                  </a:lnTo>
                  <a:lnTo>
                    <a:pt x="787" y="2170"/>
                  </a:lnTo>
                  <a:lnTo>
                    <a:pt x="847" y="2139"/>
                  </a:lnTo>
                  <a:lnTo>
                    <a:pt x="847" y="2336"/>
                  </a:lnTo>
                  <a:lnTo>
                    <a:pt x="847" y="2336"/>
                  </a:lnTo>
                  <a:lnTo>
                    <a:pt x="870" y="2304"/>
                  </a:lnTo>
                  <a:lnTo>
                    <a:pt x="919" y="2242"/>
                  </a:lnTo>
                  <a:lnTo>
                    <a:pt x="990" y="2242"/>
                  </a:lnTo>
                  <a:lnTo>
                    <a:pt x="924" y="2322"/>
                  </a:lnTo>
                  <a:lnTo>
                    <a:pt x="924" y="2322"/>
                  </a:lnTo>
                  <a:close/>
                  <a:moveTo>
                    <a:pt x="1211" y="2487"/>
                  </a:moveTo>
                  <a:lnTo>
                    <a:pt x="1150" y="2487"/>
                  </a:lnTo>
                  <a:lnTo>
                    <a:pt x="1150" y="2242"/>
                  </a:lnTo>
                  <a:lnTo>
                    <a:pt x="1211" y="2242"/>
                  </a:lnTo>
                  <a:lnTo>
                    <a:pt x="1211" y="2262"/>
                  </a:lnTo>
                  <a:lnTo>
                    <a:pt x="1211" y="2262"/>
                  </a:lnTo>
                  <a:lnTo>
                    <a:pt x="1218" y="2256"/>
                  </a:lnTo>
                  <a:lnTo>
                    <a:pt x="1224" y="2251"/>
                  </a:lnTo>
                  <a:lnTo>
                    <a:pt x="1231" y="2247"/>
                  </a:lnTo>
                  <a:lnTo>
                    <a:pt x="1238" y="2243"/>
                  </a:lnTo>
                  <a:lnTo>
                    <a:pt x="1247" y="2240"/>
                  </a:lnTo>
                  <a:lnTo>
                    <a:pt x="1255" y="2238"/>
                  </a:lnTo>
                  <a:lnTo>
                    <a:pt x="1264" y="2237"/>
                  </a:lnTo>
                  <a:lnTo>
                    <a:pt x="1274" y="2236"/>
                  </a:lnTo>
                  <a:lnTo>
                    <a:pt x="1274" y="2236"/>
                  </a:lnTo>
                  <a:lnTo>
                    <a:pt x="1285" y="2237"/>
                  </a:lnTo>
                  <a:lnTo>
                    <a:pt x="1294" y="2238"/>
                  </a:lnTo>
                  <a:lnTo>
                    <a:pt x="1303" y="2240"/>
                  </a:lnTo>
                  <a:lnTo>
                    <a:pt x="1313" y="2243"/>
                  </a:lnTo>
                  <a:lnTo>
                    <a:pt x="1320" y="2248"/>
                  </a:lnTo>
                  <a:lnTo>
                    <a:pt x="1327" y="2253"/>
                  </a:lnTo>
                  <a:lnTo>
                    <a:pt x="1335" y="2258"/>
                  </a:lnTo>
                  <a:lnTo>
                    <a:pt x="1341" y="2265"/>
                  </a:lnTo>
                  <a:lnTo>
                    <a:pt x="1345" y="2272"/>
                  </a:lnTo>
                  <a:lnTo>
                    <a:pt x="1350" y="2281"/>
                  </a:lnTo>
                  <a:lnTo>
                    <a:pt x="1354" y="2289"/>
                  </a:lnTo>
                  <a:lnTo>
                    <a:pt x="1358" y="2300"/>
                  </a:lnTo>
                  <a:lnTo>
                    <a:pt x="1360" y="2311"/>
                  </a:lnTo>
                  <a:lnTo>
                    <a:pt x="1361" y="2322"/>
                  </a:lnTo>
                  <a:lnTo>
                    <a:pt x="1363" y="2334"/>
                  </a:lnTo>
                  <a:lnTo>
                    <a:pt x="1364" y="2348"/>
                  </a:lnTo>
                  <a:lnTo>
                    <a:pt x="1364" y="2487"/>
                  </a:lnTo>
                  <a:lnTo>
                    <a:pt x="1303" y="2487"/>
                  </a:lnTo>
                  <a:lnTo>
                    <a:pt x="1303" y="2351"/>
                  </a:lnTo>
                  <a:lnTo>
                    <a:pt x="1303" y="2351"/>
                  </a:lnTo>
                  <a:lnTo>
                    <a:pt x="1302" y="2338"/>
                  </a:lnTo>
                  <a:lnTo>
                    <a:pt x="1300" y="2325"/>
                  </a:lnTo>
                  <a:lnTo>
                    <a:pt x="1297" y="2315"/>
                  </a:lnTo>
                  <a:lnTo>
                    <a:pt x="1292" y="2306"/>
                  </a:lnTo>
                  <a:lnTo>
                    <a:pt x="1286" y="2300"/>
                  </a:lnTo>
                  <a:lnTo>
                    <a:pt x="1278" y="2295"/>
                  </a:lnTo>
                  <a:lnTo>
                    <a:pt x="1269" y="2293"/>
                  </a:lnTo>
                  <a:lnTo>
                    <a:pt x="1258" y="2292"/>
                  </a:lnTo>
                  <a:lnTo>
                    <a:pt x="1258" y="2292"/>
                  </a:lnTo>
                  <a:lnTo>
                    <a:pt x="1248" y="2293"/>
                  </a:lnTo>
                  <a:lnTo>
                    <a:pt x="1238" y="2295"/>
                  </a:lnTo>
                  <a:lnTo>
                    <a:pt x="1230" y="2300"/>
                  </a:lnTo>
                  <a:lnTo>
                    <a:pt x="1224" y="2308"/>
                  </a:lnTo>
                  <a:lnTo>
                    <a:pt x="1219" y="2315"/>
                  </a:lnTo>
                  <a:lnTo>
                    <a:pt x="1215" y="2326"/>
                  </a:lnTo>
                  <a:lnTo>
                    <a:pt x="1213" y="2338"/>
                  </a:lnTo>
                  <a:lnTo>
                    <a:pt x="1211" y="2351"/>
                  </a:lnTo>
                  <a:lnTo>
                    <a:pt x="1211" y="2487"/>
                  </a:lnTo>
                  <a:lnTo>
                    <a:pt x="1211" y="2487"/>
                  </a:lnTo>
                  <a:close/>
                  <a:moveTo>
                    <a:pt x="1555" y="2259"/>
                  </a:moveTo>
                  <a:lnTo>
                    <a:pt x="1555" y="2259"/>
                  </a:lnTo>
                  <a:lnTo>
                    <a:pt x="1549" y="2254"/>
                  </a:lnTo>
                  <a:lnTo>
                    <a:pt x="1543" y="2249"/>
                  </a:lnTo>
                  <a:lnTo>
                    <a:pt x="1537" y="2245"/>
                  </a:lnTo>
                  <a:lnTo>
                    <a:pt x="1530" y="2242"/>
                  </a:lnTo>
                  <a:lnTo>
                    <a:pt x="1522" y="2239"/>
                  </a:lnTo>
                  <a:lnTo>
                    <a:pt x="1515" y="2238"/>
                  </a:lnTo>
                  <a:lnTo>
                    <a:pt x="1508" y="2237"/>
                  </a:lnTo>
                  <a:lnTo>
                    <a:pt x="1500" y="2236"/>
                  </a:lnTo>
                  <a:lnTo>
                    <a:pt x="1500" y="2236"/>
                  </a:lnTo>
                  <a:lnTo>
                    <a:pt x="1489" y="2237"/>
                  </a:lnTo>
                  <a:lnTo>
                    <a:pt x="1480" y="2238"/>
                  </a:lnTo>
                  <a:lnTo>
                    <a:pt x="1470" y="2240"/>
                  </a:lnTo>
                  <a:lnTo>
                    <a:pt x="1460" y="2245"/>
                  </a:lnTo>
                  <a:lnTo>
                    <a:pt x="1452" y="2249"/>
                  </a:lnTo>
                  <a:lnTo>
                    <a:pt x="1444" y="2255"/>
                  </a:lnTo>
                  <a:lnTo>
                    <a:pt x="1437" y="2262"/>
                  </a:lnTo>
                  <a:lnTo>
                    <a:pt x="1430" y="2270"/>
                  </a:lnTo>
                  <a:lnTo>
                    <a:pt x="1423" y="2278"/>
                  </a:lnTo>
                  <a:lnTo>
                    <a:pt x="1419" y="2288"/>
                  </a:lnTo>
                  <a:lnTo>
                    <a:pt x="1414" y="2298"/>
                  </a:lnTo>
                  <a:lnTo>
                    <a:pt x="1410" y="2310"/>
                  </a:lnTo>
                  <a:lnTo>
                    <a:pt x="1408" y="2321"/>
                  </a:lnTo>
                  <a:lnTo>
                    <a:pt x="1405" y="2334"/>
                  </a:lnTo>
                  <a:lnTo>
                    <a:pt x="1404" y="2348"/>
                  </a:lnTo>
                  <a:lnTo>
                    <a:pt x="1404" y="2361"/>
                  </a:lnTo>
                  <a:lnTo>
                    <a:pt x="1404" y="2361"/>
                  </a:lnTo>
                  <a:lnTo>
                    <a:pt x="1404" y="2377"/>
                  </a:lnTo>
                  <a:lnTo>
                    <a:pt x="1405" y="2391"/>
                  </a:lnTo>
                  <a:lnTo>
                    <a:pt x="1408" y="2404"/>
                  </a:lnTo>
                  <a:lnTo>
                    <a:pt x="1410" y="2417"/>
                  </a:lnTo>
                  <a:lnTo>
                    <a:pt x="1414" y="2428"/>
                  </a:lnTo>
                  <a:lnTo>
                    <a:pt x="1419" y="2439"/>
                  </a:lnTo>
                  <a:lnTo>
                    <a:pt x="1423" y="2449"/>
                  </a:lnTo>
                  <a:lnTo>
                    <a:pt x="1430" y="2458"/>
                  </a:lnTo>
                  <a:lnTo>
                    <a:pt x="1436" y="2466"/>
                  </a:lnTo>
                  <a:lnTo>
                    <a:pt x="1443" y="2472"/>
                  </a:lnTo>
                  <a:lnTo>
                    <a:pt x="1450" y="2478"/>
                  </a:lnTo>
                  <a:lnTo>
                    <a:pt x="1459" y="2483"/>
                  </a:lnTo>
                  <a:lnTo>
                    <a:pt x="1469" y="2487"/>
                  </a:lnTo>
                  <a:lnTo>
                    <a:pt x="1478" y="2491"/>
                  </a:lnTo>
                  <a:lnTo>
                    <a:pt x="1488" y="2492"/>
                  </a:lnTo>
                  <a:lnTo>
                    <a:pt x="1499" y="2493"/>
                  </a:lnTo>
                  <a:lnTo>
                    <a:pt x="1499" y="2493"/>
                  </a:lnTo>
                  <a:lnTo>
                    <a:pt x="1506" y="2492"/>
                  </a:lnTo>
                  <a:lnTo>
                    <a:pt x="1515" y="2491"/>
                  </a:lnTo>
                  <a:lnTo>
                    <a:pt x="1522" y="2489"/>
                  </a:lnTo>
                  <a:lnTo>
                    <a:pt x="1530" y="2487"/>
                  </a:lnTo>
                  <a:lnTo>
                    <a:pt x="1536" y="2483"/>
                  </a:lnTo>
                  <a:lnTo>
                    <a:pt x="1543" y="2480"/>
                  </a:lnTo>
                  <a:lnTo>
                    <a:pt x="1549" y="2475"/>
                  </a:lnTo>
                  <a:lnTo>
                    <a:pt x="1555" y="2469"/>
                  </a:lnTo>
                  <a:lnTo>
                    <a:pt x="1555" y="2475"/>
                  </a:lnTo>
                  <a:lnTo>
                    <a:pt x="1555" y="2475"/>
                  </a:lnTo>
                  <a:lnTo>
                    <a:pt x="1555" y="2484"/>
                  </a:lnTo>
                  <a:lnTo>
                    <a:pt x="1554" y="2495"/>
                  </a:lnTo>
                  <a:lnTo>
                    <a:pt x="1550" y="2506"/>
                  </a:lnTo>
                  <a:lnTo>
                    <a:pt x="1548" y="2511"/>
                  </a:lnTo>
                  <a:lnTo>
                    <a:pt x="1545" y="2516"/>
                  </a:lnTo>
                  <a:lnTo>
                    <a:pt x="1540" y="2521"/>
                  </a:lnTo>
                  <a:lnTo>
                    <a:pt x="1536" y="2526"/>
                  </a:lnTo>
                  <a:lnTo>
                    <a:pt x="1530" y="2530"/>
                  </a:lnTo>
                  <a:lnTo>
                    <a:pt x="1522" y="2533"/>
                  </a:lnTo>
                  <a:lnTo>
                    <a:pt x="1512" y="2536"/>
                  </a:lnTo>
                  <a:lnTo>
                    <a:pt x="1503" y="2538"/>
                  </a:lnTo>
                  <a:lnTo>
                    <a:pt x="1491" y="2539"/>
                  </a:lnTo>
                  <a:lnTo>
                    <a:pt x="1476" y="2539"/>
                  </a:lnTo>
                  <a:lnTo>
                    <a:pt x="1473" y="2539"/>
                  </a:lnTo>
                  <a:lnTo>
                    <a:pt x="1495" y="2587"/>
                  </a:lnTo>
                  <a:lnTo>
                    <a:pt x="1497" y="2587"/>
                  </a:lnTo>
                  <a:lnTo>
                    <a:pt x="1497" y="2587"/>
                  </a:lnTo>
                  <a:lnTo>
                    <a:pt x="1511" y="2587"/>
                  </a:lnTo>
                  <a:lnTo>
                    <a:pt x="1525" y="2586"/>
                  </a:lnTo>
                  <a:lnTo>
                    <a:pt x="1537" y="2582"/>
                  </a:lnTo>
                  <a:lnTo>
                    <a:pt x="1549" y="2580"/>
                  </a:lnTo>
                  <a:lnTo>
                    <a:pt x="1560" y="2575"/>
                  </a:lnTo>
                  <a:lnTo>
                    <a:pt x="1570" y="2570"/>
                  </a:lnTo>
                  <a:lnTo>
                    <a:pt x="1578" y="2564"/>
                  </a:lnTo>
                  <a:lnTo>
                    <a:pt x="1586" y="2556"/>
                  </a:lnTo>
                  <a:lnTo>
                    <a:pt x="1593" y="2548"/>
                  </a:lnTo>
                  <a:lnTo>
                    <a:pt x="1599" y="2539"/>
                  </a:lnTo>
                  <a:lnTo>
                    <a:pt x="1604" y="2528"/>
                  </a:lnTo>
                  <a:lnTo>
                    <a:pt x="1608" y="2517"/>
                  </a:lnTo>
                  <a:lnTo>
                    <a:pt x="1611" y="2506"/>
                  </a:lnTo>
                  <a:lnTo>
                    <a:pt x="1614" y="2493"/>
                  </a:lnTo>
                  <a:lnTo>
                    <a:pt x="1615" y="2480"/>
                  </a:lnTo>
                  <a:lnTo>
                    <a:pt x="1615" y="2465"/>
                  </a:lnTo>
                  <a:lnTo>
                    <a:pt x="1615" y="2242"/>
                  </a:lnTo>
                  <a:lnTo>
                    <a:pt x="1555" y="2242"/>
                  </a:lnTo>
                  <a:lnTo>
                    <a:pt x="1555" y="2259"/>
                  </a:lnTo>
                  <a:lnTo>
                    <a:pt x="1555" y="2259"/>
                  </a:lnTo>
                  <a:close/>
                  <a:moveTo>
                    <a:pt x="1555" y="2316"/>
                  </a:moveTo>
                  <a:lnTo>
                    <a:pt x="1555" y="2413"/>
                  </a:lnTo>
                  <a:lnTo>
                    <a:pt x="1555" y="2413"/>
                  </a:lnTo>
                  <a:lnTo>
                    <a:pt x="1547" y="2421"/>
                  </a:lnTo>
                  <a:lnTo>
                    <a:pt x="1538" y="2430"/>
                  </a:lnTo>
                  <a:lnTo>
                    <a:pt x="1532" y="2432"/>
                  </a:lnTo>
                  <a:lnTo>
                    <a:pt x="1526" y="2434"/>
                  </a:lnTo>
                  <a:lnTo>
                    <a:pt x="1520" y="2436"/>
                  </a:lnTo>
                  <a:lnTo>
                    <a:pt x="1511" y="2437"/>
                  </a:lnTo>
                  <a:lnTo>
                    <a:pt x="1511" y="2437"/>
                  </a:lnTo>
                  <a:lnTo>
                    <a:pt x="1504" y="2436"/>
                  </a:lnTo>
                  <a:lnTo>
                    <a:pt x="1495" y="2433"/>
                  </a:lnTo>
                  <a:lnTo>
                    <a:pt x="1488" y="2430"/>
                  </a:lnTo>
                  <a:lnTo>
                    <a:pt x="1481" y="2422"/>
                  </a:lnTo>
                  <a:lnTo>
                    <a:pt x="1475" y="2413"/>
                  </a:lnTo>
                  <a:lnTo>
                    <a:pt x="1470" y="2399"/>
                  </a:lnTo>
                  <a:lnTo>
                    <a:pt x="1467" y="2382"/>
                  </a:lnTo>
                  <a:lnTo>
                    <a:pt x="1466" y="2360"/>
                  </a:lnTo>
                  <a:lnTo>
                    <a:pt x="1466" y="2360"/>
                  </a:lnTo>
                  <a:lnTo>
                    <a:pt x="1467" y="2342"/>
                  </a:lnTo>
                  <a:lnTo>
                    <a:pt x="1470" y="2326"/>
                  </a:lnTo>
                  <a:lnTo>
                    <a:pt x="1475" y="2314"/>
                  </a:lnTo>
                  <a:lnTo>
                    <a:pt x="1481" y="2305"/>
                  </a:lnTo>
                  <a:lnTo>
                    <a:pt x="1488" y="2299"/>
                  </a:lnTo>
                  <a:lnTo>
                    <a:pt x="1495" y="2294"/>
                  </a:lnTo>
                  <a:lnTo>
                    <a:pt x="1504" y="2293"/>
                  </a:lnTo>
                  <a:lnTo>
                    <a:pt x="1511" y="2292"/>
                  </a:lnTo>
                  <a:lnTo>
                    <a:pt x="1511" y="2292"/>
                  </a:lnTo>
                  <a:lnTo>
                    <a:pt x="1520" y="2293"/>
                  </a:lnTo>
                  <a:lnTo>
                    <a:pt x="1527" y="2294"/>
                  </a:lnTo>
                  <a:lnTo>
                    <a:pt x="1533" y="2297"/>
                  </a:lnTo>
                  <a:lnTo>
                    <a:pt x="1539" y="2300"/>
                  </a:lnTo>
                  <a:lnTo>
                    <a:pt x="1544" y="2304"/>
                  </a:lnTo>
                  <a:lnTo>
                    <a:pt x="1548" y="2308"/>
                  </a:lnTo>
                  <a:lnTo>
                    <a:pt x="1555" y="2316"/>
                  </a:lnTo>
                  <a:lnTo>
                    <a:pt x="1555" y="2316"/>
                  </a:lnTo>
                  <a:lnTo>
                    <a:pt x="1555" y="2316"/>
                  </a:lnTo>
                  <a:close/>
                  <a:moveTo>
                    <a:pt x="1036" y="2242"/>
                  </a:moveTo>
                  <a:lnTo>
                    <a:pt x="1097" y="2242"/>
                  </a:lnTo>
                  <a:lnTo>
                    <a:pt x="1097" y="2348"/>
                  </a:lnTo>
                  <a:lnTo>
                    <a:pt x="1097" y="2487"/>
                  </a:lnTo>
                  <a:lnTo>
                    <a:pt x="1036" y="2487"/>
                  </a:lnTo>
                  <a:lnTo>
                    <a:pt x="1036" y="2242"/>
                  </a:lnTo>
                  <a:lnTo>
                    <a:pt x="1036" y="2242"/>
                  </a:lnTo>
                  <a:close/>
                  <a:moveTo>
                    <a:pt x="1097" y="2176"/>
                  </a:moveTo>
                  <a:lnTo>
                    <a:pt x="1097" y="2206"/>
                  </a:lnTo>
                  <a:lnTo>
                    <a:pt x="1036" y="2206"/>
                  </a:lnTo>
                  <a:lnTo>
                    <a:pt x="1036" y="2145"/>
                  </a:lnTo>
                  <a:lnTo>
                    <a:pt x="1097" y="2145"/>
                  </a:lnTo>
                  <a:lnTo>
                    <a:pt x="1097" y="2176"/>
                  </a:lnTo>
                  <a:lnTo>
                    <a:pt x="1097" y="2176"/>
                  </a:lnTo>
                  <a:close/>
                  <a:moveTo>
                    <a:pt x="2550" y="2170"/>
                  </a:moveTo>
                  <a:lnTo>
                    <a:pt x="2611" y="2139"/>
                  </a:lnTo>
                  <a:lnTo>
                    <a:pt x="2611" y="2353"/>
                  </a:lnTo>
                  <a:lnTo>
                    <a:pt x="2611" y="2487"/>
                  </a:lnTo>
                  <a:lnTo>
                    <a:pt x="2550" y="2487"/>
                  </a:lnTo>
                  <a:lnTo>
                    <a:pt x="2550" y="2170"/>
                  </a:lnTo>
                  <a:lnTo>
                    <a:pt x="2550" y="2170"/>
                  </a:lnTo>
                  <a:close/>
                  <a:moveTo>
                    <a:pt x="439" y="837"/>
                  </a:moveTo>
                  <a:lnTo>
                    <a:pt x="938" y="837"/>
                  </a:lnTo>
                  <a:lnTo>
                    <a:pt x="938" y="547"/>
                  </a:lnTo>
                  <a:lnTo>
                    <a:pt x="439" y="547"/>
                  </a:lnTo>
                  <a:lnTo>
                    <a:pt x="439" y="319"/>
                  </a:lnTo>
                  <a:lnTo>
                    <a:pt x="992" y="319"/>
                  </a:lnTo>
                  <a:lnTo>
                    <a:pt x="808" y="0"/>
                  </a:lnTo>
                  <a:lnTo>
                    <a:pt x="24" y="0"/>
                  </a:lnTo>
                  <a:lnTo>
                    <a:pt x="24" y="1384"/>
                  </a:lnTo>
                  <a:lnTo>
                    <a:pt x="1130" y="1384"/>
                  </a:lnTo>
                  <a:lnTo>
                    <a:pt x="1130" y="1065"/>
                  </a:lnTo>
                  <a:lnTo>
                    <a:pt x="439" y="1065"/>
                  </a:lnTo>
                  <a:lnTo>
                    <a:pt x="439" y="837"/>
                  </a:lnTo>
                  <a:lnTo>
                    <a:pt x="439" y="837"/>
                  </a:lnTo>
                  <a:close/>
                  <a:moveTo>
                    <a:pt x="1866" y="0"/>
                  </a:moveTo>
                  <a:lnTo>
                    <a:pt x="1631" y="452"/>
                  </a:lnTo>
                  <a:lnTo>
                    <a:pt x="1397" y="0"/>
                  </a:lnTo>
                  <a:lnTo>
                    <a:pt x="938" y="0"/>
                  </a:lnTo>
                  <a:lnTo>
                    <a:pt x="1421" y="837"/>
                  </a:lnTo>
                  <a:lnTo>
                    <a:pt x="1421" y="1384"/>
                  </a:lnTo>
                  <a:lnTo>
                    <a:pt x="1834" y="1384"/>
                  </a:lnTo>
                  <a:lnTo>
                    <a:pt x="1834" y="837"/>
                  </a:lnTo>
                  <a:lnTo>
                    <a:pt x="2318" y="0"/>
                  </a:lnTo>
                  <a:lnTo>
                    <a:pt x="1866" y="0"/>
                  </a:lnTo>
                  <a:lnTo>
                    <a:pt x="186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461" tIns="43230" rIns="86461" bIns="43230" numCol="1" anchor="t" anchorCtr="0" compatLnSpc="1">
              <a:prstTxWarp prst="textNoShape">
                <a:avLst/>
              </a:prstTxWarp>
            </a:bodyPr>
            <a:lstStyle/>
            <a:p>
              <a:pPr defTabSz="993626" eaLnBrk="1" fontAlgn="auto" hangingPunct="1">
                <a:spcBef>
                  <a:spcPts val="0"/>
                </a:spcBef>
                <a:spcAft>
                  <a:spcPts val="0"/>
                </a:spcAft>
                <a:defRPr/>
              </a:pPr>
              <a:endParaRPr lang="en-US" sz="1702">
                <a:solidFill>
                  <a:srgbClr val="FFFFFF"/>
                </a:solidFill>
                <a:latin typeface="Arial"/>
                <a:ea typeface="+mn-ea"/>
                <a:cs typeface="+mn-cs"/>
              </a:endParaRPr>
            </a:p>
          </p:txBody>
        </p:sp>
      </p:grpSp>
    </p:spTree>
    <p:extLst>
      <p:ext uri="{BB962C8B-B14F-4D97-AF65-F5344CB8AC3E}">
        <p14:creationId xmlns:p14="http://schemas.microsoft.com/office/powerpoint/2010/main" val="634293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3D518-547F-4AAC-9DE2-BCC1D79B97A0}"/>
              </a:ext>
            </a:extLst>
          </p:cNvPr>
          <p:cNvSpPr>
            <a:spLocks noGrp="1"/>
          </p:cNvSpPr>
          <p:nvPr>
            <p:ph type="title"/>
          </p:nvPr>
        </p:nvSpPr>
        <p:spPr>
          <a:xfrm>
            <a:off x="858605" y="553312"/>
            <a:ext cx="11477631" cy="672275"/>
          </a:xfrm>
        </p:spPr>
        <p:txBody>
          <a:bodyPr/>
          <a:lstStyle/>
          <a:p>
            <a:r>
              <a:rPr lang="en-US" dirty="0">
                <a:solidFill>
                  <a:srgbClr val="646464"/>
                </a:solidFill>
              </a:rPr>
              <a:t>With our diverse existing engagements with the Group, we believe that we are capable of delivering and accelerating the outcome from the current asks</a:t>
            </a:r>
            <a:endParaRPr lang="en-US" dirty="0"/>
          </a:p>
        </p:txBody>
      </p:sp>
      <p:sp>
        <p:nvSpPr>
          <p:cNvPr id="186" name="Text Placeholder 103">
            <a:extLst>
              <a:ext uri="{FF2B5EF4-FFF2-40B4-BE49-F238E27FC236}">
                <a16:creationId xmlns:a16="http://schemas.microsoft.com/office/drawing/2014/main" id="{E7A93881-2805-41E3-8174-A3F0A710744E}"/>
              </a:ext>
            </a:extLst>
          </p:cNvPr>
          <p:cNvSpPr txBox="1">
            <a:spLocks/>
          </p:cNvSpPr>
          <p:nvPr/>
        </p:nvSpPr>
        <p:spPr>
          <a:xfrm>
            <a:off x="862836" y="1185159"/>
            <a:ext cx="11050833" cy="1004141"/>
          </a:xfrm>
          <a:prstGeom prst="rect">
            <a:avLst/>
          </a:prstGeom>
        </p:spPr>
        <p:txBody>
          <a:bodyPr lIns="41446" rIns="41446"/>
          <a:lstStyle>
            <a:lvl1pPr marL="494029" indent="-494029" algn="l" defTabSz="1266737" rtl="0" eaLnBrk="1" latinLnBrk="0" hangingPunct="1">
              <a:spcBef>
                <a:spcPct val="20000"/>
              </a:spcBef>
              <a:buClr>
                <a:schemeClr val="tx1"/>
              </a:buClr>
              <a:buSzPct val="70000"/>
              <a:buFont typeface="Arial" pitchFamily="34" charset="0"/>
              <a:buChar char="►"/>
              <a:defRPr sz="2493" b="0" i="0" kern="1200">
                <a:solidFill>
                  <a:schemeClr val="bg1"/>
                </a:solidFill>
                <a:latin typeface="EYInterstate Light" panose="02000506000000020004" pitchFamily="2" charset="0"/>
                <a:ea typeface="+mn-ea"/>
                <a:cs typeface="+mn-cs"/>
              </a:defRPr>
            </a:lvl1pPr>
            <a:lvl2pPr marL="988054" indent="-494029" algn="l" defTabSz="1266737" rtl="0" eaLnBrk="1" latinLnBrk="0" hangingPunct="1">
              <a:spcBef>
                <a:spcPct val="20000"/>
              </a:spcBef>
              <a:buClr>
                <a:schemeClr val="tx1"/>
              </a:buClr>
              <a:buSzPct val="70000"/>
              <a:buFont typeface="Arial" pitchFamily="34" charset="0"/>
              <a:buChar char="►"/>
              <a:defRPr sz="2000" b="0" i="0" kern="1200">
                <a:solidFill>
                  <a:schemeClr val="bg1"/>
                </a:solidFill>
                <a:latin typeface="EYInterstate Light" panose="02000506000000020004" pitchFamily="2" charset="0"/>
                <a:ea typeface="+mn-ea"/>
                <a:cs typeface="+mn-cs"/>
              </a:defRPr>
            </a:lvl2pPr>
            <a:lvl3pPr marL="1482083" indent="-494029" algn="l" defTabSz="1266737" rtl="0" eaLnBrk="1" latinLnBrk="0" hangingPunct="1">
              <a:spcBef>
                <a:spcPct val="20000"/>
              </a:spcBef>
              <a:buClr>
                <a:schemeClr val="tx1"/>
              </a:buClr>
              <a:buSzPct val="70000"/>
              <a:buFont typeface="Arial" pitchFamily="34" charset="0"/>
              <a:buChar char="►"/>
              <a:defRPr sz="1800" b="0" i="0" kern="1200">
                <a:solidFill>
                  <a:schemeClr val="bg1"/>
                </a:solidFill>
                <a:latin typeface="EYInterstate Light" panose="02000506000000020004" pitchFamily="2" charset="0"/>
                <a:ea typeface="+mn-ea"/>
                <a:cs typeface="+mn-cs"/>
              </a:defRPr>
            </a:lvl3pPr>
            <a:lvl4pPr marL="1976110" indent="-494029" algn="l" defTabSz="1266737" rtl="0" eaLnBrk="1" latinLnBrk="0" hangingPunct="1">
              <a:spcBef>
                <a:spcPct val="20000"/>
              </a:spcBef>
              <a:buClr>
                <a:schemeClr val="tx1"/>
              </a:buClr>
              <a:buSzPct val="70000"/>
              <a:buFont typeface="Arial" pitchFamily="34" charset="0"/>
              <a:buChar char="►"/>
              <a:defRPr sz="1600" b="0" i="0" kern="1200">
                <a:solidFill>
                  <a:schemeClr val="bg1"/>
                </a:solidFill>
                <a:latin typeface="EYInterstate Light" panose="02000506000000020004" pitchFamily="2" charset="0"/>
                <a:ea typeface="+mn-ea"/>
                <a:cs typeface="+mn-cs"/>
              </a:defRPr>
            </a:lvl4pPr>
            <a:lvl5pPr marL="2470136" indent="-494029" algn="l" defTabSz="1266737" rtl="0" eaLnBrk="1" latinLnBrk="0" hangingPunct="1">
              <a:spcBef>
                <a:spcPct val="20000"/>
              </a:spcBef>
              <a:buClr>
                <a:schemeClr val="tx1"/>
              </a:buClr>
              <a:buSzPct val="70000"/>
              <a:buFont typeface="Arial" pitchFamily="34" charset="0"/>
              <a:buChar char="►"/>
              <a:defRPr sz="1400" b="0" i="0" kern="1200">
                <a:solidFill>
                  <a:schemeClr val="bg1"/>
                </a:solidFill>
                <a:latin typeface="EYInterstate Light" panose="02000506000000020004" pitchFamily="2" charset="0"/>
                <a:ea typeface="+mn-ea"/>
                <a:cs typeface="+mn-cs"/>
              </a:defRPr>
            </a:lvl5pPr>
            <a:lvl6pPr marL="3483527"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6pPr>
            <a:lvl7pPr marL="411689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7pPr>
            <a:lvl8pPr marL="4750266"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8pPr>
            <a:lvl9pPr marL="5383632" indent="-316685" algn="l" defTabSz="1266737" rtl="0" eaLnBrk="1" latinLnBrk="0" hangingPunct="1">
              <a:spcBef>
                <a:spcPct val="20000"/>
              </a:spcBef>
              <a:buFont typeface="Arial" pitchFamily="34" charset="0"/>
              <a:buChar char="•"/>
              <a:defRPr sz="2771" kern="1200">
                <a:solidFill>
                  <a:schemeClr val="tx1"/>
                </a:solidFill>
                <a:latin typeface="+mn-lt"/>
                <a:ea typeface="+mn-ea"/>
                <a:cs typeface="+mn-cs"/>
              </a:defRPr>
            </a:lvl9pPr>
          </a:lstStyle>
          <a:p>
            <a:pPr marL="0" indent="0" defTabSz="1148356" fontAlgn="auto">
              <a:spcAft>
                <a:spcPts val="0"/>
              </a:spcAft>
              <a:buClr>
                <a:srgbClr val="000000"/>
              </a:buClr>
              <a:buNone/>
              <a:defRPr/>
            </a:pPr>
            <a:r>
              <a:rPr lang="en-US" sz="1450" kern="0" dirty="0">
                <a:solidFill>
                  <a:srgbClr val="000000"/>
                </a:solidFill>
              </a:rPr>
              <a:t>We have worked with AIAT and AIA Group on deploying a variety of data analytic use cases in multiple AIA business units and it is our ambition to support AIAT in this journey to uplift capabilities in Technology, Digital and Analytics over the next 3-4 years.</a:t>
            </a:r>
            <a:endParaRPr lang="en-US" sz="1450" dirty="0">
              <a:solidFill>
                <a:srgbClr val="404040"/>
              </a:solidFill>
              <a:latin typeface="EYInterstate"/>
            </a:endParaRPr>
          </a:p>
          <a:p>
            <a:pPr marL="0" indent="0" defTabSz="1148356" fontAlgn="auto">
              <a:spcAft>
                <a:spcPts val="0"/>
              </a:spcAft>
              <a:buClr>
                <a:srgbClr val="000000"/>
              </a:buClr>
              <a:buNone/>
              <a:defRPr/>
            </a:pPr>
            <a:endParaRPr lang="en-US" sz="1450" dirty="0">
              <a:solidFill>
                <a:srgbClr val="404040"/>
              </a:solidFill>
              <a:latin typeface="EYInterstate"/>
            </a:endParaRPr>
          </a:p>
        </p:txBody>
      </p:sp>
      <p:pic>
        <p:nvPicPr>
          <p:cNvPr id="65" name="Picture 64">
            <a:extLst>
              <a:ext uri="{FF2B5EF4-FFF2-40B4-BE49-F238E27FC236}">
                <a16:creationId xmlns:a16="http://schemas.microsoft.com/office/drawing/2014/main" id="{82831472-92E6-400C-B4A6-13263FE5D544}"/>
              </a:ext>
            </a:extLst>
          </p:cNvPr>
          <p:cNvPicPr>
            <a:picLocks noChangeAspect="1"/>
          </p:cNvPicPr>
          <p:nvPr/>
        </p:nvPicPr>
        <p:blipFill rotWithShape="1">
          <a:blip r:embed="rId2"/>
          <a:srcRect b="31756"/>
          <a:stretch/>
        </p:blipFill>
        <p:spPr>
          <a:xfrm>
            <a:off x="1050744" y="1710813"/>
            <a:ext cx="10382238" cy="5024285"/>
          </a:xfrm>
          <a:prstGeom prst="rect">
            <a:avLst/>
          </a:prstGeom>
        </p:spPr>
      </p:pic>
    </p:spTree>
    <p:extLst>
      <p:ext uri="{BB962C8B-B14F-4D97-AF65-F5344CB8AC3E}">
        <p14:creationId xmlns:p14="http://schemas.microsoft.com/office/powerpoint/2010/main" val="38070270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Diagram 14">
            <a:extLst>
              <a:ext uri="{FF2B5EF4-FFF2-40B4-BE49-F238E27FC236}">
                <a16:creationId xmlns:a16="http://schemas.microsoft.com/office/drawing/2014/main" id="{501ACC5D-3BCB-4F32-91F3-87AEA7AF27C0}"/>
              </a:ext>
            </a:extLst>
          </p:cNvPr>
          <p:cNvGraphicFramePr/>
          <p:nvPr/>
        </p:nvGraphicFramePr>
        <p:xfrm>
          <a:off x="687989" y="2481964"/>
          <a:ext cx="5394263" cy="3923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F309A5C5-F6AB-4A73-ADA0-9C2FA5A754F0}"/>
              </a:ext>
            </a:extLst>
          </p:cNvPr>
          <p:cNvSpPr>
            <a:spLocks noGrp="1"/>
          </p:cNvSpPr>
          <p:nvPr>
            <p:ph type="title"/>
          </p:nvPr>
        </p:nvSpPr>
        <p:spPr>
          <a:xfrm>
            <a:off x="858605" y="553312"/>
            <a:ext cx="10611242" cy="672275"/>
          </a:xfrm>
        </p:spPr>
        <p:txBody>
          <a:bodyPr/>
          <a:lstStyle/>
          <a:p>
            <a:r>
              <a:rPr lang="en-US" dirty="0"/>
              <a:t>We will leverage our key learnings from our previous engagement with AIA HK to optimize the time and resources required for our project</a:t>
            </a:r>
          </a:p>
        </p:txBody>
      </p:sp>
      <p:sp>
        <p:nvSpPr>
          <p:cNvPr id="5" name="TextBox 4">
            <a:extLst>
              <a:ext uri="{FF2B5EF4-FFF2-40B4-BE49-F238E27FC236}">
                <a16:creationId xmlns:a16="http://schemas.microsoft.com/office/drawing/2014/main" id="{512AD131-295F-4E64-9C4D-3AA33ADD0DC9}"/>
              </a:ext>
            </a:extLst>
          </p:cNvPr>
          <p:cNvSpPr txBox="1"/>
          <p:nvPr/>
        </p:nvSpPr>
        <p:spPr>
          <a:xfrm>
            <a:off x="9325201" y="1931181"/>
            <a:ext cx="65" cy="219945"/>
          </a:xfrm>
          <a:prstGeom prst="rect">
            <a:avLst/>
          </a:prstGeom>
          <a:noFill/>
        </p:spPr>
        <p:txBody>
          <a:bodyPr wrap="square" lIns="0" tIns="36557" rIns="0" bIns="0" rtlCol="0">
            <a:spAutoFit/>
          </a:bodyPr>
          <a:lstStyle/>
          <a:p>
            <a:pPr defTabSz="913943">
              <a:lnSpc>
                <a:spcPct val="85000"/>
              </a:lnSpc>
              <a:spcAft>
                <a:spcPts val="600"/>
              </a:spcAft>
              <a:buClr>
                <a:srgbClr val="FFE600"/>
              </a:buClr>
              <a:buSzPct val="70000"/>
              <a:defRPr/>
            </a:pPr>
            <a:endParaRPr lang="en-US" sz="1399" dirty="0">
              <a:solidFill>
                <a:srgbClr val="646464"/>
              </a:solidFill>
              <a:latin typeface="EYInterstate" panose="02000503020000020004" pitchFamily="2" charset="0"/>
              <a:ea typeface="+mn-ea"/>
            </a:endParaRPr>
          </a:p>
        </p:txBody>
      </p:sp>
      <p:graphicFrame>
        <p:nvGraphicFramePr>
          <p:cNvPr id="6" name="Table 5">
            <a:extLst>
              <a:ext uri="{FF2B5EF4-FFF2-40B4-BE49-F238E27FC236}">
                <a16:creationId xmlns:a16="http://schemas.microsoft.com/office/drawing/2014/main" id="{70686474-0472-4B6F-B89E-49660E4F8AA2}"/>
              </a:ext>
            </a:extLst>
          </p:cNvPr>
          <p:cNvGraphicFramePr>
            <a:graphicFrameLocks noGrp="1"/>
          </p:cNvGraphicFramePr>
          <p:nvPr>
            <p:extLst>
              <p:ext uri="{D42A27DB-BD31-4B8C-83A1-F6EECF244321}">
                <p14:modId xmlns:p14="http://schemas.microsoft.com/office/powerpoint/2010/main" val="1027718520"/>
              </p:ext>
            </p:extLst>
          </p:nvPr>
        </p:nvGraphicFramePr>
        <p:xfrm>
          <a:off x="6794889" y="1359127"/>
          <a:ext cx="5241349" cy="4973150"/>
        </p:xfrm>
        <a:graphic>
          <a:graphicData uri="http://schemas.openxmlformats.org/drawingml/2006/table">
            <a:tbl>
              <a:tblPr bandRow="1">
                <a:tableStyleId>{5C22544A-7EE6-4342-B048-85BDC9FD1C3A}</a:tableStyleId>
              </a:tblPr>
              <a:tblGrid>
                <a:gridCol w="373931">
                  <a:extLst>
                    <a:ext uri="{9D8B030D-6E8A-4147-A177-3AD203B41FA5}">
                      <a16:colId xmlns:a16="http://schemas.microsoft.com/office/drawing/2014/main" val="891369428"/>
                    </a:ext>
                  </a:extLst>
                </a:gridCol>
                <a:gridCol w="4867418">
                  <a:extLst>
                    <a:ext uri="{9D8B030D-6E8A-4147-A177-3AD203B41FA5}">
                      <a16:colId xmlns:a16="http://schemas.microsoft.com/office/drawing/2014/main" val="228312643"/>
                    </a:ext>
                  </a:extLst>
                </a:gridCol>
              </a:tblGrid>
              <a:tr h="734117">
                <a:tc>
                  <a:txBody>
                    <a:bodyPr/>
                    <a:lstStyle/>
                    <a:p>
                      <a:pPr algn="ctr"/>
                      <a:r>
                        <a:rPr lang="en-US" sz="1200" b="1" dirty="0">
                          <a:solidFill>
                            <a:schemeClr val="bg1"/>
                          </a:solidFill>
                        </a:rPr>
                        <a:t>1.</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b="0" dirty="0">
                          <a:solidFill>
                            <a:schemeClr val="tx1"/>
                          </a:solidFill>
                          <a:latin typeface="EYInterstate Light" panose="02000506000000020004" pitchFamily="2" charset="0"/>
                        </a:rPr>
                        <a:t>In order to ensure that the proposed Data Platform meets requirements, we strongly advise AIATH to engage business stakeholders to understand and document their proposed use cases for the Data Platform. By ensuring business support and early engagement, the proposed architecture can be designed to meet current and future requirements.</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67368787"/>
                  </a:ext>
                </a:extLst>
              </a:tr>
              <a:tr h="734117">
                <a:tc>
                  <a:txBody>
                    <a:bodyPr/>
                    <a:lstStyle/>
                    <a:p>
                      <a:pPr algn="ctr"/>
                      <a:r>
                        <a:rPr lang="en-US" sz="1200" b="1" dirty="0">
                          <a:solidFill>
                            <a:schemeClr val="bg1"/>
                          </a:solidFill>
                        </a:rPr>
                        <a:t>2.</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b="0" dirty="0">
                          <a:solidFill>
                            <a:schemeClr val="tx1"/>
                          </a:solidFill>
                          <a:latin typeface="EYInterstate Light" panose="02000506000000020004" pitchFamily="2" charset="0"/>
                        </a:rPr>
                        <a:t>Design Authority approval requires endorsement from several different stakeholders within Business &amp; I.T such as Enterprise Architecture, Networking, Infrastructure, Tech Risk, Compliance and occasionally finance. We recommending socializing the proposed Architecture with each stakeholder group in separate meetings prior to seeking final endorsement at the Design Authority Committee.</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698491911"/>
                  </a:ext>
                </a:extLst>
              </a:tr>
              <a:tr h="475018">
                <a:tc>
                  <a:txBody>
                    <a:bodyPr/>
                    <a:lstStyle/>
                    <a:p>
                      <a:pPr algn="ctr"/>
                      <a:r>
                        <a:rPr lang="en-US" sz="1200" b="1" dirty="0">
                          <a:solidFill>
                            <a:schemeClr val="bg1"/>
                          </a:solidFill>
                        </a:rPr>
                        <a:t>3.</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b="0" dirty="0">
                          <a:solidFill>
                            <a:schemeClr val="tx1"/>
                          </a:solidFill>
                          <a:latin typeface="EYInterstate Light" panose="02000506000000020004" pitchFamily="2" charset="0"/>
                        </a:rPr>
                        <a:t>AIA Group have a catalog of approved Azure Services with recommended security control that should be applied when used within an architecture. We recommend only using these services as it takes 6-8 weeks to get a new Azure approved for use by AIA Group.</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4280870013"/>
                  </a:ext>
                </a:extLst>
              </a:tr>
              <a:tr h="475018">
                <a:tc>
                  <a:txBody>
                    <a:bodyPr/>
                    <a:lstStyle/>
                    <a:p>
                      <a:pPr algn="ctr"/>
                      <a:r>
                        <a:rPr lang="en-US" sz="1200" b="1" dirty="0">
                          <a:solidFill>
                            <a:schemeClr val="bg1"/>
                          </a:solidFill>
                        </a:rPr>
                        <a:t>4.</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b="0" dirty="0">
                          <a:solidFill>
                            <a:schemeClr val="tx1"/>
                          </a:solidFill>
                          <a:latin typeface="EYInterstate Light" panose="02000506000000020004" pitchFamily="2" charset="0"/>
                        </a:rPr>
                        <a:t>Ensure that the assessment considers the AIA Group standards and architecture patterns, including the current TDA roadmap for Thailand and Group. Consultation with Group architecture once the design is mature will avoid potential implementation complexities.</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3828183030"/>
                  </a:ext>
                </a:extLst>
              </a:tr>
              <a:tr h="475018">
                <a:tc>
                  <a:txBody>
                    <a:bodyPr/>
                    <a:lstStyle/>
                    <a:p>
                      <a:pPr algn="ctr"/>
                      <a:r>
                        <a:rPr lang="en-US" sz="1200" b="1" dirty="0">
                          <a:solidFill>
                            <a:schemeClr val="bg1"/>
                          </a:solidFill>
                        </a:rPr>
                        <a:t>5.</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1148930" rtl="0" eaLnBrk="1" fontAlgn="auto" latinLnBrk="0" hangingPunct="1">
                        <a:lnSpc>
                          <a:spcPct val="100000"/>
                        </a:lnSpc>
                        <a:spcBef>
                          <a:spcPts val="0"/>
                        </a:spcBef>
                        <a:spcAft>
                          <a:spcPts val="0"/>
                        </a:spcAft>
                        <a:buClrTx/>
                        <a:buSzTx/>
                        <a:buFontTx/>
                        <a:buNone/>
                        <a:tabLst/>
                        <a:defRPr/>
                      </a:pPr>
                      <a:r>
                        <a:rPr lang="en-US" sz="800" dirty="0">
                          <a:latin typeface="EYInterstate Light" panose="02000506000000020004" pitchFamily="2" charset="0"/>
                        </a:rPr>
                        <a:t>For each proposed Analytics Use Case, define the quantifiable benefit (increase in VONB, decrease in cost etc..) and assign a business owner to each use case. </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1498663197"/>
                  </a:ext>
                </a:extLst>
              </a:tr>
              <a:tr h="604567">
                <a:tc>
                  <a:txBody>
                    <a:bodyPr/>
                    <a:lstStyle/>
                    <a:p>
                      <a:pPr algn="ctr"/>
                      <a:r>
                        <a:rPr lang="en-US" sz="1200" b="1" dirty="0">
                          <a:solidFill>
                            <a:schemeClr val="bg1"/>
                          </a:solidFill>
                        </a:rPr>
                        <a:t>6.</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b="0" dirty="0">
                          <a:solidFill>
                            <a:schemeClr val="tx1"/>
                          </a:solidFill>
                          <a:latin typeface="EYInterstate Light" panose="02000506000000020004" pitchFamily="2" charset="0"/>
                        </a:rPr>
                        <a:t>Understand what the requirements are for the Change Activity board in advance of scheduling a Production release. Change Activity Board (CAB) requires several documents to be endorsed prior to scheduling a release e.g. Design Authority, Tech Risk/Compliance, Operations Guide</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1153382218"/>
                  </a:ext>
                </a:extLst>
              </a:tr>
              <a:tr h="345467">
                <a:tc>
                  <a:txBody>
                    <a:bodyPr/>
                    <a:lstStyle/>
                    <a:p>
                      <a:pPr algn="ctr"/>
                      <a:r>
                        <a:rPr lang="en-US" sz="1200" b="1" dirty="0">
                          <a:solidFill>
                            <a:schemeClr val="bg1"/>
                          </a:solidFill>
                        </a:rPr>
                        <a:t>7.</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dirty="0">
                          <a:latin typeface="EYInterstate Light" panose="02000506000000020004" pitchFamily="2" charset="0"/>
                        </a:rPr>
                        <a:t>When building the platform, build it using infrastructure as code. This will expedite the environment build process for each subsequent environment in TEST, SIT, UAT and PRE-PROD environments.</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1870651985"/>
                  </a:ext>
                </a:extLst>
              </a:tr>
              <a:tr h="550756">
                <a:tc>
                  <a:txBody>
                    <a:bodyPr/>
                    <a:lstStyle/>
                    <a:p>
                      <a:pPr algn="ctr"/>
                      <a:r>
                        <a:rPr lang="en-US" sz="1200" b="1" dirty="0">
                          <a:solidFill>
                            <a:schemeClr val="bg1"/>
                          </a:solidFill>
                        </a:rPr>
                        <a:t>8.</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dirty="0">
                          <a:latin typeface="EYInterstate Light" panose="02000506000000020004" pitchFamily="2" charset="0"/>
                        </a:rPr>
                        <a:t>Limit the UAT testing cycles to a maximum of 2 with well documented test cases that address all of the proposed functionality within the platform. By limiting UAT to only 2 cycles, it reduces the impact on business users and avoids testing fatigue.</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277197034"/>
                  </a:ext>
                </a:extLst>
              </a:tr>
              <a:tr h="578819">
                <a:tc>
                  <a:txBody>
                    <a:bodyPr/>
                    <a:lstStyle/>
                    <a:p>
                      <a:pPr algn="ctr"/>
                      <a:r>
                        <a:rPr lang="en-US" sz="1200" b="1" dirty="0">
                          <a:solidFill>
                            <a:schemeClr val="bg1"/>
                          </a:solidFill>
                        </a:rPr>
                        <a:t>9.</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800" dirty="0">
                          <a:latin typeface="EYInterstate Light" panose="02000506000000020004" pitchFamily="2" charset="0"/>
                        </a:rPr>
                        <a:t>By executing a series of mini-releases into production, you mitigate the risk of infrastructure/networking problems occurring. Each environment may have different networking configurations which could cause potential issues. We recommend performing small releases to iron out any potential issues.</a:t>
                      </a:r>
                    </a:p>
                  </a:txBody>
                  <a:tcPr marL="91392" marR="91392" marT="45696" marB="45696"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1830727005"/>
                  </a:ext>
                </a:extLst>
              </a:tr>
            </a:tbl>
          </a:graphicData>
        </a:graphic>
      </p:graphicFrame>
      <p:sp>
        <p:nvSpPr>
          <p:cNvPr id="16" name="TextBox 15">
            <a:extLst>
              <a:ext uri="{FF2B5EF4-FFF2-40B4-BE49-F238E27FC236}">
                <a16:creationId xmlns:a16="http://schemas.microsoft.com/office/drawing/2014/main" id="{B0449341-3A8B-464C-9ADD-AF02BF134571}"/>
              </a:ext>
            </a:extLst>
          </p:cNvPr>
          <p:cNvSpPr txBox="1"/>
          <p:nvPr/>
        </p:nvSpPr>
        <p:spPr>
          <a:xfrm>
            <a:off x="7500308" y="6425601"/>
            <a:ext cx="4213803" cy="532176"/>
          </a:xfrm>
          <a:prstGeom prst="rect">
            <a:avLst/>
          </a:prstGeom>
          <a:noFill/>
        </p:spPr>
        <p:txBody>
          <a:bodyPr wrap="square" lIns="0" tIns="36557" rIns="0" bIns="0" rtlCol="0">
            <a:spAutoFit/>
          </a:bodyPr>
          <a:lstStyle/>
          <a:p>
            <a:pPr defTabSz="913943">
              <a:lnSpc>
                <a:spcPct val="85000"/>
              </a:lnSpc>
              <a:spcAft>
                <a:spcPts val="600"/>
              </a:spcAft>
              <a:buClr>
                <a:srgbClr val="FFE600"/>
              </a:buClr>
              <a:buSzPct val="70000"/>
              <a:defRPr/>
            </a:pPr>
            <a:r>
              <a:rPr lang="en-US" sz="900" dirty="0">
                <a:solidFill>
                  <a:srgbClr val="646464"/>
                </a:solidFill>
                <a:latin typeface="EYInterstate" panose="02000503020000020004" pitchFamily="2" charset="0"/>
                <a:ea typeface="+mn-ea"/>
              </a:rPr>
              <a:t>*EY has built a repository of Data Platforms that have been scripted as infrastructure as code and can be easily tailored for AIATH environment.</a:t>
            </a:r>
          </a:p>
          <a:p>
            <a:pPr defTabSz="913943">
              <a:lnSpc>
                <a:spcPct val="85000"/>
              </a:lnSpc>
              <a:spcAft>
                <a:spcPts val="600"/>
              </a:spcAft>
              <a:buClr>
                <a:srgbClr val="FFE600"/>
              </a:buClr>
              <a:buSzPct val="70000"/>
              <a:defRPr/>
            </a:pPr>
            <a:endParaRPr lang="en-US" sz="1399" dirty="0">
              <a:solidFill>
                <a:srgbClr val="646464"/>
              </a:solidFill>
              <a:latin typeface="EYInterstate" panose="02000503020000020004" pitchFamily="2" charset="0"/>
              <a:ea typeface="+mn-ea"/>
            </a:endParaRPr>
          </a:p>
        </p:txBody>
      </p:sp>
      <p:pic>
        <p:nvPicPr>
          <p:cNvPr id="19" name="Graphic 18">
            <a:extLst>
              <a:ext uri="{FF2B5EF4-FFF2-40B4-BE49-F238E27FC236}">
                <a16:creationId xmlns:a16="http://schemas.microsoft.com/office/drawing/2014/main" id="{F623117E-E585-4DE0-9D15-D862128C8A3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32643" y="1792492"/>
            <a:ext cx="730344" cy="730344"/>
          </a:xfrm>
          <a:prstGeom prst="rect">
            <a:avLst/>
          </a:prstGeom>
        </p:spPr>
      </p:pic>
      <p:pic>
        <p:nvPicPr>
          <p:cNvPr id="21" name="Graphic 20">
            <a:extLst>
              <a:ext uri="{FF2B5EF4-FFF2-40B4-BE49-F238E27FC236}">
                <a16:creationId xmlns:a16="http://schemas.microsoft.com/office/drawing/2014/main" id="{7739BB27-3FBF-4B9F-A525-EF3647A2370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09403" y="2381959"/>
            <a:ext cx="717684" cy="717684"/>
          </a:xfrm>
          <a:prstGeom prst="rect">
            <a:avLst/>
          </a:prstGeom>
        </p:spPr>
      </p:pic>
      <p:pic>
        <p:nvPicPr>
          <p:cNvPr id="23" name="Graphic 22">
            <a:extLst>
              <a:ext uri="{FF2B5EF4-FFF2-40B4-BE49-F238E27FC236}">
                <a16:creationId xmlns:a16="http://schemas.microsoft.com/office/drawing/2014/main" id="{8DAC5E14-32EB-4689-83A5-36C6543225A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24093" y="4353081"/>
            <a:ext cx="600567" cy="600567"/>
          </a:xfrm>
          <a:prstGeom prst="rect">
            <a:avLst/>
          </a:prstGeom>
        </p:spPr>
      </p:pic>
      <p:pic>
        <p:nvPicPr>
          <p:cNvPr id="25" name="Graphic 24">
            <a:extLst>
              <a:ext uri="{FF2B5EF4-FFF2-40B4-BE49-F238E27FC236}">
                <a16:creationId xmlns:a16="http://schemas.microsoft.com/office/drawing/2014/main" id="{E43C1751-B7F9-4864-B4FC-7F896AC6FB5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98108" y="3313729"/>
            <a:ext cx="600567" cy="600567"/>
          </a:xfrm>
          <a:prstGeom prst="rect">
            <a:avLst/>
          </a:prstGeom>
        </p:spPr>
      </p:pic>
      <p:pic>
        <p:nvPicPr>
          <p:cNvPr id="27" name="Graphic 26">
            <a:extLst>
              <a:ext uri="{FF2B5EF4-FFF2-40B4-BE49-F238E27FC236}">
                <a16:creationId xmlns:a16="http://schemas.microsoft.com/office/drawing/2014/main" id="{50C019A0-75AF-4CD9-A685-C3BA7D38013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36200" y="2293944"/>
            <a:ext cx="733809" cy="733809"/>
          </a:xfrm>
          <a:prstGeom prst="rect">
            <a:avLst/>
          </a:prstGeom>
        </p:spPr>
      </p:pic>
      <p:pic>
        <p:nvPicPr>
          <p:cNvPr id="29" name="Graphic 28">
            <a:extLst>
              <a:ext uri="{FF2B5EF4-FFF2-40B4-BE49-F238E27FC236}">
                <a16:creationId xmlns:a16="http://schemas.microsoft.com/office/drawing/2014/main" id="{DD829CA6-CE7A-4C04-AA6B-F415E0BE6C7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583519" y="5449691"/>
            <a:ext cx="600567" cy="600567"/>
          </a:xfrm>
          <a:prstGeom prst="rect">
            <a:avLst/>
          </a:prstGeom>
        </p:spPr>
      </p:pic>
      <p:pic>
        <p:nvPicPr>
          <p:cNvPr id="31" name="Graphic 30">
            <a:extLst>
              <a:ext uri="{FF2B5EF4-FFF2-40B4-BE49-F238E27FC236}">
                <a16:creationId xmlns:a16="http://schemas.microsoft.com/office/drawing/2014/main" id="{966888F1-34B6-45EF-9629-BB9C9B7CD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260434" y="5449690"/>
            <a:ext cx="584074" cy="584074"/>
          </a:xfrm>
          <a:prstGeom prst="rect">
            <a:avLst/>
          </a:prstGeom>
        </p:spPr>
      </p:pic>
      <p:pic>
        <p:nvPicPr>
          <p:cNvPr id="33" name="Graphic 32">
            <a:extLst>
              <a:ext uri="{FF2B5EF4-FFF2-40B4-BE49-F238E27FC236}">
                <a16:creationId xmlns:a16="http://schemas.microsoft.com/office/drawing/2014/main" id="{688B9FA4-CB6F-47C8-AC5D-12FCE46C5D79}"/>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844508" y="3278220"/>
            <a:ext cx="717684" cy="717684"/>
          </a:xfrm>
          <a:prstGeom prst="rect">
            <a:avLst/>
          </a:prstGeom>
        </p:spPr>
      </p:pic>
      <p:pic>
        <p:nvPicPr>
          <p:cNvPr id="35" name="Graphic 34">
            <a:extLst>
              <a:ext uri="{FF2B5EF4-FFF2-40B4-BE49-F238E27FC236}">
                <a16:creationId xmlns:a16="http://schemas.microsoft.com/office/drawing/2014/main" id="{899CAA41-9AD8-4F35-944F-4FBB9363CE2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134467" y="4354473"/>
            <a:ext cx="672275" cy="672275"/>
          </a:xfrm>
          <a:prstGeom prst="rect">
            <a:avLst/>
          </a:prstGeom>
        </p:spPr>
      </p:pic>
      <p:sp>
        <p:nvSpPr>
          <p:cNvPr id="4" name="Rectangle 3">
            <a:extLst>
              <a:ext uri="{FF2B5EF4-FFF2-40B4-BE49-F238E27FC236}">
                <a16:creationId xmlns:a16="http://schemas.microsoft.com/office/drawing/2014/main" id="{21F24107-D303-4723-AD00-94C98687C053}"/>
              </a:ext>
            </a:extLst>
          </p:cNvPr>
          <p:cNvSpPr/>
          <p:nvPr/>
        </p:nvSpPr>
        <p:spPr>
          <a:xfrm>
            <a:off x="527814" y="5116447"/>
            <a:ext cx="6096000" cy="369140"/>
          </a:xfrm>
          <a:prstGeom prst="rect">
            <a:avLst/>
          </a:prstGeom>
        </p:spPr>
        <p:txBody>
          <a:bodyPr wrap="square">
            <a:spAutoFit/>
          </a:bodyPr>
          <a:lstStyle/>
          <a:p>
            <a:pPr defTabSz="913943">
              <a:defRPr/>
            </a:pPr>
            <a:endParaRPr lang="en-US" sz="1799" dirty="0">
              <a:solidFill>
                <a:srgbClr val="000000"/>
              </a:solidFill>
              <a:latin typeface="EYInterstate Light" panose="02000506000000020004" pitchFamily="2" charset="0"/>
              <a:ea typeface="+mn-ea"/>
            </a:endParaRPr>
          </a:p>
        </p:txBody>
      </p:sp>
      <p:pic>
        <p:nvPicPr>
          <p:cNvPr id="18" name="Picture 176" descr="aia logo - CHILDREN'S WISHING WELL">
            <a:extLst>
              <a:ext uri="{FF2B5EF4-FFF2-40B4-BE49-F238E27FC236}">
                <a16:creationId xmlns:a16="http://schemas.microsoft.com/office/drawing/2014/main" id="{1F4279D7-8F63-4DED-9EB5-DE836A28953B}"/>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601641" y="4095645"/>
            <a:ext cx="828921" cy="88226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4CF6B338-D17E-44B4-9D10-4534B1DC324D}"/>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999266" y="4078266"/>
            <a:ext cx="743365" cy="760577"/>
          </a:xfrm>
          <a:prstGeom prst="rect">
            <a:avLst/>
          </a:prstGeom>
        </p:spPr>
      </p:pic>
      <p:sp>
        <p:nvSpPr>
          <p:cNvPr id="7" name="TextBox 6">
            <a:extLst>
              <a:ext uri="{FF2B5EF4-FFF2-40B4-BE49-F238E27FC236}">
                <a16:creationId xmlns:a16="http://schemas.microsoft.com/office/drawing/2014/main" id="{D05691DD-B384-44A1-AAD5-7A1FFC198A64}"/>
              </a:ext>
            </a:extLst>
          </p:cNvPr>
          <p:cNvSpPr txBox="1"/>
          <p:nvPr/>
        </p:nvSpPr>
        <p:spPr>
          <a:xfrm>
            <a:off x="2843979" y="3386115"/>
            <a:ext cx="1729629" cy="560153"/>
          </a:xfrm>
          <a:prstGeom prst="rect">
            <a:avLst/>
          </a:prstGeom>
          <a:noFill/>
        </p:spPr>
        <p:txBody>
          <a:bodyPr wrap="square" lIns="0" tIns="36576" rIns="0" bIns="0" rtlCol="0">
            <a:spAutoFit/>
          </a:bodyPr>
          <a:lstStyle/>
          <a:p>
            <a:pPr algn="ctr" eaLnBrk="1" fontAlgn="auto" hangingPunct="1">
              <a:lnSpc>
                <a:spcPct val="85000"/>
              </a:lnSpc>
              <a:spcBef>
                <a:spcPts val="0"/>
              </a:spcBef>
              <a:spcAft>
                <a:spcPts val="600"/>
              </a:spcAft>
              <a:buClr>
                <a:srgbClr val="FFE600"/>
              </a:buClr>
              <a:buSzPct val="70000"/>
              <a:defRPr/>
            </a:pPr>
            <a:r>
              <a:rPr lang="en-US" sz="2000" b="1" dirty="0">
                <a:solidFill>
                  <a:srgbClr val="000000"/>
                </a:solidFill>
                <a:latin typeface="EYInterstate" panose="02000503020000020004" pitchFamily="2" charset="0"/>
                <a:ea typeface="+mn-ea"/>
                <a:cs typeface="+mn-cs"/>
              </a:rPr>
              <a:t>Key learning from AIA HK</a:t>
            </a:r>
          </a:p>
        </p:txBody>
      </p:sp>
      <p:graphicFrame>
        <p:nvGraphicFramePr>
          <p:cNvPr id="34" name="Diagram 33">
            <a:extLst>
              <a:ext uri="{FF2B5EF4-FFF2-40B4-BE49-F238E27FC236}">
                <a16:creationId xmlns:a16="http://schemas.microsoft.com/office/drawing/2014/main" id="{7FD2F4D4-FE3F-4DC6-801B-478DBB14F811}"/>
              </a:ext>
            </a:extLst>
          </p:cNvPr>
          <p:cNvGraphicFramePr/>
          <p:nvPr/>
        </p:nvGraphicFramePr>
        <p:xfrm>
          <a:off x="208684" y="1112275"/>
          <a:ext cx="7004332" cy="5718751"/>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spTree>
    <p:extLst>
      <p:ext uri="{BB962C8B-B14F-4D97-AF65-F5344CB8AC3E}">
        <p14:creationId xmlns:p14="http://schemas.microsoft.com/office/powerpoint/2010/main" val="1892280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AC9DD9-CEC9-4C29-A86C-55E848D38788}"/>
              </a:ext>
            </a:extLst>
          </p:cNvPr>
          <p:cNvGraphicFramePr>
            <a:graphicFrameLocks noChangeAspect="1"/>
          </p:cNvGraphicFramePr>
          <p:nvPr>
            <p:custDataLst>
              <p:tags r:id="rId2"/>
            </p:custDataLst>
          </p:nvPr>
        </p:nvGraphicFramePr>
        <p:xfrm>
          <a:off x="4855" y="1440"/>
          <a:ext cx="1440" cy="1440"/>
        </p:xfrm>
        <a:graphic>
          <a:graphicData uri="http://schemas.openxmlformats.org/presentationml/2006/ole">
            <mc:AlternateContent xmlns:mc="http://schemas.openxmlformats.org/markup-compatibility/2006">
              <mc:Choice xmlns:v="urn:schemas-microsoft-com:vml" Requires="v">
                <p:oleObj spid="_x0000_s207881"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B6AC9DD9-CEC9-4C29-A86C-55E848D38788}"/>
                          </a:ext>
                        </a:extLst>
                      </p:cNvPr>
                      <p:cNvPicPr/>
                      <p:nvPr/>
                    </p:nvPicPr>
                    <p:blipFill>
                      <a:blip r:embed="rId7"/>
                      <a:stretch>
                        <a:fillRect/>
                      </a:stretch>
                    </p:blipFill>
                    <p:spPr>
                      <a:xfrm>
                        <a:off x="4855" y="1440"/>
                        <a:ext cx="1440" cy="1440"/>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BDA80CF-9881-4343-A346-489D5F28D488}"/>
              </a:ext>
            </a:extLst>
          </p:cNvPr>
          <p:cNvSpPr/>
          <p:nvPr>
            <p:custDataLst>
              <p:tags r:id="rId3"/>
            </p:custDataLst>
          </p:nvPr>
        </p:nvSpPr>
        <p:spPr>
          <a:xfrm>
            <a:off x="3415" y="0"/>
            <a:ext cx="143955" cy="14395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176" b="0" i="0" u="none" strike="noStrike" kern="1200" cap="none" spc="0" normalizeH="0" baseline="0" noProof="0" dirty="0">
              <a:ln>
                <a:noFill/>
              </a:ln>
              <a:solidFill>
                <a:srgbClr val="000000"/>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2" name="Title 1">
            <a:extLst>
              <a:ext uri="{FF2B5EF4-FFF2-40B4-BE49-F238E27FC236}">
                <a16:creationId xmlns:a16="http://schemas.microsoft.com/office/drawing/2014/main" id="{5A63B3DB-B0C5-4C5B-8A2F-B8CD35FD972C}"/>
              </a:ext>
            </a:extLst>
          </p:cNvPr>
          <p:cNvSpPr>
            <a:spLocks noGrp="1"/>
          </p:cNvSpPr>
          <p:nvPr>
            <p:ph type="title"/>
          </p:nvPr>
        </p:nvSpPr>
        <p:spPr>
          <a:xfrm>
            <a:off x="856514" y="552899"/>
            <a:ext cx="11010808" cy="671159"/>
          </a:xfrm>
        </p:spPr>
        <p:txBody>
          <a:bodyPr/>
          <a:lstStyle/>
          <a:p>
            <a:r>
              <a:rPr lang="en-GB" dirty="0"/>
              <a:t>We understand AIA Ascend 200’s data analytics use cases and we will bring in the knowledge and skills required for the deployment of the use cases selected by AIAT</a:t>
            </a:r>
          </a:p>
        </p:txBody>
      </p:sp>
      <p:grpSp>
        <p:nvGrpSpPr>
          <p:cNvPr id="3" name="Group 2">
            <a:extLst>
              <a:ext uri="{FF2B5EF4-FFF2-40B4-BE49-F238E27FC236}">
                <a16:creationId xmlns:a16="http://schemas.microsoft.com/office/drawing/2014/main" id="{09CEFB1F-4666-46C4-B7DD-0C5DDCA7CA2A}"/>
              </a:ext>
            </a:extLst>
          </p:cNvPr>
          <p:cNvGrpSpPr/>
          <p:nvPr/>
        </p:nvGrpSpPr>
        <p:grpSpPr>
          <a:xfrm>
            <a:off x="1255128" y="1308210"/>
            <a:ext cx="10218155" cy="4876976"/>
            <a:chOff x="815923" y="1577445"/>
            <a:chExt cx="10218155" cy="4876976"/>
          </a:xfrm>
        </p:grpSpPr>
        <p:sp>
          <p:nvSpPr>
            <p:cNvPr id="15" name="Freeform 5179">
              <a:extLst>
                <a:ext uri="{FF2B5EF4-FFF2-40B4-BE49-F238E27FC236}">
                  <a16:creationId xmlns:a16="http://schemas.microsoft.com/office/drawing/2014/main" id="{4F54E03B-36C3-4F35-A638-F06D4171D1CB}"/>
                </a:ext>
              </a:extLst>
            </p:cNvPr>
            <p:cNvSpPr/>
            <p:nvPr/>
          </p:nvSpPr>
          <p:spPr>
            <a:xfrm>
              <a:off x="824309" y="1824286"/>
              <a:ext cx="10178169" cy="261191"/>
            </a:xfrm>
            <a:custGeom>
              <a:avLst/>
              <a:gdLst/>
              <a:ahLst/>
              <a:cxnLst/>
              <a:rect l="0" t="0" r="0" b="0"/>
              <a:pathLst>
                <a:path w="11224259" h="288036">
                  <a:moveTo>
                    <a:pt x="0" y="29465"/>
                  </a:moveTo>
                  <a:cubicBezTo>
                    <a:pt x="0" y="13209"/>
                    <a:pt x="13195" y="0"/>
                    <a:pt x="29464" y="0"/>
                  </a:cubicBezTo>
                  <a:lnTo>
                    <a:pt x="11194795" y="0"/>
                  </a:lnTo>
                  <a:cubicBezTo>
                    <a:pt x="11211052" y="0"/>
                    <a:pt x="11224259" y="13209"/>
                    <a:pt x="11224259" y="29465"/>
                  </a:cubicBezTo>
                  <a:lnTo>
                    <a:pt x="11224259" y="258573"/>
                  </a:lnTo>
                  <a:cubicBezTo>
                    <a:pt x="11224259" y="274829"/>
                    <a:pt x="11211052" y="288036"/>
                    <a:pt x="11194795" y="288036"/>
                  </a:cubicBezTo>
                  <a:lnTo>
                    <a:pt x="29464" y="288036"/>
                  </a:lnTo>
                  <a:cubicBezTo>
                    <a:pt x="13195" y="288036"/>
                    <a:pt x="0" y="274829"/>
                    <a:pt x="0" y="258573"/>
                  </a:cubicBezTo>
                  <a:close/>
                  <a:moveTo>
                    <a:pt x="4966207" y="5494020"/>
                  </a:moveTo>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5180">
              <a:extLst>
                <a:ext uri="{FF2B5EF4-FFF2-40B4-BE49-F238E27FC236}">
                  <a16:creationId xmlns:a16="http://schemas.microsoft.com/office/drawing/2014/main" id="{A68CE7C2-A322-4E8A-BB2B-072F7FCB9DDB}"/>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5483026" y="1832693"/>
              <a:ext cx="955397" cy="244147"/>
            </a:xfrm>
            <a:prstGeom prst="rect">
              <a:avLst/>
            </a:prstGeom>
            <a:noFill/>
          </p:spPr>
        </p:pic>
        <p:sp>
          <p:nvSpPr>
            <p:cNvPr id="17" name="Freeform 5181">
              <a:extLst>
                <a:ext uri="{FF2B5EF4-FFF2-40B4-BE49-F238E27FC236}">
                  <a16:creationId xmlns:a16="http://schemas.microsoft.com/office/drawing/2014/main" id="{085825BE-D57A-4617-95E2-72D143B43241}"/>
                </a:ext>
              </a:extLst>
            </p:cNvPr>
            <p:cNvSpPr/>
            <p:nvPr/>
          </p:nvSpPr>
          <p:spPr>
            <a:xfrm>
              <a:off x="824308" y="2171160"/>
              <a:ext cx="946646" cy="425646"/>
            </a:xfrm>
            <a:custGeom>
              <a:avLst/>
              <a:gdLst/>
              <a:ahLst/>
              <a:cxnLst/>
              <a:rect l="0" t="0" r="0" b="0"/>
              <a:pathLst>
                <a:path w="1043940" h="469393">
                  <a:moveTo>
                    <a:pt x="0" y="48006"/>
                  </a:moveTo>
                  <a:cubicBezTo>
                    <a:pt x="0" y="21463"/>
                    <a:pt x="21488" y="0"/>
                    <a:pt x="48006" y="0"/>
                  </a:cubicBezTo>
                  <a:lnTo>
                    <a:pt x="995934" y="0"/>
                  </a:lnTo>
                  <a:cubicBezTo>
                    <a:pt x="1022477" y="0"/>
                    <a:pt x="1043940" y="21463"/>
                    <a:pt x="1043940" y="48006"/>
                  </a:cubicBezTo>
                  <a:lnTo>
                    <a:pt x="1043940" y="421387"/>
                  </a:lnTo>
                  <a:cubicBezTo>
                    <a:pt x="1043940" y="447930"/>
                    <a:pt x="1022477" y="469393"/>
                    <a:pt x="995934" y="469393"/>
                  </a:cubicBezTo>
                  <a:lnTo>
                    <a:pt x="48006" y="469393"/>
                  </a:lnTo>
                  <a:cubicBezTo>
                    <a:pt x="21488" y="469393"/>
                    <a:pt x="0" y="447930"/>
                    <a:pt x="0" y="421387"/>
                  </a:cubicBezTo>
                  <a:close/>
                  <a:moveTo>
                    <a:pt x="4565142" y="5111496"/>
                  </a:move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8" name="Picture 5182">
              <a:extLst>
                <a:ext uri="{FF2B5EF4-FFF2-40B4-BE49-F238E27FC236}">
                  <a16:creationId xmlns:a16="http://schemas.microsoft.com/office/drawing/2014/main" id="{3F88C891-5DD6-416D-A012-9A464D821A45}"/>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000186" y="2248665"/>
              <a:ext cx="667754" cy="147409"/>
            </a:xfrm>
            <a:prstGeom prst="rect">
              <a:avLst/>
            </a:prstGeom>
            <a:noFill/>
          </p:spPr>
        </p:pic>
        <p:pic>
          <p:nvPicPr>
            <p:cNvPr id="19" name="Picture 5183">
              <a:extLst>
                <a:ext uri="{FF2B5EF4-FFF2-40B4-BE49-F238E27FC236}">
                  <a16:creationId xmlns:a16="http://schemas.microsoft.com/office/drawing/2014/main" id="{8634F485-8D4C-4057-A14A-669CCA27CF60}"/>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1009860" y="2373042"/>
              <a:ext cx="631396" cy="147409"/>
            </a:xfrm>
            <a:prstGeom prst="rect">
              <a:avLst/>
            </a:prstGeom>
            <a:noFill/>
          </p:spPr>
        </p:pic>
        <p:sp>
          <p:nvSpPr>
            <p:cNvPr id="20" name="Freeform 5184">
              <a:extLst>
                <a:ext uri="{FF2B5EF4-FFF2-40B4-BE49-F238E27FC236}">
                  <a16:creationId xmlns:a16="http://schemas.microsoft.com/office/drawing/2014/main" id="{9AC376EE-9A0E-4DBA-A480-4E6942877BF3}"/>
                </a:ext>
              </a:extLst>
            </p:cNvPr>
            <p:cNvSpPr/>
            <p:nvPr/>
          </p:nvSpPr>
          <p:spPr>
            <a:xfrm>
              <a:off x="1849725" y="2171160"/>
              <a:ext cx="946646" cy="425646"/>
            </a:xfrm>
            <a:custGeom>
              <a:avLst/>
              <a:gdLst/>
              <a:ahLst/>
              <a:cxnLst/>
              <a:rect l="0" t="0" r="0" b="0"/>
              <a:pathLst>
                <a:path w="1043940" h="469393">
                  <a:moveTo>
                    <a:pt x="0" y="48006"/>
                  </a:moveTo>
                  <a:cubicBezTo>
                    <a:pt x="0" y="21463"/>
                    <a:pt x="21464" y="0"/>
                    <a:pt x="48006" y="0"/>
                  </a:cubicBezTo>
                  <a:lnTo>
                    <a:pt x="995934" y="0"/>
                  </a:lnTo>
                  <a:cubicBezTo>
                    <a:pt x="1022477" y="0"/>
                    <a:pt x="1043940" y="21463"/>
                    <a:pt x="1043940" y="48006"/>
                  </a:cubicBezTo>
                  <a:lnTo>
                    <a:pt x="1043940" y="421387"/>
                  </a:lnTo>
                  <a:cubicBezTo>
                    <a:pt x="1043940" y="447930"/>
                    <a:pt x="1022477" y="469393"/>
                    <a:pt x="995934" y="469393"/>
                  </a:cubicBezTo>
                  <a:lnTo>
                    <a:pt x="48006" y="469393"/>
                  </a:lnTo>
                  <a:cubicBezTo>
                    <a:pt x="21464" y="469393"/>
                    <a:pt x="0" y="447930"/>
                    <a:pt x="0" y="421387"/>
                  </a:cubicBezTo>
                  <a:close/>
                  <a:moveTo>
                    <a:pt x="3434335" y="5111496"/>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1" name="Picture 5185">
              <a:extLst>
                <a:ext uri="{FF2B5EF4-FFF2-40B4-BE49-F238E27FC236}">
                  <a16:creationId xmlns:a16="http://schemas.microsoft.com/office/drawing/2014/main" id="{EEAECB33-DC07-49B6-8871-F3A2FB408E38}"/>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1970879" y="2248665"/>
              <a:ext cx="424193" cy="147409"/>
            </a:xfrm>
            <a:prstGeom prst="rect">
              <a:avLst/>
            </a:prstGeom>
            <a:noFill/>
          </p:spPr>
        </p:pic>
        <p:pic>
          <p:nvPicPr>
            <p:cNvPr id="22" name="Picture 5186">
              <a:extLst>
                <a:ext uri="{FF2B5EF4-FFF2-40B4-BE49-F238E27FC236}">
                  <a16:creationId xmlns:a16="http://schemas.microsoft.com/office/drawing/2014/main" id="{4714C4D6-A47F-4CE7-925B-3A403D4366BB}"/>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2345391" y="2248665"/>
              <a:ext cx="393088" cy="147409"/>
            </a:xfrm>
            <a:prstGeom prst="rect">
              <a:avLst/>
            </a:prstGeom>
            <a:noFill/>
          </p:spPr>
        </p:pic>
        <p:pic>
          <p:nvPicPr>
            <p:cNvPr id="23" name="Picture 5187">
              <a:extLst>
                <a:ext uri="{FF2B5EF4-FFF2-40B4-BE49-F238E27FC236}">
                  <a16:creationId xmlns:a16="http://schemas.microsoft.com/office/drawing/2014/main" id="{C4E8F867-D54F-4776-BDAA-9ACB689A46CA}"/>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2037212" y="2373042"/>
              <a:ext cx="617393" cy="147409"/>
            </a:xfrm>
            <a:prstGeom prst="rect">
              <a:avLst/>
            </a:prstGeom>
            <a:noFill/>
          </p:spPr>
        </p:pic>
        <p:sp>
          <p:nvSpPr>
            <p:cNvPr id="24" name="Freeform 5188">
              <a:extLst>
                <a:ext uri="{FF2B5EF4-FFF2-40B4-BE49-F238E27FC236}">
                  <a16:creationId xmlns:a16="http://schemas.microsoft.com/office/drawing/2014/main" id="{E0422B67-3BD5-4620-AD3A-D57A0A147B85}"/>
                </a:ext>
              </a:extLst>
            </p:cNvPr>
            <p:cNvSpPr/>
            <p:nvPr/>
          </p:nvSpPr>
          <p:spPr>
            <a:xfrm>
              <a:off x="2875144" y="2171160"/>
              <a:ext cx="948028" cy="425646"/>
            </a:xfrm>
            <a:custGeom>
              <a:avLst/>
              <a:gdLst/>
              <a:ahLst/>
              <a:cxnLst/>
              <a:rect l="0" t="0" r="0" b="0"/>
              <a:pathLst>
                <a:path w="1045464" h="469393">
                  <a:moveTo>
                    <a:pt x="0" y="48006"/>
                  </a:moveTo>
                  <a:cubicBezTo>
                    <a:pt x="0" y="21463"/>
                    <a:pt x="21462" y="0"/>
                    <a:pt x="48006" y="0"/>
                  </a:cubicBezTo>
                  <a:lnTo>
                    <a:pt x="997457" y="0"/>
                  </a:lnTo>
                  <a:cubicBezTo>
                    <a:pt x="1024001" y="0"/>
                    <a:pt x="1045464" y="21463"/>
                    <a:pt x="1045464" y="48006"/>
                  </a:cubicBezTo>
                  <a:lnTo>
                    <a:pt x="1045464" y="421387"/>
                  </a:lnTo>
                  <a:cubicBezTo>
                    <a:pt x="1045464" y="447930"/>
                    <a:pt x="1024001" y="469393"/>
                    <a:pt x="997457" y="469393"/>
                  </a:cubicBezTo>
                  <a:lnTo>
                    <a:pt x="48006" y="469393"/>
                  </a:lnTo>
                  <a:cubicBezTo>
                    <a:pt x="21462" y="469393"/>
                    <a:pt x="0" y="447930"/>
                    <a:pt x="0" y="421387"/>
                  </a:cubicBezTo>
                  <a:close/>
                  <a:moveTo>
                    <a:pt x="2303526" y="5111496"/>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5" name="Picture 5189">
              <a:extLst>
                <a:ext uri="{FF2B5EF4-FFF2-40B4-BE49-F238E27FC236}">
                  <a16:creationId xmlns:a16="http://schemas.microsoft.com/office/drawing/2014/main" id="{F09AA7A4-FB19-44BF-88DC-F21BEAFCCDC8}"/>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3115721" y="2248665"/>
              <a:ext cx="538632" cy="147409"/>
            </a:xfrm>
            <a:prstGeom prst="rect">
              <a:avLst/>
            </a:prstGeom>
            <a:noFill/>
          </p:spPr>
        </p:pic>
        <p:pic>
          <p:nvPicPr>
            <p:cNvPr id="26" name="Picture 5190">
              <a:extLst>
                <a:ext uri="{FF2B5EF4-FFF2-40B4-BE49-F238E27FC236}">
                  <a16:creationId xmlns:a16="http://schemas.microsoft.com/office/drawing/2014/main" id="{ADD283CA-07AE-4C51-9ECB-C062CAC555C3}"/>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3053531" y="2373042"/>
              <a:ext cx="638352" cy="147409"/>
            </a:xfrm>
            <a:prstGeom prst="rect">
              <a:avLst/>
            </a:prstGeom>
            <a:noFill/>
          </p:spPr>
        </p:pic>
        <p:sp>
          <p:nvSpPr>
            <p:cNvPr id="27" name="Freeform 5191">
              <a:extLst>
                <a:ext uri="{FF2B5EF4-FFF2-40B4-BE49-F238E27FC236}">
                  <a16:creationId xmlns:a16="http://schemas.microsoft.com/office/drawing/2014/main" id="{D31EE059-FC7B-4C51-B13D-3BF3FCBB94A9}"/>
                </a:ext>
              </a:extLst>
            </p:cNvPr>
            <p:cNvSpPr/>
            <p:nvPr/>
          </p:nvSpPr>
          <p:spPr>
            <a:xfrm>
              <a:off x="3901944" y="2171160"/>
              <a:ext cx="946645" cy="425646"/>
            </a:xfrm>
            <a:custGeom>
              <a:avLst/>
              <a:gdLst/>
              <a:ahLst/>
              <a:cxnLst/>
              <a:rect l="0" t="0" r="0" b="0"/>
              <a:pathLst>
                <a:path w="1043939" h="469393">
                  <a:moveTo>
                    <a:pt x="0" y="48006"/>
                  </a:moveTo>
                  <a:cubicBezTo>
                    <a:pt x="0" y="21463"/>
                    <a:pt x="21463" y="0"/>
                    <a:pt x="48006" y="0"/>
                  </a:cubicBezTo>
                  <a:lnTo>
                    <a:pt x="995933" y="0"/>
                  </a:lnTo>
                  <a:cubicBezTo>
                    <a:pt x="1022476" y="0"/>
                    <a:pt x="1043939" y="21463"/>
                    <a:pt x="1043939" y="48006"/>
                  </a:cubicBezTo>
                  <a:lnTo>
                    <a:pt x="1043939" y="421387"/>
                  </a:lnTo>
                  <a:cubicBezTo>
                    <a:pt x="1043939" y="447930"/>
                    <a:pt x="1022476" y="469393"/>
                    <a:pt x="995933" y="469393"/>
                  </a:cubicBezTo>
                  <a:lnTo>
                    <a:pt x="48006" y="469393"/>
                  </a:lnTo>
                  <a:cubicBezTo>
                    <a:pt x="21463" y="469393"/>
                    <a:pt x="0" y="447930"/>
                    <a:pt x="0" y="421387"/>
                  </a:cubicBezTo>
                  <a:close/>
                  <a:moveTo>
                    <a:pt x="1171194" y="5111496"/>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5192">
              <a:extLst>
                <a:ext uri="{FF2B5EF4-FFF2-40B4-BE49-F238E27FC236}">
                  <a16:creationId xmlns:a16="http://schemas.microsoft.com/office/drawing/2014/main" id="{CE67B40D-83E7-414C-A178-8AF02AABE8FD}"/>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4170736" y="2186477"/>
              <a:ext cx="463684" cy="147409"/>
            </a:xfrm>
            <a:prstGeom prst="rect">
              <a:avLst/>
            </a:prstGeom>
            <a:noFill/>
          </p:spPr>
        </p:pic>
        <p:pic>
          <p:nvPicPr>
            <p:cNvPr id="29" name="Picture 5193">
              <a:extLst>
                <a:ext uri="{FF2B5EF4-FFF2-40B4-BE49-F238E27FC236}">
                  <a16:creationId xmlns:a16="http://schemas.microsoft.com/office/drawing/2014/main" id="{CEF0747A-8525-430D-A4A4-C22D863CF85A}"/>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4062942" y="2310854"/>
              <a:ext cx="670425" cy="147409"/>
            </a:xfrm>
            <a:prstGeom prst="rect">
              <a:avLst/>
            </a:prstGeom>
            <a:noFill/>
          </p:spPr>
        </p:pic>
        <p:pic>
          <p:nvPicPr>
            <p:cNvPr id="30" name="Picture 5194">
              <a:extLst>
                <a:ext uri="{FF2B5EF4-FFF2-40B4-BE49-F238E27FC236}">
                  <a16:creationId xmlns:a16="http://schemas.microsoft.com/office/drawing/2014/main" id="{8AE2ED21-D2F0-49BA-B371-31EDDBDCD573}"/>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4129277" y="2435231"/>
              <a:ext cx="534106" cy="147409"/>
            </a:xfrm>
            <a:prstGeom prst="rect">
              <a:avLst/>
            </a:prstGeom>
            <a:noFill/>
          </p:spPr>
        </p:pic>
        <p:sp>
          <p:nvSpPr>
            <p:cNvPr id="31" name="Freeform 5195">
              <a:extLst>
                <a:ext uri="{FF2B5EF4-FFF2-40B4-BE49-F238E27FC236}">
                  <a16:creationId xmlns:a16="http://schemas.microsoft.com/office/drawing/2014/main" id="{82653B68-5B22-4243-8414-601A5B820C7C}"/>
                </a:ext>
              </a:extLst>
            </p:cNvPr>
            <p:cNvSpPr/>
            <p:nvPr/>
          </p:nvSpPr>
          <p:spPr>
            <a:xfrm>
              <a:off x="4927361" y="2171160"/>
              <a:ext cx="946647" cy="425646"/>
            </a:xfrm>
            <a:custGeom>
              <a:avLst/>
              <a:gdLst/>
              <a:ahLst/>
              <a:cxnLst/>
              <a:rect l="0" t="0" r="0" b="0"/>
              <a:pathLst>
                <a:path w="1043941" h="469393">
                  <a:moveTo>
                    <a:pt x="0" y="48006"/>
                  </a:moveTo>
                  <a:cubicBezTo>
                    <a:pt x="0" y="21463"/>
                    <a:pt x="21463" y="0"/>
                    <a:pt x="48006" y="0"/>
                  </a:cubicBezTo>
                  <a:lnTo>
                    <a:pt x="995935" y="0"/>
                  </a:lnTo>
                  <a:cubicBezTo>
                    <a:pt x="1022477" y="0"/>
                    <a:pt x="1043941" y="21463"/>
                    <a:pt x="1043941" y="48006"/>
                  </a:cubicBezTo>
                  <a:lnTo>
                    <a:pt x="1043941" y="421387"/>
                  </a:lnTo>
                  <a:cubicBezTo>
                    <a:pt x="1043941" y="447930"/>
                    <a:pt x="1022477" y="469393"/>
                    <a:pt x="995935" y="469393"/>
                  </a:cubicBezTo>
                  <a:lnTo>
                    <a:pt x="48006" y="469393"/>
                  </a:lnTo>
                  <a:cubicBezTo>
                    <a:pt x="21463" y="469393"/>
                    <a:pt x="0" y="447930"/>
                    <a:pt x="0" y="421387"/>
                  </a:cubicBezTo>
                  <a:close/>
                  <a:moveTo>
                    <a:pt x="40387" y="5111496"/>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32" name="Picture 5196">
              <a:extLst>
                <a:ext uri="{FF2B5EF4-FFF2-40B4-BE49-F238E27FC236}">
                  <a16:creationId xmlns:a16="http://schemas.microsoft.com/office/drawing/2014/main" id="{8E37D374-B2D5-4D47-A9D7-729646E52646}"/>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5208821" y="2248665"/>
              <a:ext cx="452973" cy="147409"/>
            </a:xfrm>
            <a:prstGeom prst="rect">
              <a:avLst/>
            </a:prstGeom>
            <a:noFill/>
          </p:spPr>
        </p:pic>
        <p:pic>
          <p:nvPicPr>
            <p:cNvPr id="33" name="Picture 5197">
              <a:extLst>
                <a:ext uri="{FF2B5EF4-FFF2-40B4-BE49-F238E27FC236}">
                  <a16:creationId xmlns:a16="http://schemas.microsoft.com/office/drawing/2014/main" id="{91464FCC-09D0-421A-B9B8-DC55AC942114}"/>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5116230" y="2373042"/>
              <a:ext cx="664160" cy="147409"/>
            </a:xfrm>
            <a:prstGeom prst="rect">
              <a:avLst/>
            </a:prstGeom>
            <a:noFill/>
          </p:spPr>
        </p:pic>
        <p:sp>
          <p:nvSpPr>
            <p:cNvPr id="34" name="Freeform 5198">
              <a:extLst>
                <a:ext uri="{FF2B5EF4-FFF2-40B4-BE49-F238E27FC236}">
                  <a16:creationId xmlns:a16="http://schemas.microsoft.com/office/drawing/2014/main" id="{F25F4CCF-F55D-45CE-B8EA-E1247340DA26}"/>
                </a:ext>
              </a:extLst>
            </p:cNvPr>
            <p:cNvSpPr/>
            <p:nvPr/>
          </p:nvSpPr>
          <p:spPr>
            <a:xfrm>
              <a:off x="5952779" y="2171160"/>
              <a:ext cx="946647" cy="425646"/>
            </a:xfrm>
            <a:custGeom>
              <a:avLst/>
              <a:gdLst/>
              <a:ahLst/>
              <a:cxnLst/>
              <a:rect l="0" t="0" r="0" b="0"/>
              <a:pathLst>
                <a:path w="1043941" h="469393">
                  <a:moveTo>
                    <a:pt x="0" y="48006"/>
                  </a:moveTo>
                  <a:cubicBezTo>
                    <a:pt x="0" y="21463"/>
                    <a:pt x="21464" y="0"/>
                    <a:pt x="48006" y="0"/>
                  </a:cubicBezTo>
                  <a:lnTo>
                    <a:pt x="995934" y="0"/>
                  </a:lnTo>
                  <a:cubicBezTo>
                    <a:pt x="1022478" y="0"/>
                    <a:pt x="1043941" y="21463"/>
                    <a:pt x="1043941" y="48006"/>
                  </a:cubicBezTo>
                  <a:lnTo>
                    <a:pt x="1043941" y="421387"/>
                  </a:lnTo>
                  <a:cubicBezTo>
                    <a:pt x="1043941" y="447930"/>
                    <a:pt x="1022478" y="469393"/>
                    <a:pt x="995934" y="469393"/>
                  </a:cubicBezTo>
                  <a:lnTo>
                    <a:pt x="48006" y="469393"/>
                  </a:lnTo>
                  <a:cubicBezTo>
                    <a:pt x="21464" y="469393"/>
                    <a:pt x="0" y="447930"/>
                    <a:pt x="0" y="421387"/>
                  </a:cubicBezTo>
                  <a:close/>
                  <a:moveTo>
                    <a:pt x="-1090421" y="5111496"/>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5199">
              <a:extLst>
                <a:ext uri="{FF2B5EF4-FFF2-40B4-BE49-F238E27FC236}">
                  <a16:creationId xmlns:a16="http://schemas.microsoft.com/office/drawing/2014/main" id="{BCFA902A-D165-4E69-97E8-541E72B6A781}"/>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6057924" y="2248665"/>
              <a:ext cx="336462" cy="147409"/>
            </a:xfrm>
            <a:prstGeom prst="rect">
              <a:avLst/>
            </a:prstGeom>
            <a:noFill/>
          </p:spPr>
        </p:pic>
        <p:pic>
          <p:nvPicPr>
            <p:cNvPr id="36" name="Picture 5200">
              <a:extLst>
                <a:ext uri="{FF2B5EF4-FFF2-40B4-BE49-F238E27FC236}">
                  <a16:creationId xmlns:a16="http://schemas.microsoft.com/office/drawing/2014/main" id="{32B707CC-CBD2-4FA4-B6DF-FB5EB2D9BE30}"/>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6319115" y="2248665"/>
              <a:ext cx="97658" cy="147409"/>
            </a:xfrm>
            <a:prstGeom prst="rect">
              <a:avLst/>
            </a:prstGeom>
            <a:noFill/>
          </p:spPr>
        </p:pic>
        <p:pic>
          <p:nvPicPr>
            <p:cNvPr id="37" name="Picture 5201">
              <a:extLst>
                <a:ext uri="{FF2B5EF4-FFF2-40B4-BE49-F238E27FC236}">
                  <a16:creationId xmlns:a16="http://schemas.microsoft.com/office/drawing/2014/main" id="{95D0E61F-EF2B-4457-A59C-6C5A5E17B6D4}"/>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6356427" y="2248665"/>
              <a:ext cx="514401" cy="147409"/>
            </a:xfrm>
            <a:prstGeom prst="rect">
              <a:avLst/>
            </a:prstGeom>
            <a:noFill/>
          </p:spPr>
        </p:pic>
        <p:pic>
          <p:nvPicPr>
            <p:cNvPr id="38" name="Picture 5202">
              <a:extLst>
                <a:ext uri="{FF2B5EF4-FFF2-40B4-BE49-F238E27FC236}">
                  <a16:creationId xmlns:a16="http://schemas.microsoft.com/office/drawing/2014/main" id="{F47FC46C-5E17-4C80-A7FB-5AACCE0962F7}"/>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6207175" y="2373042"/>
              <a:ext cx="514402" cy="147409"/>
            </a:xfrm>
            <a:prstGeom prst="rect">
              <a:avLst/>
            </a:prstGeom>
            <a:noFill/>
          </p:spPr>
        </p:pic>
        <p:sp>
          <p:nvSpPr>
            <p:cNvPr id="39" name="Freeform 5203">
              <a:extLst>
                <a:ext uri="{FF2B5EF4-FFF2-40B4-BE49-F238E27FC236}">
                  <a16:creationId xmlns:a16="http://schemas.microsoft.com/office/drawing/2014/main" id="{2804EDAA-759A-4392-97B7-A6D04E06F7A4}"/>
                </a:ext>
              </a:extLst>
            </p:cNvPr>
            <p:cNvSpPr/>
            <p:nvPr/>
          </p:nvSpPr>
          <p:spPr>
            <a:xfrm>
              <a:off x="6978196" y="2171160"/>
              <a:ext cx="946646" cy="425646"/>
            </a:xfrm>
            <a:custGeom>
              <a:avLst/>
              <a:gdLst/>
              <a:ahLst/>
              <a:cxnLst/>
              <a:rect l="0" t="0" r="0" b="0"/>
              <a:pathLst>
                <a:path w="1043940" h="469393">
                  <a:moveTo>
                    <a:pt x="0" y="48006"/>
                  </a:moveTo>
                  <a:cubicBezTo>
                    <a:pt x="0" y="21463"/>
                    <a:pt x="21463" y="0"/>
                    <a:pt x="48007" y="0"/>
                  </a:cubicBezTo>
                  <a:lnTo>
                    <a:pt x="995935" y="0"/>
                  </a:lnTo>
                  <a:cubicBezTo>
                    <a:pt x="1022477" y="0"/>
                    <a:pt x="1043940" y="21463"/>
                    <a:pt x="1043940" y="48006"/>
                  </a:cubicBezTo>
                  <a:lnTo>
                    <a:pt x="1043940" y="421387"/>
                  </a:lnTo>
                  <a:cubicBezTo>
                    <a:pt x="1043940" y="447930"/>
                    <a:pt x="1022477" y="469393"/>
                    <a:pt x="995935" y="469393"/>
                  </a:cubicBezTo>
                  <a:lnTo>
                    <a:pt x="48007" y="469393"/>
                  </a:lnTo>
                  <a:cubicBezTo>
                    <a:pt x="21463" y="469393"/>
                    <a:pt x="0" y="447930"/>
                    <a:pt x="0" y="421387"/>
                  </a:cubicBezTo>
                  <a:close/>
                  <a:moveTo>
                    <a:pt x="-2221229" y="5111496"/>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5204">
              <a:extLst>
                <a:ext uri="{FF2B5EF4-FFF2-40B4-BE49-F238E27FC236}">
                  <a16:creationId xmlns:a16="http://schemas.microsoft.com/office/drawing/2014/main" id="{A07BEFD3-0D8E-4CBA-A6C4-8340F5FD3B3A}"/>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7082535" y="2248665"/>
              <a:ext cx="805870" cy="147409"/>
            </a:xfrm>
            <a:prstGeom prst="rect">
              <a:avLst/>
            </a:prstGeom>
            <a:noFill/>
          </p:spPr>
        </p:pic>
        <p:pic>
          <p:nvPicPr>
            <p:cNvPr id="41" name="Picture 5205">
              <a:extLst>
                <a:ext uri="{FF2B5EF4-FFF2-40B4-BE49-F238E27FC236}">
                  <a16:creationId xmlns:a16="http://schemas.microsoft.com/office/drawing/2014/main" id="{20E29DBD-9421-4718-B9C8-567D9B56F4CF}"/>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7191711" y="2373042"/>
              <a:ext cx="598932" cy="147409"/>
            </a:xfrm>
            <a:prstGeom prst="rect">
              <a:avLst/>
            </a:prstGeom>
            <a:noFill/>
          </p:spPr>
        </p:pic>
        <p:sp>
          <p:nvSpPr>
            <p:cNvPr id="42" name="Freeform 5206">
              <a:extLst>
                <a:ext uri="{FF2B5EF4-FFF2-40B4-BE49-F238E27FC236}">
                  <a16:creationId xmlns:a16="http://schemas.microsoft.com/office/drawing/2014/main" id="{8055C025-0C67-49FC-8DEF-64670A8B392E}"/>
                </a:ext>
              </a:extLst>
            </p:cNvPr>
            <p:cNvSpPr/>
            <p:nvPr/>
          </p:nvSpPr>
          <p:spPr>
            <a:xfrm>
              <a:off x="8004997" y="2171160"/>
              <a:ext cx="946646" cy="425646"/>
            </a:xfrm>
            <a:custGeom>
              <a:avLst/>
              <a:gdLst/>
              <a:ahLst/>
              <a:cxnLst/>
              <a:rect l="0" t="0" r="0" b="0"/>
              <a:pathLst>
                <a:path w="1043940" h="469393">
                  <a:moveTo>
                    <a:pt x="0" y="48006"/>
                  </a:moveTo>
                  <a:cubicBezTo>
                    <a:pt x="0" y="21463"/>
                    <a:pt x="21463" y="0"/>
                    <a:pt x="48005" y="0"/>
                  </a:cubicBezTo>
                  <a:lnTo>
                    <a:pt x="995933" y="0"/>
                  </a:lnTo>
                  <a:cubicBezTo>
                    <a:pt x="1022477" y="0"/>
                    <a:pt x="1043940" y="21463"/>
                    <a:pt x="1043940" y="48006"/>
                  </a:cubicBezTo>
                  <a:lnTo>
                    <a:pt x="1043940" y="421387"/>
                  </a:lnTo>
                  <a:cubicBezTo>
                    <a:pt x="1043940" y="447930"/>
                    <a:pt x="1022477" y="469393"/>
                    <a:pt x="995933" y="469393"/>
                  </a:cubicBezTo>
                  <a:lnTo>
                    <a:pt x="48005" y="469393"/>
                  </a:lnTo>
                  <a:cubicBezTo>
                    <a:pt x="21463" y="469393"/>
                    <a:pt x="0" y="447930"/>
                    <a:pt x="0" y="421387"/>
                  </a:cubicBezTo>
                  <a:close/>
                  <a:moveTo>
                    <a:pt x="-3353562" y="5111496"/>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43" name="Picture 5207">
              <a:extLst>
                <a:ext uri="{FF2B5EF4-FFF2-40B4-BE49-F238E27FC236}">
                  <a16:creationId xmlns:a16="http://schemas.microsoft.com/office/drawing/2014/main" id="{F5D2B98B-E293-4975-A6B8-7D3AEC5989E2}"/>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8344499" y="2248665"/>
              <a:ext cx="337752" cy="147409"/>
            </a:xfrm>
            <a:prstGeom prst="rect">
              <a:avLst/>
            </a:prstGeom>
            <a:noFill/>
          </p:spPr>
        </p:pic>
        <p:pic>
          <p:nvPicPr>
            <p:cNvPr id="44" name="Picture 5208">
              <a:extLst>
                <a:ext uri="{FF2B5EF4-FFF2-40B4-BE49-F238E27FC236}">
                  <a16:creationId xmlns:a16="http://schemas.microsoft.com/office/drawing/2014/main" id="{7B8B4887-A66E-422B-A6D7-85343EDF7916}"/>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8289221" y="2373042"/>
              <a:ext cx="424458" cy="147409"/>
            </a:xfrm>
            <a:prstGeom prst="rect">
              <a:avLst/>
            </a:prstGeom>
            <a:noFill/>
          </p:spPr>
        </p:pic>
        <p:sp>
          <p:nvSpPr>
            <p:cNvPr id="45" name="Freeform 5209">
              <a:extLst>
                <a:ext uri="{FF2B5EF4-FFF2-40B4-BE49-F238E27FC236}">
                  <a16:creationId xmlns:a16="http://schemas.microsoft.com/office/drawing/2014/main" id="{28C8BE27-C5FB-4B0B-94FC-FB4B3591FA24}"/>
                </a:ext>
              </a:extLst>
            </p:cNvPr>
            <p:cNvSpPr/>
            <p:nvPr/>
          </p:nvSpPr>
          <p:spPr>
            <a:xfrm>
              <a:off x="9030414" y="2171160"/>
              <a:ext cx="946647" cy="425646"/>
            </a:xfrm>
            <a:custGeom>
              <a:avLst/>
              <a:gdLst/>
              <a:ahLst/>
              <a:cxnLst/>
              <a:rect l="0" t="0" r="0" b="0"/>
              <a:pathLst>
                <a:path w="1043941" h="469393">
                  <a:moveTo>
                    <a:pt x="0" y="48006"/>
                  </a:moveTo>
                  <a:cubicBezTo>
                    <a:pt x="0" y="21463"/>
                    <a:pt x="21463" y="0"/>
                    <a:pt x="48007" y="0"/>
                  </a:cubicBezTo>
                  <a:lnTo>
                    <a:pt x="995934" y="0"/>
                  </a:lnTo>
                  <a:cubicBezTo>
                    <a:pt x="1022477" y="0"/>
                    <a:pt x="1043941" y="21463"/>
                    <a:pt x="1043941" y="48006"/>
                  </a:cubicBezTo>
                  <a:lnTo>
                    <a:pt x="1043941" y="421387"/>
                  </a:lnTo>
                  <a:cubicBezTo>
                    <a:pt x="1043941" y="447930"/>
                    <a:pt x="1022477" y="469393"/>
                    <a:pt x="995934" y="469393"/>
                  </a:cubicBezTo>
                  <a:lnTo>
                    <a:pt x="48007" y="469393"/>
                  </a:lnTo>
                  <a:cubicBezTo>
                    <a:pt x="21463" y="469393"/>
                    <a:pt x="0" y="447930"/>
                    <a:pt x="0" y="421387"/>
                  </a:cubicBezTo>
                  <a:close/>
                  <a:moveTo>
                    <a:pt x="-4484369" y="5111496"/>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5210">
              <a:extLst>
                <a:ext uri="{FF2B5EF4-FFF2-40B4-BE49-F238E27FC236}">
                  <a16:creationId xmlns:a16="http://schemas.microsoft.com/office/drawing/2014/main" id="{A25BAD2D-674C-4AE6-8BF0-B0B5AFA32AB6}"/>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9257171" y="2248665"/>
              <a:ext cx="568782" cy="147409"/>
            </a:xfrm>
            <a:prstGeom prst="rect">
              <a:avLst/>
            </a:prstGeom>
            <a:noFill/>
          </p:spPr>
        </p:pic>
        <p:pic>
          <p:nvPicPr>
            <p:cNvPr id="47" name="Picture 5211">
              <a:extLst>
                <a:ext uri="{FF2B5EF4-FFF2-40B4-BE49-F238E27FC236}">
                  <a16:creationId xmlns:a16="http://schemas.microsoft.com/office/drawing/2014/main" id="{ECCECC97-69AA-4E03-AE5E-4822DF6DC74B}"/>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9272373" y="2373042"/>
              <a:ext cx="512859" cy="147409"/>
            </a:xfrm>
            <a:prstGeom prst="rect">
              <a:avLst/>
            </a:prstGeom>
            <a:noFill/>
          </p:spPr>
        </p:pic>
        <p:sp>
          <p:nvSpPr>
            <p:cNvPr id="48" name="Freeform 5212">
              <a:extLst>
                <a:ext uri="{FF2B5EF4-FFF2-40B4-BE49-F238E27FC236}">
                  <a16:creationId xmlns:a16="http://schemas.microsoft.com/office/drawing/2014/main" id="{E15D9917-5C0C-495B-8321-43EF648DE8B2}"/>
                </a:ext>
              </a:extLst>
            </p:cNvPr>
            <p:cNvSpPr/>
            <p:nvPr/>
          </p:nvSpPr>
          <p:spPr>
            <a:xfrm>
              <a:off x="10055833" y="2171160"/>
              <a:ext cx="946645" cy="425646"/>
            </a:xfrm>
            <a:custGeom>
              <a:avLst/>
              <a:gdLst/>
              <a:ahLst/>
              <a:cxnLst/>
              <a:rect l="0" t="0" r="0" b="0"/>
              <a:pathLst>
                <a:path w="1043939" h="469393">
                  <a:moveTo>
                    <a:pt x="0" y="48006"/>
                  </a:moveTo>
                  <a:cubicBezTo>
                    <a:pt x="0" y="21463"/>
                    <a:pt x="21463" y="0"/>
                    <a:pt x="48005" y="0"/>
                  </a:cubicBezTo>
                  <a:lnTo>
                    <a:pt x="995934" y="0"/>
                  </a:lnTo>
                  <a:cubicBezTo>
                    <a:pt x="1022476" y="0"/>
                    <a:pt x="1043939" y="21463"/>
                    <a:pt x="1043939" y="48006"/>
                  </a:cubicBezTo>
                  <a:lnTo>
                    <a:pt x="1043939" y="421387"/>
                  </a:lnTo>
                  <a:cubicBezTo>
                    <a:pt x="1043939" y="447930"/>
                    <a:pt x="1022476" y="469393"/>
                    <a:pt x="995934" y="469393"/>
                  </a:cubicBezTo>
                  <a:lnTo>
                    <a:pt x="48005" y="469393"/>
                  </a:lnTo>
                  <a:cubicBezTo>
                    <a:pt x="21463" y="469393"/>
                    <a:pt x="0" y="447930"/>
                    <a:pt x="0" y="421387"/>
                  </a:cubicBezTo>
                  <a:close/>
                  <a:moveTo>
                    <a:pt x="-5615178" y="5111496"/>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49" name="Picture 5213">
              <a:extLst>
                <a:ext uri="{FF2B5EF4-FFF2-40B4-BE49-F238E27FC236}">
                  <a16:creationId xmlns:a16="http://schemas.microsoft.com/office/drawing/2014/main" id="{E93AEF13-FB82-4606-8626-CB9E924265A4}"/>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0261054" y="2248665"/>
              <a:ext cx="161919" cy="147409"/>
            </a:xfrm>
            <a:prstGeom prst="rect">
              <a:avLst/>
            </a:prstGeom>
            <a:noFill/>
          </p:spPr>
        </p:pic>
        <p:pic>
          <p:nvPicPr>
            <p:cNvPr id="50" name="Picture 5214">
              <a:extLst>
                <a:ext uri="{FF2B5EF4-FFF2-40B4-BE49-F238E27FC236}">
                  <a16:creationId xmlns:a16="http://schemas.microsoft.com/office/drawing/2014/main" id="{869D6F9A-C60E-4AED-A4C4-A9B2716E42BD}"/>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0353646" y="2248665"/>
              <a:ext cx="97658" cy="147409"/>
            </a:xfrm>
            <a:prstGeom prst="rect">
              <a:avLst/>
            </a:prstGeom>
            <a:noFill/>
          </p:spPr>
        </p:pic>
        <p:pic>
          <p:nvPicPr>
            <p:cNvPr id="51" name="Picture 5215">
              <a:extLst>
                <a:ext uri="{FF2B5EF4-FFF2-40B4-BE49-F238E27FC236}">
                  <a16:creationId xmlns:a16="http://schemas.microsoft.com/office/drawing/2014/main" id="{10BB0CAE-4F86-4CAF-BD50-C9ED86428126}"/>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0390959" y="2248665"/>
              <a:ext cx="487891" cy="147409"/>
            </a:xfrm>
            <a:prstGeom prst="rect">
              <a:avLst/>
            </a:prstGeom>
            <a:noFill/>
          </p:spPr>
        </p:pic>
        <p:pic>
          <p:nvPicPr>
            <p:cNvPr id="52" name="Picture 5216">
              <a:extLst>
                <a:ext uri="{FF2B5EF4-FFF2-40B4-BE49-F238E27FC236}">
                  <a16:creationId xmlns:a16="http://schemas.microsoft.com/office/drawing/2014/main" id="{A7C2AD86-0B81-4637-8003-FA8C18AE92AB}"/>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0350882" y="2373042"/>
              <a:ext cx="428812" cy="147409"/>
            </a:xfrm>
            <a:prstGeom prst="rect">
              <a:avLst/>
            </a:prstGeom>
            <a:noFill/>
          </p:spPr>
        </p:pic>
        <p:sp>
          <p:nvSpPr>
            <p:cNvPr id="53" name="Freeform 5217">
              <a:extLst>
                <a:ext uri="{FF2B5EF4-FFF2-40B4-BE49-F238E27FC236}">
                  <a16:creationId xmlns:a16="http://schemas.microsoft.com/office/drawing/2014/main" id="{63F1A5CA-C450-4B9C-894C-8ECE4704D86B}"/>
                </a:ext>
              </a:extLst>
            </p:cNvPr>
            <p:cNvSpPr/>
            <p:nvPr/>
          </p:nvSpPr>
          <p:spPr>
            <a:xfrm>
              <a:off x="831218" y="2688014"/>
              <a:ext cx="5027587" cy="261191"/>
            </a:xfrm>
            <a:custGeom>
              <a:avLst/>
              <a:gdLst/>
              <a:ahLst/>
              <a:cxnLst/>
              <a:rect l="0" t="0" r="0" b="0"/>
              <a:pathLst>
                <a:path w="5544311" h="288036">
                  <a:moveTo>
                    <a:pt x="0" y="29465"/>
                  </a:moveTo>
                  <a:cubicBezTo>
                    <a:pt x="0" y="13209"/>
                    <a:pt x="13182" y="0"/>
                    <a:pt x="29451" y="0"/>
                  </a:cubicBezTo>
                  <a:lnTo>
                    <a:pt x="5514847" y="0"/>
                  </a:lnTo>
                  <a:cubicBezTo>
                    <a:pt x="5531103" y="0"/>
                    <a:pt x="5544311" y="13209"/>
                    <a:pt x="5544311" y="29465"/>
                  </a:cubicBezTo>
                  <a:lnTo>
                    <a:pt x="5544311" y="258573"/>
                  </a:lnTo>
                  <a:cubicBezTo>
                    <a:pt x="5544311" y="274829"/>
                    <a:pt x="5531103" y="288036"/>
                    <a:pt x="5514847" y="288036"/>
                  </a:cubicBezTo>
                  <a:lnTo>
                    <a:pt x="29451" y="288036"/>
                  </a:lnTo>
                  <a:cubicBezTo>
                    <a:pt x="13182" y="288036"/>
                    <a:pt x="0" y="274829"/>
                    <a:pt x="0" y="258573"/>
                  </a:cubicBezTo>
                  <a:close/>
                  <a:moveTo>
                    <a:pt x="4006087" y="4541520"/>
                  </a:moveTo>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54" name="Picture 5218">
              <a:extLst>
                <a:ext uri="{FF2B5EF4-FFF2-40B4-BE49-F238E27FC236}">
                  <a16:creationId xmlns:a16="http://schemas.microsoft.com/office/drawing/2014/main" id="{432B9FB5-5D2A-47A9-A5C0-16F498039231}"/>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2844510" y="2697803"/>
              <a:ext cx="1083299" cy="244147"/>
            </a:xfrm>
            <a:prstGeom prst="rect">
              <a:avLst/>
            </a:prstGeom>
            <a:noFill/>
          </p:spPr>
        </p:pic>
        <p:sp>
          <p:nvSpPr>
            <p:cNvPr id="55" name="Freeform 5219">
              <a:extLst>
                <a:ext uri="{FF2B5EF4-FFF2-40B4-BE49-F238E27FC236}">
                  <a16:creationId xmlns:a16="http://schemas.microsoft.com/office/drawing/2014/main" id="{87780B6C-A9C5-4CE9-BE6A-84F58EC9C84F}"/>
                </a:ext>
              </a:extLst>
            </p:cNvPr>
            <p:cNvSpPr/>
            <p:nvPr/>
          </p:nvSpPr>
          <p:spPr>
            <a:xfrm>
              <a:off x="5941724" y="2688014"/>
              <a:ext cx="3003008" cy="261191"/>
            </a:xfrm>
            <a:custGeom>
              <a:avLst/>
              <a:gdLst/>
              <a:ahLst/>
              <a:cxnLst/>
              <a:rect l="0" t="0" r="0" b="0"/>
              <a:pathLst>
                <a:path w="3311651" h="288036">
                  <a:moveTo>
                    <a:pt x="0" y="29465"/>
                  </a:moveTo>
                  <a:cubicBezTo>
                    <a:pt x="0" y="13209"/>
                    <a:pt x="13208" y="0"/>
                    <a:pt x="29464" y="0"/>
                  </a:cubicBezTo>
                  <a:lnTo>
                    <a:pt x="3282187" y="0"/>
                  </a:lnTo>
                  <a:cubicBezTo>
                    <a:pt x="3298444" y="0"/>
                    <a:pt x="3311651" y="13209"/>
                    <a:pt x="3311651" y="29465"/>
                  </a:cubicBezTo>
                  <a:lnTo>
                    <a:pt x="3311651" y="258573"/>
                  </a:lnTo>
                  <a:cubicBezTo>
                    <a:pt x="3311651" y="274829"/>
                    <a:pt x="3298444" y="288036"/>
                    <a:pt x="3282187" y="288036"/>
                  </a:cubicBezTo>
                  <a:lnTo>
                    <a:pt x="29464" y="288036"/>
                  </a:lnTo>
                  <a:cubicBezTo>
                    <a:pt x="13208" y="288036"/>
                    <a:pt x="0" y="274829"/>
                    <a:pt x="0" y="258573"/>
                  </a:cubicBezTo>
                  <a:close/>
                  <a:moveTo>
                    <a:pt x="-1629665" y="4541520"/>
                  </a:moveTo>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56" name="Picture 5220">
              <a:extLst>
                <a:ext uri="{FF2B5EF4-FFF2-40B4-BE49-F238E27FC236}">
                  <a16:creationId xmlns:a16="http://schemas.microsoft.com/office/drawing/2014/main" id="{39F1394C-C5B6-49BE-9314-84F67983F434}"/>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6979693" y="2697803"/>
              <a:ext cx="1018738" cy="244147"/>
            </a:xfrm>
            <a:prstGeom prst="rect">
              <a:avLst/>
            </a:prstGeom>
            <a:noFill/>
          </p:spPr>
        </p:pic>
        <p:sp>
          <p:nvSpPr>
            <p:cNvPr id="57" name="Freeform 5221">
              <a:extLst>
                <a:ext uri="{FF2B5EF4-FFF2-40B4-BE49-F238E27FC236}">
                  <a16:creationId xmlns:a16="http://schemas.microsoft.com/office/drawing/2014/main" id="{A58750D2-C7DB-4681-992D-E66B7C64BBC2}"/>
                </a:ext>
              </a:extLst>
            </p:cNvPr>
            <p:cNvSpPr/>
            <p:nvPr/>
          </p:nvSpPr>
          <p:spPr>
            <a:xfrm>
              <a:off x="9027650" y="2688014"/>
              <a:ext cx="1974828" cy="261191"/>
            </a:xfrm>
            <a:custGeom>
              <a:avLst/>
              <a:gdLst/>
              <a:ahLst/>
              <a:cxnLst/>
              <a:rect l="0" t="0" r="0" b="0"/>
              <a:pathLst>
                <a:path w="2177796" h="288036">
                  <a:moveTo>
                    <a:pt x="0" y="29465"/>
                  </a:moveTo>
                  <a:cubicBezTo>
                    <a:pt x="0" y="13209"/>
                    <a:pt x="13208" y="0"/>
                    <a:pt x="29465" y="0"/>
                  </a:cubicBezTo>
                  <a:lnTo>
                    <a:pt x="2148332" y="0"/>
                  </a:lnTo>
                  <a:cubicBezTo>
                    <a:pt x="2164589" y="0"/>
                    <a:pt x="2177796" y="13209"/>
                    <a:pt x="2177796" y="29465"/>
                  </a:cubicBezTo>
                  <a:lnTo>
                    <a:pt x="2177796" y="258573"/>
                  </a:lnTo>
                  <a:cubicBezTo>
                    <a:pt x="2177796" y="274829"/>
                    <a:pt x="2164589" y="288036"/>
                    <a:pt x="2148332" y="288036"/>
                  </a:cubicBezTo>
                  <a:lnTo>
                    <a:pt x="29465" y="288036"/>
                  </a:lnTo>
                  <a:cubicBezTo>
                    <a:pt x="13208" y="288036"/>
                    <a:pt x="0" y="274829"/>
                    <a:pt x="0" y="258573"/>
                  </a:cubicBezTo>
                  <a:close/>
                  <a:moveTo>
                    <a:pt x="-5032756" y="4541520"/>
                  </a:moveTo>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5222">
              <a:extLst>
                <a:ext uri="{FF2B5EF4-FFF2-40B4-BE49-F238E27FC236}">
                  <a16:creationId xmlns:a16="http://schemas.microsoft.com/office/drawing/2014/main" id="{EB396255-CC29-422E-9B6C-582054232FD0}"/>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9144656" y="2697803"/>
              <a:ext cx="1834442" cy="244147"/>
            </a:xfrm>
            <a:prstGeom prst="rect">
              <a:avLst/>
            </a:prstGeom>
            <a:noFill/>
          </p:spPr>
        </p:pic>
        <p:sp>
          <p:nvSpPr>
            <p:cNvPr id="59" name="Freeform 5223">
              <a:extLst>
                <a:ext uri="{FF2B5EF4-FFF2-40B4-BE49-F238E27FC236}">
                  <a16:creationId xmlns:a16="http://schemas.microsoft.com/office/drawing/2014/main" id="{B105C06B-05CC-4F28-B292-F9DCE0FB00EF}"/>
                </a:ext>
              </a:extLst>
            </p:cNvPr>
            <p:cNvSpPr/>
            <p:nvPr/>
          </p:nvSpPr>
          <p:spPr>
            <a:xfrm>
              <a:off x="824308" y="3023832"/>
              <a:ext cx="3016829" cy="261191"/>
            </a:xfrm>
            <a:custGeom>
              <a:avLst/>
              <a:gdLst/>
              <a:ahLst/>
              <a:cxnLst/>
              <a:rect l="0" t="0" r="0" b="0"/>
              <a:pathLst>
                <a:path w="3326892" h="288036">
                  <a:moveTo>
                    <a:pt x="0" y="29465"/>
                  </a:moveTo>
                  <a:cubicBezTo>
                    <a:pt x="0" y="13209"/>
                    <a:pt x="13182" y="0"/>
                    <a:pt x="29451" y="0"/>
                  </a:cubicBezTo>
                  <a:lnTo>
                    <a:pt x="3297428" y="0"/>
                  </a:lnTo>
                  <a:cubicBezTo>
                    <a:pt x="3313684" y="0"/>
                    <a:pt x="3326892" y="13209"/>
                    <a:pt x="3326892" y="29465"/>
                  </a:cubicBezTo>
                  <a:lnTo>
                    <a:pt x="3326892" y="258573"/>
                  </a:lnTo>
                  <a:cubicBezTo>
                    <a:pt x="3326892" y="274829"/>
                    <a:pt x="3313684" y="288036"/>
                    <a:pt x="3297428" y="288036"/>
                  </a:cubicBezTo>
                  <a:lnTo>
                    <a:pt x="29451" y="288036"/>
                  </a:lnTo>
                  <a:cubicBezTo>
                    <a:pt x="13182" y="288036"/>
                    <a:pt x="0" y="274829"/>
                    <a:pt x="0" y="258573"/>
                  </a:cubicBezTo>
                  <a:close/>
                  <a:moveTo>
                    <a:pt x="3643375" y="4171188"/>
                  </a:moveTo>
                </a:path>
              </a:pathLst>
            </a:custGeom>
            <a:solidFill>
              <a:srgbClr val="7FD1D6"/>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60" name="Picture 5224">
              <a:extLst>
                <a:ext uri="{FF2B5EF4-FFF2-40B4-BE49-F238E27FC236}">
                  <a16:creationId xmlns:a16="http://schemas.microsoft.com/office/drawing/2014/main" id="{40EEE703-EB38-46A7-AD7E-CA950E3CBB28}"/>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2129805" y="3074503"/>
              <a:ext cx="468024" cy="161229"/>
            </a:xfrm>
            <a:prstGeom prst="rect">
              <a:avLst/>
            </a:prstGeom>
            <a:solidFill>
              <a:srgbClr val="7FD1D6"/>
            </a:solidFill>
          </p:spPr>
        </p:pic>
        <p:sp>
          <p:nvSpPr>
            <p:cNvPr id="61" name="Freeform 5225">
              <a:extLst>
                <a:ext uri="{FF2B5EF4-FFF2-40B4-BE49-F238E27FC236}">
                  <a16:creationId xmlns:a16="http://schemas.microsoft.com/office/drawing/2014/main" id="{94CEE09B-169D-4ADE-BA31-DCFA13085D8F}"/>
                </a:ext>
              </a:extLst>
            </p:cNvPr>
            <p:cNvSpPr/>
            <p:nvPr/>
          </p:nvSpPr>
          <p:spPr>
            <a:xfrm>
              <a:off x="3897797" y="3023832"/>
              <a:ext cx="946647" cy="261191"/>
            </a:xfrm>
            <a:custGeom>
              <a:avLst/>
              <a:gdLst/>
              <a:ahLst/>
              <a:cxnLst/>
              <a:rect l="0" t="0" r="0" b="0"/>
              <a:pathLst>
                <a:path w="1043941" h="288036">
                  <a:moveTo>
                    <a:pt x="0" y="29465"/>
                  </a:moveTo>
                  <a:cubicBezTo>
                    <a:pt x="0" y="13209"/>
                    <a:pt x="13209" y="0"/>
                    <a:pt x="29465" y="0"/>
                  </a:cubicBezTo>
                  <a:lnTo>
                    <a:pt x="1014477" y="0"/>
                  </a:lnTo>
                  <a:cubicBezTo>
                    <a:pt x="1030732" y="0"/>
                    <a:pt x="1043941" y="13209"/>
                    <a:pt x="1043941" y="29465"/>
                  </a:cubicBezTo>
                  <a:lnTo>
                    <a:pt x="1043941" y="258573"/>
                  </a:lnTo>
                  <a:cubicBezTo>
                    <a:pt x="1043941" y="274829"/>
                    <a:pt x="1030732" y="288036"/>
                    <a:pt x="1014477" y="288036"/>
                  </a:cubicBezTo>
                  <a:lnTo>
                    <a:pt x="29465" y="288036"/>
                  </a:lnTo>
                  <a:cubicBezTo>
                    <a:pt x="13209" y="288036"/>
                    <a:pt x="0" y="274829"/>
                    <a:pt x="0" y="258573"/>
                  </a:cubicBezTo>
                  <a:close/>
                  <a:moveTo>
                    <a:pt x="254000" y="4171188"/>
                  </a:moveTo>
                </a:path>
              </a:pathLst>
            </a:custGeom>
            <a:solidFill>
              <a:srgbClr val="7FD1D6"/>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62" name="Picture 5226">
              <a:extLst>
                <a:ext uri="{FF2B5EF4-FFF2-40B4-BE49-F238E27FC236}">
                  <a16:creationId xmlns:a16="http://schemas.microsoft.com/office/drawing/2014/main" id="{55DE816F-64A7-4774-A337-98911BB5AD7E}"/>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4028047" y="3074503"/>
              <a:ext cx="741654" cy="161229"/>
            </a:xfrm>
            <a:prstGeom prst="rect">
              <a:avLst/>
            </a:prstGeom>
            <a:solidFill>
              <a:srgbClr val="7FD1D6"/>
            </a:solidFill>
          </p:spPr>
        </p:pic>
        <p:sp>
          <p:nvSpPr>
            <p:cNvPr id="63" name="Freeform 5227">
              <a:extLst>
                <a:ext uri="{FF2B5EF4-FFF2-40B4-BE49-F238E27FC236}">
                  <a16:creationId xmlns:a16="http://schemas.microsoft.com/office/drawing/2014/main" id="{6EB49718-8E87-4A19-B40A-B5A6DC5915ED}"/>
                </a:ext>
              </a:extLst>
            </p:cNvPr>
            <p:cNvSpPr/>
            <p:nvPr/>
          </p:nvSpPr>
          <p:spPr>
            <a:xfrm>
              <a:off x="4925979" y="3023832"/>
              <a:ext cx="946647" cy="261191"/>
            </a:xfrm>
            <a:custGeom>
              <a:avLst/>
              <a:gdLst/>
              <a:ahLst/>
              <a:cxnLst/>
              <a:rect l="0" t="0" r="0" b="0"/>
              <a:pathLst>
                <a:path w="1043941" h="288036">
                  <a:moveTo>
                    <a:pt x="0" y="29465"/>
                  </a:moveTo>
                  <a:cubicBezTo>
                    <a:pt x="0" y="13209"/>
                    <a:pt x="13209" y="0"/>
                    <a:pt x="29465" y="0"/>
                  </a:cubicBezTo>
                  <a:lnTo>
                    <a:pt x="1014476" y="0"/>
                  </a:lnTo>
                  <a:cubicBezTo>
                    <a:pt x="1030732" y="0"/>
                    <a:pt x="1043941" y="13209"/>
                    <a:pt x="1043941" y="29465"/>
                  </a:cubicBezTo>
                  <a:lnTo>
                    <a:pt x="1043941" y="258573"/>
                  </a:lnTo>
                  <a:cubicBezTo>
                    <a:pt x="1043941" y="274829"/>
                    <a:pt x="1030732" y="288036"/>
                    <a:pt x="1014476" y="288036"/>
                  </a:cubicBezTo>
                  <a:lnTo>
                    <a:pt x="29465" y="288036"/>
                  </a:lnTo>
                  <a:cubicBezTo>
                    <a:pt x="13209" y="288036"/>
                    <a:pt x="0" y="274829"/>
                    <a:pt x="0" y="258573"/>
                  </a:cubicBezTo>
                  <a:close/>
                  <a:moveTo>
                    <a:pt x="-879856" y="4171188"/>
                  </a:moveTo>
                </a:path>
              </a:pathLst>
            </a:custGeom>
            <a:solidFill>
              <a:srgbClr val="7FD1D6"/>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64" name="Picture 5228">
              <a:extLst>
                <a:ext uri="{FF2B5EF4-FFF2-40B4-BE49-F238E27FC236}">
                  <a16:creationId xmlns:a16="http://schemas.microsoft.com/office/drawing/2014/main" id="{21F56414-B6AE-4498-96A4-9D975256F101}"/>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5132583" y="3005405"/>
              <a:ext cx="621976" cy="161229"/>
            </a:xfrm>
            <a:prstGeom prst="rect">
              <a:avLst/>
            </a:prstGeom>
            <a:noFill/>
          </p:spPr>
        </p:pic>
        <p:pic>
          <p:nvPicPr>
            <p:cNvPr id="65" name="Picture 5229">
              <a:extLst>
                <a:ext uri="{FF2B5EF4-FFF2-40B4-BE49-F238E27FC236}">
                  <a16:creationId xmlns:a16="http://schemas.microsoft.com/office/drawing/2014/main" id="{10638BC2-39D1-4B88-B1D0-00354FAE8380}"/>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5146403" y="3143602"/>
              <a:ext cx="560466" cy="161229"/>
            </a:xfrm>
            <a:prstGeom prst="rect">
              <a:avLst/>
            </a:prstGeom>
            <a:noFill/>
          </p:spPr>
        </p:pic>
        <p:sp>
          <p:nvSpPr>
            <p:cNvPr id="66" name="Freeform 5230">
              <a:extLst>
                <a:ext uri="{FF2B5EF4-FFF2-40B4-BE49-F238E27FC236}">
                  <a16:creationId xmlns:a16="http://schemas.microsoft.com/office/drawing/2014/main" id="{5462963E-8AC5-4F9D-A179-237629CCDC60}"/>
                </a:ext>
              </a:extLst>
            </p:cNvPr>
            <p:cNvSpPr/>
            <p:nvPr/>
          </p:nvSpPr>
          <p:spPr>
            <a:xfrm>
              <a:off x="9027650" y="3023832"/>
              <a:ext cx="1974828" cy="261191"/>
            </a:xfrm>
            <a:custGeom>
              <a:avLst/>
              <a:gdLst/>
              <a:ahLst/>
              <a:cxnLst/>
              <a:rect l="0" t="0" r="0" b="0"/>
              <a:pathLst>
                <a:path w="2177796" h="288036">
                  <a:moveTo>
                    <a:pt x="0" y="29465"/>
                  </a:moveTo>
                  <a:cubicBezTo>
                    <a:pt x="0" y="13209"/>
                    <a:pt x="13208" y="0"/>
                    <a:pt x="29465" y="0"/>
                  </a:cubicBezTo>
                  <a:lnTo>
                    <a:pt x="2148332" y="0"/>
                  </a:lnTo>
                  <a:cubicBezTo>
                    <a:pt x="2164589" y="0"/>
                    <a:pt x="2177796" y="13209"/>
                    <a:pt x="2177796" y="29465"/>
                  </a:cubicBezTo>
                  <a:lnTo>
                    <a:pt x="2177796" y="258573"/>
                  </a:lnTo>
                  <a:cubicBezTo>
                    <a:pt x="2177796" y="274829"/>
                    <a:pt x="2164589" y="288036"/>
                    <a:pt x="2148332" y="288036"/>
                  </a:cubicBezTo>
                  <a:lnTo>
                    <a:pt x="29465" y="288036"/>
                  </a:lnTo>
                  <a:cubicBezTo>
                    <a:pt x="13208" y="288036"/>
                    <a:pt x="0" y="274829"/>
                    <a:pt x="0" y="258573"/>
                  </a:cubicBezTo>
                  <a:close/>
                  <a:moveTo>
                    <a:pt x="-5403088" y="4171188"/>
                  </a:moveTo>
                </a:path>
              </a:pathLst>
            </a:custGeom>
            <a:solidFill>
              <a:srgbClr val="7FD1D6"/>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67" name="Picture 5231">
              <a:extLst>
                <a:ext uri="{FF2B5EF4-FFF2-40B4-BE49-F238E27FC236}">
                  <a16:creationId xmlns:a16="http://schemas.microsoft.com/office/drawing/2014/main" id="{B98F85D7-B414-46E8-AD41-CFBA7FEBBA1C}"/>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9307729" y="3074503"/>
              <a:ext cx="1469950" cy="161229"/>
            </a:xfrm>
            <a:prstGeom prst="rect">
              <a:avLst/>
            </a:prstGeom>
            <a:solidFill>
              <a:srgbClr val="7FD1D6"/>
            </a:solidFill>
          </p:spPr>
        </p:pic>
        <p:sp>
          <p:nvSpPr>
            <p:cNvPr id="68" name="Freeform 5232">
              <a:extLst>
                <a:ext uri="{FF2B5EF4-FFF2-40B4-BE49-F238E27FC236}">
                  <a16:creationId xmlns:a16="http://schemas.microsoft.com/office/drawing/2014/main" id="{B79ADC7B-19F3-42B4-93BB-3B55B4250F21}"/>
                </a:ext>
              </a:extLst>
            </p:cNvPr>
            <p:cNvSpPr/>
            <p:nvPr/>
          </p:nvSpPr>
          <p:spPr>
            <a:xfrm>
              <a:off x="824308" y="4861845"/>
              <a:ext cx="1967917" cy="268101"/>
            </a:xfrm>
            <a:custGeom>
              <a:avLst/>
              <a:gdLst/>
              <a:ahLst/>
              <a:cxnLst/>
              <a:rect l="0" t="0" r="0" b="0"/>
              <a:pathLst>
                <a:path w="2170175" h="295656">
                  <a:moveTo>
                    <a:pt x="0" y="30225"/>
                  </a:moveTo>
                  <a:cubicBezTo>
                    <a:pt x="0" y="13588"/>
                    <a:pt x="13538" y="0"/>
                    <a:pt x="30238" y="0"/>
                  </a:cubicBezTo>
                  <a:lnTo>
                    <a:pt x="2139950" y="0"/>
                  </a:lnTo>
                  <a:cubicBezTo>
                    <a:pt x="2156587" y="0"/>
                    <a:pt x="2170175" y="13588"/>
                    <a:pt x="2170175" y="30225"/>
                  </a:cubicBezTo>
                  <a:lnTo>
                    <a:pt x="2170175" y="265429"/>
                  </a:lnTo>
                  <a:cubicBezTo>
                    <a:pt x="2170175" y="282066"/>
                    <a:pt x="2156587" y="295656"/>
                    <a:pt x="2139950" y="295656"/>
                  </a:cubicBezTo>
                  <a:lnTo>
                    <a:pt x="30238" y="295656"/>
                  </a:lnTo>
                  <a:cubicBezTo>
                    <a:pt x="13538" y="295656"/>
                    <a:pt x="0" y="282066"/>
                    <a:pt x="0" y="265429"/>
                  </a:cubicBezTo>
                  <a:close/>
                  <a:moveTo>
                    <a:pt x="1615694" y="2144267"/>
                  </a:moveTo>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5233">
              <a:extLst>
                <a:ext uri="{FF2B5EF4-FFF2-40B4-BE49-F238E27FC236}">
                  <a16:creationId xmlns:a16="http://schemas.microsoft.com/office/drawing/2014/main" id="{AD396A88-5E73-4348-9FC8-6786CA88F372}"/>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466462" y="4874928"/>
              <a:ext cx="779554" cy="244423"/>
            </a:xfrm>
            <a:prstGeom prst="rect">
              <a:avLst/>
            </a:prstGeom>
            <a:noFill/>
          </p:spPr>
        </p:pic>
        <p:sp>
          <p:nvSpPr>
            <p:cNvPr id="70" name="Freeform 5234">
              <a:extLst>
                <a:ext uri="{FF2B5EF4-FFF2-40B4-BE49-F238E27FC236}">
                  <a16:creationId xmlns:a16="http://schemas.microsoft.com/office/drawing/2014/main" id="{42E3CB3C-829A-4E84-8AD3-F2633E7C30BD}"/>
                </a:ext>
              </a:extLst>
            </p:cNvPr>
            <p:cNvSpPr/>
            <p:nvPr/>
          </p:nvSpPr>
          <p:spPr>
            <a:xfrm>
              <a:off x="8004997" y="4868755"/>
              <a:ext cx="946646" cy="261192"/>
            </a:xfrm>
            <a:custGeom>
              <a:avLst/>
              <a:gdLst/>
              <a:ahLst/>
              <a:cxnLst/>
              <a:rect l="0" t="0" r="0" b="0"/>
              <a:pathLst>
                <a:path w="1043940" h="288037">
                  <a:moveTo>
                    <a:pt x="0" y="29465"/>
                  </a:moveTo>
                  <a:cubicBezTo>
                    <a:pt x="0" y="13209"/>
                    <a:pt x="13207" y="0"/>
                    <a:pt x="29464" y="0"/>
                  </a:cubicBezTo>
                  <a:lnTo>
                    <a:pt x="1014476" y="0"/>
                  </a:lnTo>
                  <a:cubicBezTo>
                    <a:pt x="1030731" y="0"/>
                    <a:pt x="1043940" y="13209"/>
                    <a:pt x="1043940" y="29465"/>
                  </a:cubicBezTo>
                  <a:lnTo>
                    <a:pt x="1043940" y="258572"/>
                  </a:lnTo>
                  <a:cubicBezTo>
                    <a:pt x="1043940" y="274828"/>
                    <a:pt x="1030731" y="288037"/>
                    <a:pt x="1014476" y="288037"/>
                  </a:cubicBezTo>
                  <a:lnTo>
                    <a:pt x="29464" y="288037"/>
                  </a:lnTo>
                  <a:cubicBezTo>
                    <a:pt x="13207" y="288037"/>
                    <a:pt x="0" y="274828"/>
                    <a:pt x="0" y="258572"/>
                  </a:cubicBezTo>
                  <a:close/>
                  <a:moveTo>
                    <a:pt x="-6309869" y="2136648"/>
                  </a:moveTo>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71" name="Picture 5235">
              <a:extLst>
                <a:ext uri="{FF2B5EF4-FFF2-40B4-BE49-F238E27FC236}">
                  <a16:creationId xmlns:a16="http://schemas.microsoft.com/office/drawing/2014/main" id="{E2BAE7BE-9BB2-4028-B344-98A6B8116753}"/>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8342311" y="4879120"/>
              <a:ext cx="398236" cy="244146"/>
            </a:xfrm>
            <a:prstGeom prst="rect">
              <a:avLst/>
            </a:prstGeom>
            <a:noFill/>
          </p:spPr>
        </p:pic>
        <p:sp>
          <p:nvSpPr>
            <p:cNvPr id="72" name="Freeform 5236">
              <a:extLst>
                <a:ext uri="{FF2B5EF4-FFF2-40B4-BE49-F238E27FC236}">
                  <a16:creationId xmlns:a16="http://schemas.microsoft.com/office/drawing/2014/main" id="{CCE1B9B7-E4C1-4B99-90D7-B6B730ABF55C}"/>
                </a:ext>
              </a:extLst>
            </p:cNvPr>
            <p:cNvSpPr/>
            <p:nvPr/>
          </p:nvSpPr>
          <p:spPr>
            <a:xfrm>
              <a:off x="5952778" y="4868755"/>
              <a:ext cx="1969300" cy="261192"/>
            </a:xfrm>
            <a:custGeom>
              <a:avLst/>
              <a:gdLst/>
              <a:ahLst/>
              <a:cxnLst/>
              <a:rect l="0" t="0" r="0" b="0"/>
              <a:pathLst>
                <a:path w="2171700" h="288037">
                  <a:moveTo>
                    <a:pt x="0" y="29465"/>
                  </a:moveTo>
                  <a:cubicBezTo>
                    <a:pt x="0" y="13209"/>
                    <a:pt x="13209" y="0"/>
                    <a:pt x="29465" y="0"/>
                  </a:cubicBezTo>
                  <a:lnTo>
                    <a:pt x="2142236" y="0"/>
                  </a:lnTo>
                  <a:cubicBezTo>
                    <a:pt x="2158493" y="0"/>
                    <a:pt x="2171700" y="13209"/>
                    <a:pt x="2171700" y="29465"/>
                  </a:cubicBezTo>
                  <a:lnTo>
                    <a:pt x="2171700" y="258572"/>
                  </a:lnTo>
                  <a:cubicBezTo>
                    <a:pt x="2171700" y="274828"/>
                    <a:pt x="2158493" y="288037"/>
                    <a:pt x="2142236" y="288037"/>
                  </a:cubicBezTo>
                  <a:lnTo>
                    <a:pt x="29465" y="288037"/>
                  </a:lnTo>
                  <a:cubicBezTo>
                    <a:pt x="13209" y="288037"/>
                    <a:pt x="0" y="274828"/>
                    <a:pt x="0" y="258572"/>
                  </a:cubicBezTo>
                  <a:close/>
                  <a:moveTo>
                    <a:pt x="-4046728" y="2136648"/>
                  </a:moveTo>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73" name="Picture 5237">
              <a:extLst>
                <a:ext uri="{FF2B5EF4-FFF2-40B4-BE49-F238E27FC236}">
                  <a16:creationId xmlns:a16="http://schemas.microsoft.com/office/drawing/2014/main" id="{7089674A-2434-43B5-A661-B493AB077ABD}"/>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6749136" y="4879120"/>
              <a:ext cx="465606" cy="244146"/>
            </a:xfrm>
            <a:prstGeom prst="rect">
              <a:avLst/>
            </a:prstGeom>
            <a:noFill/>
          </p:spPr>
        </p:pic>
        <p:sp>
          <p:nvSpPr>
            <p:cNvPr id="74" name="Freeform 5238">
              <a:extLst>
                <a:ext uri="{FF2B5EF4-FFF2-40B4-BE49-F238E27FC236}">
                  <a16:creationId xmlns:a16="http://schemas.microsoft.com/office/drawing/2014/main" id="{1D35ED2E-5CE6-4EDD-B98F-A362F2EA540F}"/>
                </a:ext>
              </a:extLst>
            </p:cNvPr>
            <p:cNvSpPr/>
            <p:nvPr/>
          </p:nvSpPr>
          <p:spPr>
            <a:xfrm>
              <a:off x="2882053" y="4868755"/>
              <a:ext cx="3015448" cy="261192"/>
            </a:xfrm>
            <a:custGeom>
              <a:avLst/>
              <a:gdLst/>
              <a:ahLst/>
              <a:cxnLst/>
              <a:rect l="0" t="0" r="0" b="0"/>
              <a:pathLst>
                <a:path w="3325369" h="288037">
                  <a:moveTo>
                    <a:pt x="0" y="29465"/>
                  </a:moveTo>
                  <a:cubicBezTo>
                    <a:pt x="0" y="13209"/>
                    <a:pt x="13209" y="0"/>
                    <a:pt x="29465" y="0"/>
                  </a:cubicBezTo>
                  <a:lnTo>
                    <a:pt x="3295905" y="0"/>
                  </a:lnTo>
                  <a:cubicBezTo>
                    <a:pt x="3312161" y="0"/>
                    <a:pt x="3325369" y="13209"/>
                    <a:pt x="3325369" y="29465"/>
                  </a:cubicBezTo>
                  <a:lnTo>
                    <a:pt x="3325369" y="258572"/>
                  </a:lnTo>
                  <a:cubicBezTo>
                    <a:pt x="3325369" y="274828"/>
                    <a:pt x="3312161" y="288037"/>
                    <a:pt x="3295905" y="288037"/>
                  </a:cubicBezTo>
                  <a:lnTo>
                    <a:pt x="29465" y="288037"/>
                  </a:lnTo>
                  <a:cubicBezTo>
                    <a:pt x="13209" y="288037"/>
                    <a:pt x="0" y="274828"/>
                    <a:pt x="0" y="258572"/>
                  </a:cubicBezTo>
                  <a:close/>
                  <a:moveTo>
                    <a:pt x="-660400" y="2136648"/>
                  </a:moveTo>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5239">
              <a:extLst>
                <a:ext uri="{FF2B5EF4-FFF2-40B4-BE49-F238E27FC236}">
                  <a16:creationId xmlns:a16="http://schemas.microsoft.com/office/drawing/2014/main" id="{ADC2CD99-70E8-495D-9E3F-61DF8D8F2204}"/>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3583860" y="4879120"/>
              <a:ext cx="1710412" cy="244146"/>
            </a:xfrm>
            <a:prstGeom prst="rect">
              <a:avLst/>
            </a:prstGeom>
            <a:noFill/>
          </p:spPr>
        </p:pic>
        <p:sp>
          <p:nvSpPr>
            <p:cNvPr id="76" name="Freeform 5240">
              <a:extLst>
                <a:ext uri="{FF2B5EF4-FFF2-40B4-BE49-F238E27FC236}">
                  <a16:creationId xmlns:a16="http://schemas.microsoft.com/office/drawing/2014/main" id="{40324DDE-93D7-47DA-B591-41DCB062CBC0}"/>
                </a:ext>
              </a:extLst>
            </p:cNvPr>
            <p:cNvSpPr/>
            <p:nvPr/>
          </p:nvSpPr>
          <p:spPr>
            <a:xfrm>
              <a:off x="9027650" y="4868755"/>
              <a:ext cx="1974828" cy="261192"/>
            </a:xfrm>
            <a:custGeom>
              <a:avLst/>
              <a:gdLst/>
              <a:ahLst/>
              <a:cxnLst/>
              <a:rect l="0" t="0" r="0" b="0"/>
              <a:pathLst>
                <a:path w="2177796" h="288037">
                  <a:moveTo>
                    <a:pt x="0" y="29465"/>
                  </a:moveTo>
                  <a:cubicBezTo>
                    <a:pt x="0" y="13209"/>
                    <a:pt x="13208" y="0"/>
                    <a:pt x="29465" y="0"/>
                  </a:cubicBezTo>
                  <a:lnTo>
                    <a:pt x="2148332" y="0"/>
                  </a:lnTo>
                  <a:cubicBezTo>
                    <a:pt x="2164589" y="0"/>
                    <a:pt x="2177796" y="13209"/>
                    <a:pt x="2177796" y="29465"/>
                  </a:cubicBezTo>
                  <a:lnTo>
                    <a:pt x="2177796" y="258572"/>
                  </a:lnTo>
                  <a:cubicBezTo>
                    <a:pt x="2177796" y="274828"/>
                    <a:pt x="2164589" y="288037"/>
                    <a:pt x="2148332" y="288037"/>
                  </a:cubicBezTo>
                  <a:lnTo>
                    <a:pt x="29465" y="288037"/>
                  </a:lnTo>
                  <a:cubicBezTo>
                    <a:pt x="13208" y="288037"/>
                    <a:pt x="0" y="274828"/>
                    <a:pt x="0" y="258572"/>
                  </a:cubicBezTo>
                  <a:close/>
                  <a:moveTo>
                    <a:pt x="-7437628" y="2136648"/>
                  </a:moveTo>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5241">
              <a:extLst>
                <a:ext uri="{FF2B5EF4-FFF2-40B4-BE49-F238E27FC236}">
                  <a16:creationId xmlns:a16="http://schemas.microsoft.com/office/drawing/2014/main" id="{20DA1717-DAD1-4A3B-90CC-D00FD5AF7BDC}"/>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9923279" y="4879120"/>
              <a:ext cx="265567" cy="244146"/>
            </a:xfrm>
            <a:prstGeom prst="rect">
              <a:avLst/>
            </a:prstGeom>
            <a:noFill/>
          </p:spPr>
        </p:pic>
        <p:sp>
          <p:nvSpPr>
            <p:cNvPr id="78" name="Freeform 5242">
              <a:extLst>
                <a:ext uri="{FF2B5EF4-FFF2-40B4-BE49-F238E27FC236}">
                  <a16:creationId xmlns:a16="http://schemas.microsoft.com/office/drawing/2014/main" id="{2FD6C28B-1465-4F73-BEC9-7CF626140D48}"/>
                </a:ext>
              </a:extLst>
            </p:cNvPr>
            <p:cNvSpPr/>
            <p:nvPr/>
          </p:nvSpPr>
          <p:spPr>
            <a:xfrm>
              <a:off x="5952779" y="5199045"/>
              <a:ext cx="946647" cy="424262"/>
            </a:xfrm>
            <a:custGeom>
              <a:avLst/>
              <a:gdLst/>
              <a:ahLst/>
              <a:cxnLst/>
              <a:rect l="0" t="0" r="0" b="0"/>
              <a:pathLst>
                <a:path w="1043941" h="467867">
                  <a:moveTo>
                    <a:pt x="0" y="47879"/>
                  </a:moveTo>
                  <a:cubicBezTo>
                    <a:pt x="0" y="21463"/>
                    <a:pt x="21464" y="0"/>
                    <a:pt x="47879" y="0"/>
                  </a:cubicBezTo>
                  <a:lnTo>
                    <a:pt x="996061" y="0"/>
                  </a:lnTo>
                  <a:cubicBezTo>
                    <a:pt x="1022478" y="0"/>
                    <a:pt x="1043941" y="21463"/>
                    <a:pt x="1043941" y="47879"/>
                  </a:cubicBezTo>
                  <a:lnTo>
                    <a:pt x="1043941" y="419989"/>
                  </a:lnTo>
                  <a:cubicBezTo>
                    <a:pt x="1043941" y="446404"/>
                    <a:pt x="1022478" y="467867"/>
                    <a:pt x="996061" y="467867"/>
                  </a:cubicBezTo>
                  <a:lnTo>
                    <a:pt x="47879" y="467867"/>
                  </a:lnTo>
                  <a:cubicBezTo>
                    <a:pt x="21464" y="467867"/>
                    <a:pt x="0" y="446404"/>
                    <a:pt x="0" y="419989"/>
                  </a:cubicBezTo>
                  <a:close/>
                  <a:moveTo>
                    <a:pt x="-4429379" y="1772411"/>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79" name="Picture 5243">
              <a:extLst>
                <a:ext uri="{FF2B5EF4-FFF2-40B4-BE49-F238E27FC236}">
                  <a16:creationId xmlns:a16="http://schemas.microsoft.com/office/drawing/2014/main" id="{6B739BA2-F4BE-40D2-AF49-839FDEE755C4}"/>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6132550" y="5213786"/>
              <a:ext cx="636855" cy="147409"/>
            </a:xfrm>
            <a:prstGeom prst="rect">
              <a:avLst/>
            </a:prstGeom>
            <a:noFill/>
          </p:spPr>
        </p:pic>
        <p:pic>
          <p:nvPicPr>
            <p:cNvPr id="80" name="Picture 5244">
              <a:extLst>
                <a:ext uri="{FF2B5EF4-FFF2-40B4-BE49-F238E27FC236}">
                  <a16:creationId xmlns:a16="http://schemas.microsoft.com/office/drawing/2014/main" id="{1F736E70-60A0-4012-B887-9001BA952F7B}"/>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6236197" y="5337886"/>
              <a:ext cx="433672" cy="147685"/>
            </a:xfrm>
            <a:prstGeom prst="rect">
              <a:avLst/>
            </a:prstGeom>
            <a:noFill/>
          </p:spPr>
        </p:pic>
        <p:pic>
          <p:nvPicPr>
            <p:cNvPr id="81" name="Picture 5245">
              <a:extLst>
                <a:ext uri="{FF2B5EF4-FFF2-40B4-BE49-F238E27FC236}">
                  <a16:creationId xmlns:a16="http://schemas.microsoft.com/office/drawing/2014/main" id="{CF9940EC-DEB3-42D7-8683-70A3EA0D04C4}"/>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6174009" y="5462769"/>
              <a:ext cx="553568" cy="147410"/>
            </a:xfrm>
            <a:prstGeom prst="rect">
              <a:avLst/>
            </a:prstGeom>
            <a:noFill/>
          </p:spPr>
        </p:pic>
        <p:sp>
          <p:nvSpPr>
            <p:cNvPr id="82" name="Freeform 5246">
              <a:extLst>
                <a:ext uri="{FF2B5EF4-FFF2-40B4-BE49-F238E27FC236}">
                  <a16:creationId xmlns:a16="http://schemas.microsoft.com/office/drawing/2014/main" id="{5B519552-9D4F-48B1-A8F8-8DD77FABCA7C}"/>
                </a:ext>
              </a:extLst>
            </p:cNvPr>
            <p:cNvSpPr/>
            <p:nvPr/>
          </p:nvSpPr>
          <p:spPr>
            <a:xfrm>
              <a:off x="6978196" y="5199045"/>
              <a:ext cx="946646" cy="424262"/>
            </a:xfrm>
            <a:custGeom>
              <a:avLst/>
              <a:gdLst/>
              <a:ahLst/>
              <a:cxnLst/>
              <a:rect l="0" t="0" r="0" b="0"/>
              <a:pathLst>
                <a:path w="1043940" h="467867">
                  <a:moveTo>
                    <a:pt x="0" y="47879"/>
                  </a:moveTo>
                  <a:cubicBezTo>
                    <a:pt x="0" y="21463"/>
                    <a:pt x="21463" y="0"/>
                    <a:pt x="47879" y="0"/>
                  </a:cubicBezTo>
                  <a:lnTo>
                    <a:pt x="996062" y="0"/>
                  </a:lnTo>
                  <a:cubicBezTo>
                    <a:pt x="1022477" y="0"/>
                    <a:pt x="1043940" y="21463"/>
                    <a:pt x="1043940" y="47879"/>
                  </a:cubicBezTo>
                  <a:lnTo>
                    <a:pt x="1043940" y="419989"/>
                  </a:lnTo>
                  <a:cubicBezTo>
                    <a:pt x="1043940" y="446404"/>
                    <a:pt x="1022477" y="467867"/>
                    <a:pt x="996062" y="467867"/>
                  </a:cubicBezTo>
                  <a:lnTo>
                    <a:pt x="47879" y="467867"/>
                  </a:lnTo>
                  <a:cubicBezTo>
                    <a:pt x="21463" y="467867"/>
                    <a:pt x="0" y="446404"/>
                    <a:pt x="0" y="419989"/>
                  </a:cubicBezTo>
                  <a:close/>
                  <a:moveTo>
                    <a:pt x="-5560187" y="1772411"/>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5247">
              <a:extLst>
                <a:ext uri="{FF2B5EF4-FFF2-40B4-BE49-F238E27FC236}">
                  <a16:creationId xmlns:a16="http://schemas.microsoft.com/office/drawing/2014/main" id="{C6C3F588-85B3-4E8A-A6F5-3A0820595570}"/>
                </a:ext>
              </a:extLst>
            </p:cNvPr>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a:xfrm>
              <a:off x="7256664" y="5275973"/>
              <a:ext cx="462186" cy="147410"/>
            </a:xfrm>
            <a:prstGeom prst="rect">
              <a:avLst/>
            </a:prstGeom>
            <a:noFill/>
          </p:spPr>
        </p:pic>
        <p:pic>
          <p:nvPicPr>
            <p:cNvPr id="84" name="Picture 5248">
              <a:extLst>
                <a:ext uri="{FF2B5EF4-FFF2-40B4-BE49-F238E27FC236}">
                  <a16:creationId xmlns:a16="http://schemas.microsoft.com/office/drawing/2014/main" id="{50594F7B-20DE-4A22-A46D-F7805AFBB7C0}"/>
                </a:ext>
              </a:extLst>
            </p:cNvPr>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a:xfrm>
              <a:off x="7190329" y="5400580"/>
              <a:ext cx="595914" cy="147410"/>
            </a:xfrm>
            <a:prstGeom prst="rect">
              <a:avLst/>
            </a:prstGeom>
            <a:noFill/>
          </p:spPr>
        </p:pic>
        <p:sp>
          <p:nvSpPr>
            <p:cNvPr id="85" name="Freeform 5249">
              <a:extLst>
                <a:ext uri="{FF2B5EF4-FFF2-40B4-BE49-F238E27FC236}">
                  <a16:creationId xmlns:a16="http://schemas.microsoft.com/office/drawing/2014/main" id="{6EBDE69C-41CF-499C-A4DC-AE8CA940AE75}"/>
                </a:ext>
              </a:extLst>
            </p:cNvPr>
            <p:cNvSpPr/>
            <p:nvPr/>
          </p:nvSpPr>
          <p:spPr>
            <a:xfrm>
              <a:off x="5952779" y="5697935"/>
              <a:ext cx="946647" cy="424262"/>
            </a:xfrm>
            <a:custGeom>
              <a:avLst/>
              <a:gdLst/>
              <a:ahLst/>
              <a:cxnLst/>
              <a:rect l="0" t="0" r="0" b="0"/>
              <a:pathLst>
                <a:path w="1043941" h="467867">
                  <a:moveTo>
                    <a:pt x="0" y="47853"/>
                  </a:moveTo>
                  <a:cubicBezTo>
                    <a:pt x="0" y="21424"/>
                    <a:pt x="21464" y="0"/>
                    <a:pt x="47879" y="0"/>
                  </a:cubicBezTo>
                  <a:lnTo>
                    <a:pt x="996061" y="0"/>
                  </a:lnTo>
                  <a:cubicBezTo>
                    <a:pt x="1022478" y="0"/>
                    <a:pt x="1043941" y="21424"/>
                    <a:pt x="1043941" y="47853"/>
                  </a:cubicBezTo>
                  <a:lnTo>
                    <a:pt x="1043941" y="420014"/>
                  </a:lnTo>
                  <a:cubicBezTo>
                    <a:pt x="1043941" y="446443"/>
                    <a:pt x="1022478" y="467867"/>
                    <a:pt x="996061" y="467867"/>
                  </a:cubicBezTo>
                  <a:lnTo>
                    <a:pt x="47879" y="467867"/>
                  </a:lnTo>
                  <a:cubicBezTo>
                    <a:pt x="21464" y="467867"/>
                    <a:pt x="0" y="446443"/>
                    <a:pt x="0" y="420014"/>
                  </a:cubicBezTo>
                  <a:close/>
                  <a:moveTo>
                    <a:pt x="-4979517" y="1222247"/>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5250">
              <a:extLst>
                <a:ext uri="{FF2B5EF4-FFF2-40B4-BE49-F238E27FC236}">
                  <a16:creationId xmlns:a16="http://schemas.microsoft.com/office/drawing/2014/main" id="{0385E782-C023-40A0-B88F-B1CED899E9E5}"/>
                </a:ext>
              </a:extLst>
            </p:cNvPr>
            <p:cNvPicPr>
              <a:picLocks noChangeArrowheads="1"/>
            </p:cNvPicPr>
            <p:nvPr/>
          </p:nvPicPr>
          <p:blipFill>
            <a:blip r:embed="rId53">
              <a:extLst>
                <a:ext uri="{28A0092B-C50C-407E-A947-70E740481C1C}">
                  <a14:useLocalDpi xmlns:a14="http://schemas.microsoft.com/office/drawing/2010/main" val="0"/>
                </a:ext>
              </a:extLst>
            </a:blip>
            <a:srcRect/>
            <a:stretch>
              <a:fillRect/>
            </a:stretch>
          </p:blipFill>
          <p:spPr>
            <a:xfrm>
              <a:off x="6051013" y="5775139"/>
              <a:ext cx="821969" cy="147410"/>
            </a:xfrm>
            <a:prstGeom prst="rect">
              <a:avLst/>
            </a:prstGeom>
            <a:noFill/>
          </p:spPr>
        </p:pic>
        <p:pic>
          <p:nvPicPr>
            <p:cNvPr id="87" name="Picture 5251">
              <a:extLst>
                <a:ext uri="{FF2B5EF4-FFF2-40B4-BE49-F238E27FC236}">
                  <a16:creationId xmlns:a16="http://schemas.microsoft.com/office/drawing/2014/main" id="{35E85174-C504-4D9B-A1F1-A4FCC5770D55}"/>
                </a:ext>
              </a:extLst>
            </p:cNvPr>
            <p:cNvPicPr>
              <a:picLocks noChangeArrowheads="1"/>
            </p:cNvPicPr>
            <p:nvPr/>
          </p:nvPicPr>
          <p:blipFill>
            <a:blip r:embed="rId54">
              <a:extLst>
                <a:ext uri="{28A0092B-C50C-407E-A947-70E740481C1C}">
                  <a14:useLocalDpi xmlns:a14="http://schemas.microsoft.com/office/drawing/2010/main" val="0"/>
                </a:ext>
              </a:extLst>
            </a:blip>
            <a:srcRect/>
            <a:stretch>
              <a:fillRect/>
            </a:stretch>
          </p:blipFill>
          <p:spPr>
            <a:xfrm>
              <a:off x="6158807" y="5899516"/>
              <a:ext cx="609492" cy="147410"/>
            </a:xfrm>
            <a:prstGeom prst="rect">
              <a:avLst/>
            </a:prstGeom>
            <a:noFill/>
          </p:spPr>
        </p:pic>
        <p:sp>
          <p:nvSpPr>
            <p:cNvPr id="88" name="Freeform 5252">
              <a:extLst>
                <a:ext uri="{FF2B5EF4-FFF2-40B4-BE49-F238E27FC236}">
                  <a16:creationId xmlns:a16="http://schemas.microsoft.com/office/drawing/2014/main" id="{820C232E-9897-4073-A6CF-942588A2AD8F}"/>
                </a:ext>
              </a:extLst>
            </p:cNvPr>
            <p:cNvSpPr/>
            <p:nvPr/>
          </p:nvSpPr>
          <p:spPr>
            <a:xfrm>
              <a:off x="6978196" y="5697935"/>
              <a:ext cx="946646" cy="424262"/>
            </a:xfrm>
            <a:custGeom>
              <a:avLst/>
              <a:gdLst/>
              <a:ahLst/>
              <a:cxnLst/>
              <a:rect l="0" t="0" r="0" b="0"/>
              <a:pathLst>
                <a:path w="1043940" h="467867">
                  <a:moveTo>
                    <a:pt x="0" y="47853"/>
                  </a:moveTo>
                  <a:cubicBezTo>
                    <a:pt x="0" y="21424"/>
                    <a:pt x="21463" y="0"/>
                    <a:pt x="47879" y="0"/>
                  </a:cubicBezTo>
                  <a:lnTo>
                    <a:pt x="996062" y="0"/>
                  </a:lnTo>
                  <a:cubicBezTo>
                    <a:pt x="1022477" y="0"/>
                    <a:pt x="1043940" y="21424"/>
                    <a:pt x="1043940" y="47853"/>
                  </a:cubicBezTo>
                  <a:lnTo>
                    <a:pt x="1043940" y="420014"/>
                  </a:lnTo>
                  <a:cubicBezTo>
                    <a:pt x="1043940" y="446443"/>
                    <a:pt x="1022477" y="467867"/>
                    <a:pt x="996062" y="467867"/>
                  </a:cubicBezTo>
                  <a:lnTo>
                    <a:pt x="47879" y="467867"/>
                  </a:lnTo>
                  <a:cubicBezTo>
                    <a:pt x="21463" y="467867"/>
                    <a:pt x="0" y="446443"/>
                    <a:pt x="0" y="420014"/>
                  </a:cubicBezTo>
                  <a:close/>
                  <a:moveTo>
                    <a:pt x="-6110325" y="1222247"/>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5253">
              <a:extLst>
                <a:ext uri="{FF2B5EF4-FFF2-40B4-BE49-F238E27FC236}">
                  <a16:creationId xmlns:a16="http://schemas.microsoft.com/office/drawing/2014/main" id="{4FAD73F6-A030-4269-9100-2E5656CEF947}"/>
                </a:ext>
              </a:extLst>
            </p:cNvPr>
            <p:cNvPicPr>
              <a:picLocks noChangeArrowheads="1"/>
            </p:cNvPicPr>
            <p:nvPr/>
          </p:nvPicPr>
          <p:blipFill>
            <a:blip r:embed="rId55">
              <a:extLst>
                <a:ext uri="{28A0092B-C50C-407E-A947-70E740481C1C}">
                  <a14:useLocalDpi xmlns:a14="http://schemas.microsoft.com/office/drawing/2010/main" val="0"/>
                </a:ext>
              </a:extLst>
            </a:blip>
            <a:srcRect/>
            <a:stretch>
              <a:fillRect/>
            </a:stretch>
          </p:blipFill>
          <p:spPr>
            <a:xfrm>
              <a:off x="7159926" y="5775139"/>
              <a:ext cx="658529" cy="147410"/>
            </a:xfrm>
            <a:prstGeom prst="rect">
              <a:avLst/>
            </a:prstGeom>
            <a:noFill/>
          </p:spPr>
        </p:pic>
        <p:pic>
          <p:nvPicPr>
            <p:cNvPr id="90" name="Picture 5254">
              <a:extLst>
                <a:ext uri="{FF2B5EF4-FFF2-40B4-BE49-F238E27FC236}">
                  <a16:creationId xmlns:a16="http://schemas.microsoft.com/office/drawing/2014/main" id="{C5D2A456-D632-4810-B64D-B888B941EEE0}"/>
                </a:ext>
              </a:extLst>
            </p:cNvPr>
            <p:cNvPicPr>
              <a:picLocks noChangeArrowheads="1"/>
            </p:cNvPicPr>
            <p:nvPr/>
          </p:nvPicPr>
          <p:blipFill>
            <a:blip r:embed="rId56">
              <a:extLst>
                <a:ext uri="{28A0092B-C50C-407E-A947-70E740481C1C}">
                  <a14:useLocalDpi xmlns:a14="http://schemas.microsoft.com/office/drawing/2010/main" val="0"/>
                </a:ext>
              </a:extLst>
            </a:blip>
            <a:srcRect/>
            <a:stretch>
              <a:fillRect/>
            </a:stretch>
          </p:blipFill>
          <p:spPr>
            <a:xfrm>
              <a:off x="7184800" y="5899516"/>
              <a:ext cx="587012" cy="147410"/>
            </a:xfrm>
            <a:prstGeom prst="rect">
              <a:avLst/>
            </a:prstGeom>
            <a:noFill/>
          </p:spPr>
        </p:pic>
        <p:sp>
          <p:nvSpPr>
            <p:cNvPr id="91" name="Freeform 5255">
              <a:extLst>
                <a:ext uri="{FF2B5EF4-FFF2-40B4-BE49-F238E27FC236}">
                  <a16:creationId xmlns:a16="http://schemas.microsoft.com/office/drawing/2014/main" id="{119E31F0-97D9-4061-9313-7DB4BC005BCF}"/>
                </a:ext>
              </a:extLst>
            </p:cNvPr>
            <p:cNvSpPr/>
            <p:nvPr/>
          </p:nvSpPr>
          <p:spPr>
            <a:xfrm>
              <a:off x="824308" y="5199045"/>
              <a:ext cx="946646" cy="424262"/>
            </a:xfrm>
            <a:custGeom>
              <a:avLst/>
              <a:gdLst/>
              <a:ahLst/>
              <a:cxnLst/>
              <a:rect l="0" t="0" r="0" b="0"/>
              <a:pathLst>
                <a:path w="1043940" h="467867">
                  <a:moveTo>
                    <a:pt x="0" y="47879"/>
                  </a:moveTo>
                  <a:cubicBezTo>
                    <a:pt x="0" y="21463"/>
                    <a:pt x="21424" y="0"/>
                    <a:pt x="47853" y="0"/>
                  </a:cubicBezTo>
                  <a:lnTo>
                    <a:pt x="996060" y="0"/>
                  </a:lnTo>
                  <a:cubicBezTo>
                    <a:pt x="1022477" y="0"/>
                    <a:pt x="1043940" y="21463"/>
                    <a:pt x="1043940" y="47879"/>
                  </a:cubicBezTo>
                  <a:lnTo>
                    <a:pt x="1043940" y="419989"/>
                  </a:lnTo>
                  <a:cubicBezTo>
                    <a:pt x="1043940" y="446404"/>
                    <a:pt x="1022477" y="467867"/>
                    <a:pt x="996060" y="467867"/>
                  </a:cubicBezTo>
                  <a:lnTo>
                    <a:pt x="47853" y="467867"/>
                  </a:lnTo>
                  <a:cubicBezTo>
                    <a:pt x="21424" y="467867"/>
                    <a:pt x="0" y="446404"/>
                    <a:pt x="0" y="419989"/>
                  </a:cubicBezTo>
                  <a:close/>
                  <a:moveTo>
                    <a:pt x="1226184" y="1772411"/>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92" name="Picture 5256">
              <a:extLst>
                <a:ext uri="{FF2B5EF4-FFF2-40B4-BE49-F238E27FC236}">
                  <a16:creationId xmlns:a16="http://schemas.microsoft.com/office/drawing/2014/main" id="{D686AFD9-E62F-4FA5-A73C-DAC9367CCFC3}"/>
                </a:ext>
              </a:extLst>
            </p:cNvPr>
            <p:cNvPicPr>
              <a:picLocks noChangeArrowheads="1"/>
            </p:cNvPicPr>
            <p:nvPr/>
          </p:nvPicPr>
          <p:blipFill>
            <a:blip r:embed="rId57">
              <a:extLst>
                <a:ext uri="{28A0092B-C50C-407E-A947-70E740481C1C}">
                  <a14:useLocalDpi xmlns:a14="http://schemas.microsoft.com/office/drawing/2010/main" val="0"/>
                </a:ext>
              </a:extLst>
            </a:blip>
            <a:srcRect/>
            <a:stretch>
              <a:fillRect/>
            </a:stretch>
          </p:blipFill>
          <p:spPr>
            <a:xfrm>
              <a:off x="1070666" y="5213786"/>
              <a:ext cx="270404" cy="147409"/>
            </a:xfrm>
            <a:prstGeom prst="rect">
              <a:avLst/>
            </a:prstGeom>
            <a:noFill/>
          </p:spPr>
        </p:pic>
        <p:pic>
          <p:nvPicPr>
            <p:cNvPr id="93" name="Picture 5257">
              <a:extLst>
                <a:ext uri="{FF2B5EF4-FFF2-40B4-BE49-F238E27FC236}">
                  <a16:creationId xmlns:a16="http://schemas.microsoft.com/office/drawing/2014/main" id="{8D82B430-81F0-46DA-8E0A-9CECD4F4CAE4}"/>
                </a:ext>
              </a:extLst>
            </p:cNvPr>
            <p:cNvPicPr>
              <a:picLocks noChangeArrowheads="1"/>
            </p:cNvPicPr>
            <p:nvPr/>
          </p:nvPicPr>
          <p:blipFill>
            <a:blip r:embed="rId58">
              <a:extLst>
                <a:ext uri="{28A0092B-C50C-407E-A947-70E740481C1C}">
                  <a14:useLocalDpi xmlns:a14="http://schemas.microsoft.com/office/drawing/2010/main" val="0"/>
                </a:ext>
              </a:extLst>
            </a:blip>
            <a:srcRect/>
            <a:stretch>
              <a:fillRect/>
            </a:stretch>
          </p:blipFill>
          <p:spPr>
            <a:xfrm>
              <a:off x="1268563" y="5213786"/>
              <a:ext cx="97659" cy="147409"/>
            </a:xfrm>
            <a:prstGeom prst="rect">
              <a:avLst/>
            </a:prstGeom>
            <a:noFill/>
          </p:spPr>
        </p:pic>
        <p:pic>
          <p:nvPicPr>
            <p:cNvPr id="94" name="Picture 5258">
              <a:extLst>
                <a:ext uri="{FF2B5EF4-FFF2-40B4-BE49-F238E27FC236}">
                  <a16:creationId xmlns:a16="http://schemas.microsoft.com/office/drawing/2014/main" id="{E3326788-1C86-4C5D-A07A-B3422E5E7936}"/>
                </a:ext>
              </a:extLst>
            </p:cNvPr>
            <p:cNvPicPr>
              <a:picLocks noChangeArrowheads="1"/>
            </p:cNvPicPr>
            <p:nvPr/>
          </p:nvPicPr>
          <p:blipFill>
            <a:blip r:embed="rId59">
              <a:extLst>
                <a:ext uri="{28A0092B-C50C-407E-A947-70E740481C1C}">
                  <a14:useLocalDpi xmlns:a14="http://schemas.microsoft.com/office/drawing/2010/main" val="0"/>
                </a:ext>
              </a:extLst>
            </a:blip>
            <a:srcRect/>
            <a:stretch>
              <a:fillRect/>
            </a:stretch>
          </p:blipFill>
          <p:spPr>
            <a:xfrm>
              <a:off x="1305877" y="5213786"/>
              <a:ext cx="288370" cy="147409"/>
            </a:xfrm>
            <a:prstGeom prst="rect">
              <a:avLst/>
            </a:prstGeom>
            <a:noFill/>
          </p:spPr>
        </p:pic>
        <p:pic>
          <p:nvPicPr>
            <p:cNvPr id="95" name="Picture 5259">
              <a:extLst>
                <a:ext uri="{FF2B5EF4-FFF2-40B4-BE49-F238E27FC236}">
                  <a16:creationId xmlns:a16="http://schemas.microsoft.com/office/drawing/2014/main" id="{91FA780B-3B97-487B-B6E5-BFB719BB3643}"/>
                </a:ext>
              </a:extLst>
            </p:cNvPr>
            <p:cNvPicPr>
              <a:picLocks noChangeArrowheads="1"/>
            </p:cNvPicPr>
            <p:nvPr/>
          </p:nvPicPr>
          <p:blipFill>
            <a:blip r:embed="rId60">
              <a:extLst>
                <a:ext uri="{28A0092B-C50C-407E-A947-70E740481C1C}">
                  <a14:useLocalDpi xmlns:a14="http://schemas.microsoft.com/office/drawing/2010/main" val="0"/>
                </a:ext>
              </a:extLst>
            </a:blip>
            <a:srcRect/>
            <a:stretch>
              <a:fillRect/>
            </a:stretch>
          </p:blipFill>
          <p:spPr>
            <a:xfrm>
              <a:off x="994658" y="5337886"/>
              <a:ext cx="688183" cy="147685"/>
            </a:xfrm>
            <a:prstGeom prst="rect">
              <a:avLst/>
            </a:prstGeom>
            <a:noFill/>
          </p:spPr>
        </p:pic>
        <p:pic>
          <p:nvPicPr>
            <p:cNvPr id="96" name="Picture 5260">
              <a:extLst>
                <a:ext uri="{FF2B5EF4-FFF2-40B4-BE49-F238E27FC236}">
                  <a16:creationId xmlns:a16="http://schemas.microsoft.com/office/drawing/2014/main" id="{681B9BD8-F454-4874-B73F-7D9F3939DFC0}"/>
                </a:ext>
              </a:extLst>
            </p:cNvPr>
            <p:cNvPicPr>
              <a:picLocks noChangeArrowheads="1"/>
            </p:cNvPicPr>
            <p:nvPr/>
          </p:nvPicPr>
          <p:blipFill>
            <a:blip r:embed="rId61">
              <a:extLst>
                <a:ext uri="{28A0092B-C50C-407E-A947-70E740481C1C}">
                  <a14:useLocalDpi xmlns:a14="http://schemas.microsoft.com/office/drawing/2010/main" val="0"/>
                </a:ext>
              </a:extLst>
            </a:blip>
            <a:srcRect/>
            <a:stretch>
              <a:fillRect/>
            </a:stretch>
          </p:blipFill>
          <p:spPr>
            <a:xfrm>
              <a:off x="917268" y="5462769"/>
              <a:ext cx="805950" cy="147410"/>
            </a:xfrm>
            <a:prstGeom prst="rect">
              <a:avLst/>
            </a:prstGeom>
            <a:noFill/>
          </p:spPr>
        </p:pic>
        <p:sp>
          <p:nvSpPr>
            <p:cNvPr id="97" name="Freeform 5261">
              <a:extLst>
                <a:ext uri="{FF2B5EF4-FFF2-40B4-BE49-F238E27FC236}">
                  <a16:creationId xmlns:a16="http://schemas.microsoft.com/office/drawing/2014/main" id="{54EE9D5F-6925-4E6A-AC46-44287DBE4A31}"/>
                </a:ext>
              </a:extLst>
            </p:cNvPr>
            <p:cNvSpPr/>
            <p:nvPr/>
          </p:nvSpPr>
          <p:spPr>
            <a:xfrm>
              <a:off x="1849725" y="5199045"/>
              <a:ext cx="946646" cy="424262"/>
            </a:xfrm>
            <a:custGeom>
              <a:avLst/>
              <a:gdLst/>
              <a:ahLst/>
              <a:cxnLst/>
              <a:rect l="0" t="0" r="0" b="0"/>
              <a:pathLst>
                <a:path w="1043940" h="467867">
                  <a:moveTo>
                    <a:pt x="0" y="47879"/>
                  </a:moveTo>
                  <a:cubicBezTo>
                    <a:pt x="0" y="21463"/>
                    <a:pt x="21464" y="0"/>
                    <a:pt x="47880" y="0"/>
                  </a:cubicBezTo>
                  <a:lnTo>
                    <a:pt x="996062" y="0"/>
                  </a:lnTo>
                  <a:cubicBezTo>
                    <a:pt x="1022477" y="0"/>
                    <a:pt x="1043940" y="21463"/>
                    <a:pt x="1043940" y="47879"/>
                  </a:cubicBezTo>
                  <a:lnTo>
                    <a:pt x="1043940" y="419989"/>
                  </a:lnTo>
                  <a:cubicBezTo>
                    <a:pt x="1043940" y="446404"/>
                    <a:pt x="1022477" y="467867"/>
                    <a:pt x="996062" y="467867"/>
                  </a:cubicBezTo>
                  <a:lnTo>
                    <a:pt x="47880" y="467867"/>
                  </a:lnTo>
                  <a:cubicBezTo>
                    <a:pt x="21464" y="467867"/>
                    <a:pt x="0" y="446404"/>
                    <a:pt x="0" y="419989"/>
                  </a:cubicBezTo>
                  <a:close/>
                  <a:moveTo>
                    <a:pt x="95377" y="1772411"/>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98" name="Picture 5262">
              <a:extLst>
                <a:ext uri="{FF2B5EF4-FFF2-40B4-BE49-F238E27FC236}">
                  <a16:creationId xmlns:a16="http://schemas.microsoft.com/office/drawing/2014/main" id="{BDBCA824-98CA-44EC-98BA-32EE56FA32DB}"/>
                </a:ext>
              </a:extLst>
            </p:cNvPr>
            <p:cNvPicPr>
              <a:picLocks noChangeArrowheads="1"/>
            </p:cNvPicPr>
            <p:nvPr/>
          </p:nvPicPr>
          <p:blipFill>
            <a:blip r:embed="rId62">
              <a:extLst>
                <a:ext uri="{28A0092B-C50C-407E-A947-70E740481C1C}">
                  <a14:useLocalDpi xmlns:a14="http://schemas.microsoft.com/office/drawing/2010/main" val="0"/>
                </a:ext>
              </a:extLst>
            </a:blip>
            <a:srcRect/>
            <a:stretch>
              <a:fillRect/>
            </a:stretch>
          </p:blipFill>
          <p:spPr>
            <a:xfrm>
              <a:off x="2124276" y="5213786"/>
              <a:ext cx="477007" cy="147409"/>
            </a:xfrm>
            <a:prstGeom prst="rect">
              <a:avLst/>
            </a:prstGeom>
            <a:noFill/>
          </p:spPr>
        </p:pic>
        <p:pic>
          <p:nvPicPr>
            <p:cNvPr id="99" name="Picture 5263">
              <a:extLst>
                <a:ext uri="{FF2B5EF4-FFF2-40B4-BE49-F238E27FC236}">
                  <a16:creationId xmlns:a16="http://schemas.microsoft.com/office/drawing/2014/main" id="{4029BEFD-62B8-47E0-99AC-DF7846F28DFA}"/>
                </a:ext>
              </a:extLst>
            </p:cNvPr>
            <p:cNvPicPr>
              <a:picLocks noChangeArrowheads="1"/>
            </p:cNvPicPr>
            <p:nvPr/>
          </p:nvPicPr>
          <p:blipFill>
            <a:blip r:embed="rId63">
              <a:extLst>
                <a:ext uri="{28A0092B-C50C-407E-A947-70E740481C1C}">
                  <a14:useLocalDpi xmlns:a14="http://schemas.microsoft.com/office/drawing/2010/main" val="0"/>
                </a:ext>
              </a:extLst>
            </a:blip>
            <a:srcRect/>
            <a:stretch>
              <a:fillRect/>
            </a:stretch>
          </p:blipFill>
          <p:spPr>
            <a:xfrm>
              <a:off x="2053796" y="5337886"/>
              <a:ext cx="604943" cy="147685"/>
            </a:xfrm>
            <a:prstGeom prst="rect">
              <a:avLst/>
            </a:prstGeom>
            <a:noFill/>
          </p:spPr>
        </p:pic>
        <p:pic>
          <p:nvPicPr>
            <p:cNvPr id="100" name="Picture 5264">
              <a:extLst>
                <a:ext uri="{FF2B5EF4-FFF2-40B4-BE49-F238E27FC236}">
                  <a16:creationId xmlns:a16="http://schemas.microsoft.com/office/drawing/2014/main" id="{28A95A76-00B1-43A5-8467-1E0E90CA013C}"/>
                </a:ext>
              </a:extLst>
            </p:cNvPr>
            <p:cNvPicPr>
              <a:picLocks noChangeArrowheads="1"/>
            </p:cNvPicPr>
            <p:nvPr/>
          </p:nvPicPr>
          <p:blipFill>
            <a:blip r:embed="rId64">
              <a:extLst>
                <a:ext uri="{28A0092B-C50C-407E-A947-70E740481C1C}">
                  <a14:useLocalDpi xmlns:a14="http://schemas.microsoft.com/office/drawing/2010/main" val="0"/>
                </a:ext>
              </a:extLst>
            </a:blip>
            <a:srcRect/>
            <a:stretch>
              <a:fillRect/>
            </a:stretch>
          </p:blipFill>
          <p:spPr>
            <a:xfrm>
              <a:off x="1934947" y="5462769"/>
              <a:ext cx="817293" cy="147410"/>
            </a:xfrm>
            <a:prstGeom prst="rect">
              <a:avLst/>
            </a:prstGeom>
            <a:noFill/>
          </p:spPr>
        </p:pic>
        <p:sp>
          <p:nvSpPr>
            <p:cNvPr id="101" name="Freeform 5265">
              <a:extLst>
                <a:ext uri="{FF2B5EF4-FFF2-40B4-BE49-F238E27FC236}">
                  <a16:creationId xmlns:a16="http://schemas.microsoft.com/office/drawing/2014/main" id="{507C7824-2BB2-4EF6-B4F4-76A9A05F38B7}"/>
                </a:ext>
              </a:extLst>
            </p:cNvPr>
            <p:cNvSpPr/>
            <p:nvPr/>
          </p:nvSpPr>
          <p:spPr>
            <a:xfrm>
              <a:off x="824308" y="5697935"/>
              <a:ext cx="946646" cy="424262"/>
            </a:xfrm>
            <a:custGeom>
              <a:avLst/>
              <a:gdLst/>
              <a:ahLst/>
              <a:cxnLst/>
              <a:rect l="0" t="0" r="0" b="0"/>
              <a:pathLst>
                <a:path w="1043940" h="467867">
                  <a:moveTo>
                    <a:pt x="0" y="47853"/>
                  </a:moveTo>
                  <a:cubicBezTo>
                    <a:pt x="0" y="21424"/>
                    <a:pt x="21424" y="0"/>
                    <a:pt x="47853" y="0"/>
                  </a:cubicBezTo>
                  <a:lnTo>
                    <a:pt x="996060" y="0"/>
                  </a:lnTo>
                  <a:cubicBezTo>
                    <a:pt x="1022477" y="0"/>
                    <a:pt x="1043940" y="21424"/>
                    <a:pt x="1043940" y="47853"/>
                  </a:cubicBezTo>
                  <a:lnTo>
                    <a:pt x="1043940" y="420014"/>
                  </a:lnTo>
                  <a:cubicBezTo>
                    <a:pt x="1043940" y="446443"/>
                    <a:pt x="1022477" y="467867"/>
                    <a:pt x="996060" y="467867"/>
                  </a:cubicBezTo>
                  <a:lnTo>
                    <a:pt x="47853" y="467867"/>
                  </a:lnTo>
                  <a:cubicBezTo>
                    <a:pt x="21424" y="467867"/>
                    <a:pt x="0" y="446443"/>
                    <a:pt x="0" y="420014"/>
                  </a:cubicBezTo>
                  <a:close/>
                  <a:moveTo>
                    <a:pt x="676046" y="1222247"/>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5266">
              <a:extLst>
                <a:ext uri="{FF2B5EF4-FFF2-40B4-BE49-F238E27FC236}">
                  <a16:creationId xmlns:a16="http://schemas.microsoft.com/office/drawing/2014/main" id="{8DE0BA79-2217-422A-A7B4-82C05286C456}"/>
                </a:ext>
              </a:extLst>
            </p:cNvPr>
            <p:cNvPicPr>
              <a:picLocks noChangeArrowheads="1"/>
            </p:cNvPicPr>
            <p:nvPr/>
          </p:nvPicPr>
          <p:blipFill>
            <a:blip r:embed="rId65">
              <a:extLst>
                <a:ext uri="{28A0092B-C50C-407E-A947-70E740481C1C}">
                  <a14:useLocalDpi xmlns:a14="http://schemas.microsoft.com/office/drawing/2010/main" val="0"/>
                </a:ext>
              </a:extLst>
            </a:blip>
            <a:srcRect/>
            <a:stretch>
              <a:fillRect/>
            </a:stretch>
          </p:blipFill>
          <p:spPr>
            <a:xfrm>
              <a:off x="1110743" y="5712950"/>
              <a:ext cx="151555" cy="147410"/>
            </a:xfrm>
            <a:prstGeom prst="rect">
              <a:avLst/>
            </a:prstGeom>
            <a:noFill/>
          </p:spPr>
        </p:pic>
        <p:pic>
          <p:nvPicPr>
            <p:cNvPr id="103" name="Picture 5267">
              <a:extLst>
                <a:ext uri="{FF2B5EF4-FFF2-40B4-BE49-F238E27FC236}">
                  <a16:creationId xmlns:a16="http://schemas.microsoft.com/office/drawing/2014/main" id="{B9F03149-1C97-4207-A585-9D76495D24F0}"/>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196425" y="5712950"/>
              <a:ext cx="97659" cy="147410"/>
            </a:xfrm>
            <a:prstGeom prst="rect">
              <a:avLst/>
            </a:prstGeom>
            <a:noFill/>
          </p:spPr>
        </p:pic>
        <p:pic>
          <p:nvPicPr>
            <p:cNvPr id="104" name="Picture 5268">
              <a:extLst>
                <a:ext uri="{FF2B5EF4-FFF2-40B4-BE49-F238E27FC236}">
                  <a16:creationId xmlns:a16="http://schemas.microsoft.com/office/drawing/2014/main" id="{B1A0E176-146A-4637-A860-696F94C66846}"/>
                </a:ext>
              </a:extLst>
            </p:cNvPr>
            <p:cNvPicPr>
              <a:picLocks noChangeArrowheads="1"/>
            </p:cNvPicPr>
            <p:nvPr/>
          </p:nvPicPr>
          <p:blipFill>
            <a:blip r:embed="rId66">
              <a:extLst>
                <a:ext uri="{28A0092B-C50C-407E-A947-70E740481C1C}">
                  <a14:useLocalDpi xmlns:a14="http://schemas.microsoft.com/office/drawing/2010/main" val="0"/>
                </a:ext>
              </a:extLst>
            </a:blip>
            <a:srcRect/>
            <a:stretch>
              <a:fillRect/>
            </a:stretch>
          </p:blipFill>
          <p:spPr>
            <a:xfrm>
              <a:off x="1233738" y="5712950"/>
              <a:ext cx="318082" cy="147410"/>
            </a:xfrm>
            <a:prstGeom prst="rect">
              <a:avLst/>
            </a:prstGeom>
            <a:noFill/>
          </p:spPr>
        </p:pic>
        <p:pic>
          <p:nvPicPr>
            <p:cNvPr id="105" name="Picture 5269">
              <a:extLst>
                <a:ext uri="{FF2B5EF4-FFF2-40B4-BE49-F238E27FC236}">
                  <a16:creationId xmlns:a16="http://schemas.microsoft.com/office/drawing/2014/main" id="{F6EAACED-5D12-4DD5-AA0B-77781F7FDEF2}"/>
                </a:ext>
              </a:extLst>
            </p:cNvPr>
            <p:cNvPicPr>
              <a:picLocks noChangeArrowheads="1"/>
            </p:cNvPicPr>
            <p:nvPr/>
          </p:nvPicPr>
          <p:blipFill>
            <a:blip r:embed="rId67">
              <a:extLst>
                <a:ext uri="{28A0092B-C50C-407E-A947-70E740481C1C}">
                  <a14:useLocalDpi xmlns:a14="http://schemas.microsoft.com/office/drawing/2010/main" val="0"/>
                </a:ext>
              </a:extLst>
            </a:blip>
            <a:srcRect/>
            <a:stretch>
              <a:fillRect/>
            </a:stretch>
          </p:blipFill>
          <p:spPr>
            <a:xfrm>
              <a:off x="1044409" y="5837327"/>
              <a:ext cx="584156" cy="147410"/>
            </a:xfrm>
            <a:prstGeom prst="rect">
              <a:avLst/>
            </a:prstGeom>
            <a:noFill/>
          </p:spPr>
        </p:pic>
        <p:pic>
          <p:nvPicPr>
            <p:cNvPr id="106" name="Picture 5270">
              <a:extLst>
                <a:ext uri="{FF2B5EF4-FFF2-40B4-BE49-F238E27FC236}">
                  <a16:creationId xmlns:a16="http://schemas.microsoft.com/office/drawing/2014/main" id="{BC0C51A2-D1CE-4D4B-8AA6-FB22435CA770}"/>
                </a:ext>
              </a:extLst>
            </p:cNvPr>
            <p:cNvPicPr>
              <a:picLocks noChangeArrowheads="1"/>
            </p:cNvPicPr>
            <p:nvPr/>
          </p:nvPicPr>
          <p:blipFill>
            <a:blip r:embed="rId68">
              <a:extLst>
                <a:ext uri="{28A0092B-C50C-407E-A947-70E740481C1C}">
                  <a14:useLocalDpi xmlns:a14="http://schemas.microsoft.com/office/drawing/2010/main" val="0"/>
                </a:ext>
              </a:extLst>
            </a:blip>
            <a:srcRect/>
            <a:stretch>
              <a:fillRect/>
            </a:stretch>
          </p:blipFill>
          <p:spPr>
            <a:xfrm>
              <a:off x="1065138" y="5961428"/>
              <a:ext cx="513170" cy="147685"/>
            </a:xfrm>
            <a:prstGeom prst="rect">
              <a:avLst/>
            </a:prstGeom>
            <a:noFill/>
          </p:spPr>
        </p:pic>
        <p:sp>
          <p:nvSpPr>
            <p:cNvPr id="107" name="Freeform 5271">
              <a:extLst>
                <a:ext uri="{FF2B5EF4-FFF2-40B4-BE49-F238E27FC236}">
                  <a16:creationId xmlns:a16="http://schemas.microsoft.com/office/drawing/2014/main" id="{E2274B7E-DFE3-407E-ADB8-59ACD484B066}"/>
                </a:ext>
              </a:extLst>
            </p:cNvPr>
            <p:cNvSpPr/>
            <p:nvPr/>
          </p:nvSpPr>
          <p:spPr>
            <a:xfrm>
              <a:off x="1849725" y="5697935"/>
              <a:ext cx="946646" cy="424262"/>
            </a:xfrm>
            <a:custGeom>
              <a:avLst/>
              <a:gdLst/>
              <a:ahLst/>
              <a:cxnLst/>
              <a:rect l="0" t="0" r="0" b="0"/>
              <a:pathLst>
                <a:path w="1043940" h="467867">
                  <a:moveTo>
                    <a:pt x="0" y="47853"/>
                  </a:moveTo>
                  <a:cubicBezTo>
                    <a:pt x="0" y="21424"/>
                    <a:pt x="21464" y="0"/>
                    <a:pt x="47880" y="0"/>
                  </a:cubicBezTo>
                  <a:lnTo>
                    <a:pt x="996062" y="0"/>
                  </a:lnTo>
                  <a:cubicBezTo>
                    <a:pt x="1022477" y="0"/>
                    <a:pt x="1043940" y="21424"/>
                    <a:pt x="1043940" y="47853"/>
                  </a:cubicBezTo>
                  <a:lnTo>
                    <a:pt x="1043940" y="420014"/>
                  </a:lnTo>
                  <a:cubicBezTo>
                    <a:pt x="1043940" y="446443"/>
                    <a:pt x="1022477" y="467867"/>
                    <a:pt x="996062" y="467867"/>
                  </a:cubicBezTo>
                  <a:lnTo>
                    <a:pt x="47880" y="467867"/>
                  </a:lnTo>
                  <a:cubicBezTo>
                    <a:pt x="21464" y="467867"/>
                    <a:pt x="0" y="446443"/>
                    <a:pt x="0" y="420014"/>
                  </a:cubicBezTo>
                  <a:close/>
                  <a:moveTo>
                    <a:pt x="-454761" y="1222247"/>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08" name="Picture 5272">
              <a:extLst>
                <a:ext uri="{FF2B5EF4-FFF2-40B4-BE49-F238E27FC236}">
                  <a16:creationId xmlns:a16="http://schemas.microsoft.com/office/drawing/2014/main" id="{7080B4A8-5BC5-4C6B-B937-350A130E9D9F}"/>
                </a:ext>
              </a:extLst>
            </p:cNvPr>
            <p:cNvPicPr>
              <a:picLocks noChangeArrowheads="1"/>
            </p:cNvPicPr>
            <p:nvPr/>
          </p:nvPicPr>
          <p:blipFill>
            <a:blip r:embed="rId69">
              <a:extLst>
                <a:ext uri="{28A0092B-C50C-407E-A947-70E740481C1C}">
                  <a14:useLocalDpi xmlns:a14="http://schemas.microsoft.com/office/drawing/2010/main" val="0"/>
                </a:ext>
              </a:extLst>
            </a:blip>
            <a:srcRect/>
            <a:stretch>
              <a:fillRect/>
            </a:stretch>
          </p:blipFill>
          <p:spPr>
            <a:xfrm>
              <a:off x="2009573" y="5712950"/>
              <a:ext cx="693746" cy="147410"/>
            </a:xfrm>
            <a:prstGeom prst="rect">
              <a:avLst/>
            </a:prstGeom>
            <a:noFill/>
          </p:spPr>
        </p:pic>
        <p:pic>
          <p:nvPicPr>
            <p:cNvPr id="109" name="Picture 5273">
              <a:extLst>
                <a:ext uri="{FF2B5EF4-FFF2-40B4-BE49-F238E27FC236}">
                  <a16:creationId xmlns:a16="http://schemas.microsoft.com/office/drawing/2014/main" id="{4B8AA430-6702-4410-A251-4F6DEC694179}"/>
                </a:ext>
              </a:extLst>
            </p:cNvPr>
            <p:cNvPicPr>
              <a:picLocks noChangeArrowheads="1"/>
            </p:cNvPicPr>
            <p:nvPr/>
          </p:nvPicPr>
          <p:blipFill>
            <a:blip r:embed="rId70">
              <a:extLst>
                <a:ext uri="{28A0092B-C50C-407E-A947-70E740481C1C}">
                  <a14:useLocalDpi xmlns:a14="http://schemas.microsoft.com/office/drawing/2010/main" val="0"/>
                </a:ext>
              </a:extLst>
            </a:blip>
            <a:srcRect/>
            <a:stretch>
              <a:fillRect/>
            </a:stretch>
          </p:blipFill>
          <p:spPr>
            <a:xfrm>
              <a:off x="2117366" y="5837327"/>
              <a:ext cx="474520" cy="147410"/>
            </a:xfrm>
            <a:prstGeom prst="rect">
              <a:avLst/>
            </a:prstGeom>
            <a:noFill/>
          </p:spPr>
        </p:pic>
        <p:pic>
          <p:nvPicPr>
            <p:cNvPr id="110" name="Picture 5274">
              <a:extLst>
                <a:ext uri="{FF2B5EF4-FFF2-40B4-BE49-F238E27FC236}">
                  <a16:creationId xmlns:a16="http://schemas.microsoft.com/office/drawing/2014/main" id="{D7B886F7-BA63-4971-B4AF-BD924CF1CB1C}"/>
                </a:ext>
              </a:extLst>
            </p:cNvPr>
            <p:cNvPicPr>
              <a:picLocks noChangeArrowheads="1"/>
            </p:cNvPicPr>
            <p:nvPr/>
          </p:nvPicPr>
          <p:blipFill>
            <a:blip r:embed="rId71">
              <a:extLst>
                <a:ext uri="{28A0092B-C50C-407E-A947-70E740481C1C}">
                  <a14:useLocalDpi xmlns:a14="http://schemas.microsoft.com/office/drawing/2010/main" val="0"/>
                </a:ext>
              </a:extLst>
            </a:blip>
            <a:srcRect/>
            <a:stretch>
              <a:fillRect/>
            </a:stretch>
          </p:blipFill>
          <p:spPr>
            <a:xfrm>
              <a:off x="2091109" y="5961428"/>
              <a:ext cx="512859" cy="147685"/>
            </a:xfrm>
            <a:prstGeom prst="rect">
              <a:avLst/>
            </a:prstGeom>
            <a:noFill/>
          </p:spPr>
        </p:pic>
        <p:sp>
          <p:nvSpPr>
            <p:cNvPr id="111" name="Freeform 5275">
              <a:extLst>
                <a:ext uri="{FF2B5EF4-FFF2-40B4-BE49-F238E27FC236}">
                  <a16:creationId xmlns:a16="http://schemas.microsoft.com/office/drawing/2014/main" id="{7787ED0B-CF36-4BE0-882C-70AC009A3B7D}"/>
                </a:ext>
              </a:extLst>
            </p:cNvPr>
            <p:cNvSpPr/>
            <p:nvPr/>
          </p:nvSpPr>
          <p:spPr>
            <a:xfrm>
              <a:off x="2875144" y="5199045"/>
              <a:ext cx="948028" cy="424262"/>
            </a:xfrm>
            <a:custGeom>
              <a:avLst/>
              <a:gdLst/>
              <a:ahLst/>
              <a:cxnLst/>
              <a:rect l="0" t="0" r="0" b="0"/>
              <a:pathLst>
                <a:path w="1045464" h="467867">
                  <a:moveTo>
                    <a:pt x="0" y="47879"/>
                  </a:moveTo>
                  <a:cubicBezTo>
                    <a:pt x="0" y="21463"/>
                    <a:pt x="21462" y="0"/>
                    <a:pt x="47878" y="0"/>
                  </a:cubicBezTo>
                  <a:lnTo>
                    <a:pt x="997584" y="0"/>
                  </a:lnTo>
                  <a:cubicBezTo>
                    <a:pt x="1024001" y="0"/>
                    <a:pt x="1045464" y="21463"/>
                    <a:pt x="1045464" y="47879"/>
                  </a:cubicBezTo>
                  <a:lnTo>
                    <a:pt x="1045464" y="419989"/>
                  </a:lnTo>
                  <a:cubicBezTo>
                    <a:pt x="1045464" y="446404"/>
                    <a:pt x="1024001" y="467867"/>
                    <a:pt x="997584" y="467867"/>
                  </a:cubicBezTo>
                  <a:lnTo>
                    <a:pt x="47878" y="467867"/>
                  </a:lnTo>
                  <a:cubicBezTo>
                    <a:pt x="21462" y="467867"/>
                    <a:pt x="0" y="446404"/>
                    <a:pt x="0" y="419989"/>
                  </a:cubicBezTo>
                  <a:close/>
                  <a:moveTo>
                    <a:pt x="-1035432" y="1772411"/>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12" name="Picture 5276">
              <a:extLst>
                <a:ext uri="{FF2B5EF4-FFF2-40B4-BE49-F238E27FC236}">
                  <a16:creationId xmlns:a16="http://schemas.microsoft.com/office/drawing/2014/main" id="{BA5B10F8-51BC-4CB8-8102-0E0A9F3696F0}"/>
                </a:ext>
              </a:extLst>
            </p:cNvPr>
            <p:cNvPicPr>
              <a:picLocks noChangeArrowheads="1"/>
            </p:cNvPicPr>
            <p:nvPr/>
          </p:nvPicPr>
          <p:blipFill>
            <a:blip r:embed="rId72">
              <a:extLst>
                <a:ext uri="{28A0092B-C50C-407E-A947-70E740481C1C}">
                  <a14:useLocalDpi xmlns:a14="http://schemas.microsoft.com/office/drawing/2010/main" val="0"/>
                </a:ext>
              </a:extLst>
            </a:blip>
            <a:srcRect/>
            <a:stretch>
              <a:fillRect/>
            </a:stretch>
          </p:blipFill>
          <p:spPr>
            <a:xfrm>
              <a:off x="2984433" y="5213786"/>
              <a:ext cx="803348" cy="147409"/>
            </a:xfrm>
            <a:prstGeom prst="rect">
              <a:avLst/>
            </a:prstGeom>
            <a:noFill/>
          </p:spPr>
        </p:pic>
        <p:pic>
          <p:nvPicPr>
            <p:cNvPr id="113" name="Picture 5277">
              <a:extLst>
                <a:ext uri="{FF2B5EF4-FFF2-40B4-BE49-F238E27FC236}">
                  <a16:creationId xmlns:a16="http://schemas.microsoft.com/office/drawing/2014/main" id="{97CC255B-F26C-4FCB-8D4B-EBE756BAFF1E}"/>
                </a:ext>
              </a:extLst>
            </p:cNvPr>
            <p:cNvPicPr>
              <a:picLocks noChangeArrowheads="1"/>
            </p:cNvPicPr>
            <p:nvPr/>
          </p:nvPicPr>
          <p:blipFill>
            <a:blip r:embed="rId73">
              <a:extLst>
                <a:ext uri="{28A0092B-C50C-407E-A947-70E740481C1C}">
                  <a14:useLocalDpi xmlns:a14="http://schemas.microsoft.com/office/drawing/2010/main" val="0"/>
                </a:ext>
              </a:extLst>
            </a:blip>
            <a:srcRect/>
            <a:stretch>
              <a:fillRect/>
            </a:stretch>
          </p:blipFill>
          <p:spPr>
            <a:xfrm>
              <a:off x="3085318" y="5337886"/>
              <a:ext cx="598931" cy="147685"/>
            </a:xfrm>
            <a:prstGeom prst="rect">
              <a:avLst/>
            </a:prstGeom>
            <a:noFill/>
          </p:spPr>
        </p:pic>
        <p:pic>
          <p:nvPicPr>
            <p:cNvPr id="114" name="Picture 5278">
              <a:extLst>
                <a:ext uri="{FF2B5EF4-FFF2-40B4-BE49-F238E27FC236}">
                  <a16:creationId xmlns:a16="http://schemas.microsoft.com/office/drawing/2014/main" id="{333DBD71-DF45-4FBB-A5A1-DEBB15FA448E}"/>
                </a:ext>
              </a:extLst>
            </p:cNvPr>
            <p:cNvPicPr>
              <a:picLocks noChangeArrowheads="1"/>
            </p:cNvPicPr>
            <p:nvPr/>
          </p:nvPicPr>
          <p:blipFill>
            <a:blip r:embed="rId74">
              <a:extLst>
                <a:ext uri="{28A0092B-C50C-407E-A947-70E740481C1C}">
                  <a14:useLocalDpi xmlns:a14="http://schemas.microsoft.com/office/drawing/2010/main" val="0"/>
                </a:ext>
              </a:extLst>
            </a:blip>
            <a:srcRect/>
            <a:stretch>
              <a:fillRect/>
            </a:stretch>
          </p:blipFill>
          <p:spPr>
            <a:xfrm>
              <a:off x="3117103" y="5462769"/>
              <a:ext cx="538367" cy="147410"/>
            </a:xfrm>
            <a:prstGeom prst="rect">
              <a:avLst/>
            </a:prstGeom>
            <a:noFill/>
          </p:spPr>
        </p:pic>
        <p:sp>
          <p:nvSpPr>
            <p:cNvPr id="115" name="Freeform 5279">
              <a:extLst>
                <a:ext uri="{FF2B5EF4-FFF2-40B4-BE49-F238E27FC236}">
                  <a16:creationId xmlns:a16="http://schemas.microsoft.com/office/drawing/2014/main" id="{7A319952-30A1-44C6-92F1-D4CC33034BFD}"/>
                </a:ext>
              </a:extLst>
            </p:cNvPr>
            <p:cNvSpPr/>
            <p:nvPr/>
          </p:nvSpPr>
          <p:spPr>
            <a:xfrm>
              <a:off x="3901944" y="5199045"/>
              <a:ext cx="946645" cy="424262"/>
            </a:xfrm>
            <a:custGeom>
              <a:avLst/>
              <a:gdLst/>
              <a:ahLst/>
              <a:cxnLst/>
              <a:rect l="0" t="0" r="0" b="0"/>
              <a:pathLst>
                <a:path w="1043939" h="467867">
                  <a:moveTo>
                    <a:pt x="0" y="47879"/>
                  </a:moveTo>
                  <a:cubicBezTo>
                    <a:pt x="0" y="21463"/>
                    <a:pt x="21463" y="0"/>
                    <a:pt x="47879" y="0"/>
                  </a:cubicBezTo>
                  <a:lnTo>
                    <a:pt x="996061" y="0"/>
                  </a:lnTo>
                  <a:cubicBezTo>
                    <a:pt x="1022476" y="0"/>
                    <a:pt x="1043939" y="21463"/>
                    <a:pt x="1043939" y="47879"/>
                  </a:cubicBezTo>
                  <a:lnTo>
                    <a:pt x="1043939" y="419989"/>
                  </a:lnTo>
                  <a:cubicBezTo>
                    <a:pt x="1043939" y="446404"/>
                    <a:pt x="1022476" y="467867"/>
                    <a:pt x="996061" y="467867"/>
                  </a:cubicBezTo>
                  <a:lnTo>
                    <a:pt x="47879" y="467867"/>
                  </a:lnTo>
                  <a:cubicBezTo>
                    <a:pt x="21463" y="467867"/>
                    <a:pt x="0" y="446404"/>
                    <a:pt x="0" y="419989"/>
                  </a:cubicBezTo>
                  <a:close/>
                  <a:moveTo>
                    <a:pt x="-2167764" y="1772411"/>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16" name="Picture 5280">
              <a:extLst>
                <a:ext uri="{FF2B5EF4-FFF2-40B4-BE49-F238E27FC236}">
                  <a16:creationId xmlns:a16="http://schemas.microsoft.com/office/drawing/2014/main" id="{FF549071-8C4A-4EA1-A636-6D523A9928C8}"/>
                </a:ext>
              </a:extLst>
            </p:cNvPr>
            <p:cNvPicPr>
              <a:picLocks noChangeArrowheads="1"/>
            </p:cNvPicPr>
            <p:nvPr/>
          </p:nvPicPr>
          <p:blipFill>
            <a:blip r:embed="rId75">
              <a:extLst>
                <a:ext uri="{28A0092B-C50C-407E-A947-70E740481C1C}">
                  <a14:useLocalDpi xmlns:a14="http://schemas.microsoft.com/office/drawing/2010/main" val="0"/>
                </a:ext>
              </a:extLst>
            </a:blip>
            <a:srcRect/>
            <a:stretch>
              <a:fillRect/>
            </a:stretch>
          </p:blipFill>
          <p:spPr>
            <a:xfrm>
              <a:off x="4036685" y="5275973"/>
              <a:ext cx="161919" cy="147410"/>
            </a:xfrm>
            <a:prstGeom prst="rect">
              <a:avLst/>
            </a:prstGeom>
            <a:noFill/>
          </p:spPr>
        </p:pic>
        <p:pic>
          <p:nvPicPr>
            <p:cNvPr id="117" name="Picture 5281">
              <a:extLst>
                <a:ext uri="{FF2B5EF4-FFF2-40B4-BE49-F238E27FC236}">
                  <a16:creationId xmlns:a16="http://schemas.microsoft.com/office/drawing/2014/main" id="{F3C2ED22-B037-4AD8-AFD6-4858CE5359DF}"/>
                </a:ext>
              </a:extLst>
            </p:cNvPr>
            <p:cNvPicPr>
              <a:picLocks noChangeArrowheads="1"/>
            </p:cNvPicPr>
            <p:nvPr/>
          </p:nvPicPr>
          <p:blipFill>
            <a:blip r:embed="rId76">
              <a:extLst>
                <a:ext uri="{28A0092B-C50C-407E-A947-70E740481C1C}">
                  <a14:useLocalDpi xmlns:a14="http://schemas.microsoft.com/office/drawing/2010/main" val="0"/>
                </a:ext>
              </a:extLst>
            </a:blip>
            <a:srcRect/>
            <a:stretch>
              <a:fillRect/>
            </a:stretch>
          </p:blipFill>
          <p:spPr>
            <a:xfrm>
              <a:off x="4129277" y="5275973"/>
              <a:ext cx="97659" cy="147410"/>
            </a:xfrm>
            <a:prstGeom prst="rect">
              <a:avLst/>
            </a:prstGeom>
            <a:noFill/>
          </p:spPr>
        </p:pic>
        <p:pic>
          <p:nvPicPr>
            <p:cNvPr id="118" name="Picture 5282">
              <a:extLst>
                <a:ext uri="{FF2B5EF4-FFF2-40B4-BE49-F238E27FC236}">
                  <a16:creationId xmlns:a16="http://schemas.microsoft.com/office/drawing/2014/main" id="{DA7B1E28-ACC2-4F24-B3DF-40F0B1519FB9}"/>
                </a:ext>
              </a:extLst>
            </p:cNvPr>
            <p:cNvPicPr>
              <a:picLocks noChangeArrowheads="1"/>
            </p:cNvPicPr>
            <p:nvPr/>
          </p:nvPicPr>
          <p:blipFill>
            <a:blip r:embed="rId77">
              <a:extLst>
                <a:ext uri="{28A0092B-C50C-407E-A947-70E740481C1C}">
                  <a14:useLocalDpi xmlns:a14="http://schemas.microsoft.com/office/drawing/2010/main" val="0"/>
                </a:ext>
              </a:extLst>
            </a:blip>
            <a:srcRect/>
            <a:stretch>
              <a:fillRect/>
            </a:stretch>
          </p:blipFill>
          <p:spPr>
            <a:xfrm>
              <a:off x="4166589" y="5275973"/>
              <a:ext cx="618889" cy="147410"/>
            </a:xfrm>
            <a:prstGeom prst="rect">
              <a:avLst/>
            </a:prstGeom>
            <a:noFill/>
          </p:spPr>
        </p:pic>
        <p:pic>
          <p:nvPicPr>
            <p:cNvPr id="119" name="Picture 5283">
              <a:extLst>
                <a:ext uri="{FF2B5EF4-FFF2-40B4-BE49-F238E27FC236}">
                  <a16:creationId xmlns:a16="http://schemas.microsoft.com/office/drawing/2014/main" id="{DECF73F1-01ED-416B-99C2-D2D7096CBEA7}"/>
                </a:ext>
              </a:extLst>
            </p:cNvPr>
            <p:cNvPicPr>
              <a:picLocks noChangeArrowheads="1"/>
            </p:cNvPicPr>
            <p:nvPr/>
          </p:nvPicPr>
          <p:blipFill>
            <a:blip r:embed="rId78">
              <a:extLst>
                <a:ext uri="{28A0092B-C50C-407E-A947-70E740481C1C}">
                  <a14:useLocalDpi xmlns:a14="http://schemas.microsoft.com/office/drawing/2010/main" val="0"/>
                </a:ext>
              </a:extLst>
            </a:blip>
            <a:srcRect/>
            <a:stretch>
              <a:fillRect/>
            </a:stretch>
          </p:blipFill>
          <p:spPr>
            <a:xfrm>
              <a:off x="4185938" y="5400580"/>
              <a:ext cx="424148" cy="147410"/>
            </a:xfrm>
            <a:prstGeom prst="rect">
              <a:avLst/>
            </a:prstGeom>
            <a:noFill/>
          </p:spPr>
        </p:pic>
        <p:sp>
          <p:nvSpPr>
            <p:cNvPr id="120" name="Freeform 5284">
              <a:extLst>
                <a:ext uri="{FF2B5EF4-FFF2-40B4-BE49-F238E27FC236}">
                  <a16:creationId xmlns:a16="http://schemas.microsoft.com/office/drawing/2014/main" id="{A2D96871-4E49-4860-BFBC-F26A80696436}"/>
                </a:ext>
              </a:extLst>
            </p:cNvPr>
            <p:cNvSpPr/>
            <p:nvPr/>
          </p:nvSpPr>
          <p:spPr>
            <a:xfrm>
              <a:off x="2875144" y="5697935"/>
              <a:ext cx="948028" cy="424262"/>
            </a:xfrm>
            <a:custGeom>
              <a:avLst/>
              <a:gdLst/>
              <a:ahLst/>
              <a:cxnLst/>
              <a:rect l="0" t="0" r="0" b="0"/>
              <a:pathLst>
                <a:path w="1045464" h="467867">
                  <a:moveTo>
                    <a:pt x="0" y="47853"/>
                  </a:moveTo>
                  <a:cubicBezTo>
                    <a:pt x="0" y="21424"/>
                    <a:pt x="21462" y="0"/>
                    <a:pt x="47878" y="0"/>
                  </a:cubicBezTo>
                  <a:lnTo>
                    <a:pt x="997584" y="0"/>
                  </a:lnTo>
                  <a:cubicBezTo>
                    <a:pt x="1024001" y="0"/>
                    <a:pt x="1045464" y="21424"/>
                    <a:pt x="1045464" y="47853"/>
                  </a:cubicBezTo>
                  <a:lnTo>
                    <a:pt x="1045464" y="420014"/>
                  </a:lnTo>
                  <a:cubicBezTo>
                    <a:pt x="1045464" y="446443"/>
                    <a:pt x="1024001" y="467867"/>
                    <a:pt x="997584" y="467867"/>
                  </a:cubicBezTo>
                  <a:lnTo>
                    <a:pt x="47878" y="467867"/>
                  </a:lnTo>
                  <a:cubicBezTo>
                    <a:pt x="21462" y="467867"/>
                    <a:pt x="0" y="446443"/>
                    <a:pt x="0" y="420014"/>
                  </a:cubicBezTo>
                  <a:close/>
                  <a:moveTo>
                    <a:pt x="-1585570" y="1222247"/>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21" name="Picture 5285">
              <a:extLst>
                <a:ext uri="{FF2B5EF4-FFF2-40B4-BE49-F238E27FC236}">
                  <a16:creationId xmlns:a16="http://schemas.microsoft.com/office/drawing/2014/main" id="{790B5CEF-F982-44F8-A934-F7014EDB236A}"/>
                </a:ext>
              </a:extLst>
            </p:cNvPr>
            <p:cNvPicPr>
              <a:picLocks noChangeArrowheads="1"/>
            </p:cNvPicPr>
            <p:nvPr/>
          </p:nvPicPr>
          <p:blipFill>
            <a:blip r:embed="rId79">
              <a:extLst>
                <a:ext uri="{28A0092B-C50C-407E-A947-70E740481C1C}">
                  <a14:useLocalDpi xmlns:a14="http://schemas.microsoft.com/office/drawing/2010/main" val="0"/>
                </a:ext>
              </a:extLst>
            </a:blip>
            <a:srcRect/>
            <a:stretch>
              <a:fillRect/>
            </a:stretch>
          </p:blipFill>
          <p:spPr>
            <a:xfrm>
              <a:off x="3077026" y="5775139"/>
              <a:ext cx="291686" cy="147410"/>
            </a:xfrm>
            <a:prstGeom prst="rect">
              <a:avLst/>
            </a:prstGeom>
            <a:noFill/>
          </p:spPr>
        </p:pic>
        <p:pic>
          <p:nvPicPr>
            <p:cNvPr id="122" name="Picture 5286">
              <a:extLst>
                <a:ext uri="{FF2B5EF4-FFF2-40B4-BE49-F238E27FC236}">
                  <a16:creationId xmlns:a16="http://schemas.microsoft.com/office/drawing/2014/main" id="{BDFAEA0F-A39D-4C93-9042-43208B1756F1}"/>
                </a:ext>
              </a:extLst>
            </p:cNvPr>
            <p:cNvPicPr>
              <a:picLocks noChangeArrowheads="1"/>
            </p:cNvPicPr>
            <p:nvPr/>
          </p:nvPicPr>
          <p:blipFill>
            <a:blip r:embed="rId80">
              <a:extLst>
                <a:ext uri="{28A0092B-C50C-407E-A947-70E740481C1C}">
                  <a14:useLocalDpi xmlns:a14="http://schemas.microsoft.com/office/drawing/2010/main" val="0"/>
                </a:ext>
              </a:extLst>
            </a:blip>
            <a:srcRect/>
            <a:stretch>
              <a:fillRect/>
            </a:stretch>
          </p:blipFill>
          <p:spPr>
            <a:xfrm>
              <a:off x="3300904" y="5775139"/>
              <a:ext cx="97658" cy="147410"/>
            </a:xfrm>
            <a:prstGeom prst="rect">
              <a:avLst/>
            </a:prstGeom>
            <a:noFill/>
          </p:spPr>
        </p:pic>
        <p:pic>
          <p:nvPicPr>
            <p:cNvPr id="123" name="Picture 5287">
              <a:extLst>
                <a:ext uri="{FF2B5EF4-FFF2-40B4-BE49-F238E27FC236}">
                  <a16:creationId xmlns:a16="http://schemas.microsoft.com/office/drawing/2014/main" id="{6623D324-C310-4370-95E5-15895A5A67FF}"/>
                </a:ext>
              </a:extLst>
            </p:cNvPr>
            <p:cNvPicPr>
              <a:picLocks noChangeArrowheads="1"/>
            </p:cNvPicPr>
            <p:nvPr/>
          </p:nvPicPr>
          <p:blipFill>
            <a:blip r:embed="rId81">
              <a:extLst>
                <a:ext uri="{28A0092B-C50C-407E-A947-70E740481C1C}">
                  <a14:useLocalDpi xmlns:a14="http://schemas.microsoft.com/office/drawing/2010/main" val="0"/>
                </a:ext>
              </a:extLst>
            </a:blip>
            <a:srcRect/>
            <a:stretch>
              <a:fillRect/>
            </a:stretch>
          </p:blipFill>
          <p:spPr>
            <a:xfrm>
              <a:off x="3338217" y="5775139"/>
              <a:ext cx="348381" cy="147410"/>
            </a:xfrm>
            <a:prstGeom prst="rect">
              <a:avLst/>
            </a:prstGeom>
            <a:noFill/>
          </p:spPr>
        </p:pic>
        <p:pic>
          <p:nvPicPr>
            <p:cNvPr id="124" name="Picture 5288">
              <a:extLst>
                <a:ext uri="{FF2B5EF4-FFF2-40B4-BE49-F238E27FC236}">
                  <a16:creationId xmlns:a16="http://schemas.microsoft.com/office/drawing/2014/main" id="{64E86FCC-344D-4662-BFCF-3548FF4B09C9}"/>
                </a:ext>
              </a:extLst>
            </p:cNvPr>
            <p:cNvPicPr>
              <a:picLocks noChangeArrowheads="1"/>
            </p:cNvPicPr>
            <p:nvPr/>
          </p:nvPicPr>
          <p:blipFill>
            <a:blip r:embed="rId82">
              <a:extLst>
                <a:ext uri="{28A0092B-C50C-407E-A947-70E740481C1C}">
                  <a14:useLocalDpi xmlns:a14="http://schemas.microsoft.com/office/drawing/2010/main" val="0"/>
                </a:ext>
              </a:extLst>
            </a:blip>
            <a:srcRect/>
            <a:stretch>
              <a:fillRect/>
            </a:stretch>
          </p:blipFill>
          <p:spPr>
            <a:xfrm>
              <a:off x="2967850" y="5899516"/>
              <a:ext cx="810061" cy="147410"/>
            </a:xfrm>
            <a:prstGeom prst="rect">
              <a:avLst/>
            </a:prstGeom>
            <a:noFill/>
          </p:spPr>
        </p:pic>
        <p:sp>
          <p:nvSpPr>
            <p:cNvPr id="125" name="Freeform 5289">
              <a:extLst>
                <a:ext uri="{FF2B5EF4-FFF2-40B4-BE49-F238E27FC236}">
                  <a16:creationId xmlns:a16="http://schemas.microsoft.com/office/drawing/2014/main" id="{E9A38127-E635-425A-9730-2EACFA46BD41}"/>
                </a:ext>
              </a:extLst>
            </p:cNvPr>
            <p:cNvSpPr/>
            <p:nvPr/>
          </p:nvSpPr>
          <p:spPr>
            <a:xfrm>
              <a:off x="3901944" y="5697935"/>
              <a:ext cx="946645" cy="424262"/>
            </a:xfrm>
            <a:custGeom>
              <a:avLst/>
              <a:gdLst/>
              <a:ahLst/>
              <a:cxnLst/>
              <a:rect l="0" t="0" r="0" b="0"/>
              <a:pathLst>
                <a:path w="1043939" h="467867">
                  <a:moveTo>
                    <a:pt x="0" y="47853"/>
                  </a:moveTo>
                  <a:cubicBezTo>
                    <a:pt x="0" y="21424"/>
                    <a:pt x="21463" y="0"/>
                    <a:pt x="47879" y="0"/>
                  </a:cubicBezTo>
                  <a:lnTo>
                    <a:pt x="996061" y="0"/>
                  </a:lnTo>
                  <a:cubicBezTo>
                    <a:pt x="1022476" y="0"/>
                    <a:pt x="1043939" y="21424"/>
                    <a:pt x="1043939" y="47853"/>
                  </a:cubicBezTo>
                  <a:lnTo>
                    <a:pt x="1043939" y="420014"/>
                  </a:lnTo>
                  <a:cubicBezTo>
                    <a:pt x="1043939" y="446443"/>
                    <a:pt x="1022476" y="467867"/>
                    <a:pt x="996061" y="467867"/>
                  </a:cubicBezTo>
                  <a:lnTo>
                    <a:pt x="47879" y="467867"/>
                  </a:lnTo>
                  <a:cubicBezTo>
                    <a:pt x="21463" y="467867"/>
                    <a:pt x="0" y="446443"/>
                    <a:pt x="0" y="420014"/>
                  </a:cubicBezTo>
                  <a:close/>
                  <a:moveTo>
                    <a:pt x="-2717902" y="1222247"/>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26" name="Picture 5290">
              <a:extLst>
                <a:ext uri="{FF2B5EF4-FFF2-40B4-BE49-F238E27FC236}">
                  <a16:creationId xmlns:a16="http://schemas.microsoft.com/office/drawing/2014/main" id="{FF2EBD9C-B04F-4E47-873D-1563FF18ACB1}"/>
                </a:ext>
              </a:extLst>
            </p:cNvPr>
            <p:cNvPicPr>
              <a:picLocks noChangeArrowheads="1"/>
            </p:cNvPicPr>
            <p:nvPr/>
          </p:nvPicPr>
          <p:blipFill>
            <a:blip r:embed="rId83">
              <a:extLst>
                <a:ext uri="{28A0092B-C50C-407E-A947-70E740481C1C}">
                  <a14:useLocalDpi xmlns:a14="http://schemas.microsoft.com/office/drawing/2010/main" val="0"/>
                </a:ext>
              </a:extLst>
            </a:blip>
            <a:srcRect/>
            <a:stretch>
              <a:fillRect/>
            </a:stretch>
          </p:blipFill>
          <p:spPr>
            <a:xfrm>
              <a:off x="4032194" y="5712950"/>
              <a:ext cx="759228" cy="147410"/>
            </a:xfrm>
            <a:prstGeom prst="rect">
              <a:avLst/>
            </a:prstGeom>
            <a:noFill/>
          </p:spPr>
        </p:pic>
        <p:pic>
          <p:nvPicPr>
            <p:cNvPr id="127" name="Picture 5291">
              <a:extLst>
                <a:ext uri="{FF2B5EF4-FFF2-40B4-BE49-F238E27FC236}">
                  <a16:creationId xmlns:a16="http://schemas.microsoft.com/office/drawing/2014/main" id="{95C6A751-FDC3-408D-BDD3-CC7BE6BCD0F4}"/>
                </a:ext>
              </a:extLst>
            </p:cNvPr>
            <p:cNvPicPr>
              <a:picLocks noChangeArrowheads="1"/>
            </p:cNvPicPr>
            <p:nvPr/>
          </p:nvPicPr>
          <p:blipFill>
            <a:blip r:embed="rId84">
              <a:extLst>
                <a:ext uri="{28A0092B-C50C-407E-A947-70E740481C1C}">
                  <a14:useLocalDpi xmlns:a14="http://schemas.microsoft.com/office/drawing/2010/main" val="0"/>
                </a:ext>
              </a:extLst>
            </a:blip>
            <a:srcRect/>
            <a:stretch>
              <a:fillRect/>
            </a:stretch>
          </p:blipFill>
          <p:spPr>
            <a:xfrm>
              <a:off x="4079180" y="5837327"/>
              <a:ext cx="667097" cy="147410"/>
            </a:xfrm>
            <a:prstGeom prst="rect">
              <a:avLst/>
            </a:prstGeom>
            <a:noFill/>
          </p:spPr>
        </p:pic>
        <p:pic>
          <p:nvPicPr>
            <p:cNvPr id="128" name="Picture 5292">
              <a:extLst>
                <a:ext uri="{FF2B5EF4-FFF2-40B4-BE49-F238E27FC236}">
                  <a16:creationId xmlns:a16="http://schemas.microsoft.com/office/drawing/2014/main" id="{89125946-3563-4AF2-917A-B81911E2BC95}"/>
                </a:ext>
              </a:extLst>
            </p:cNvPr>
            <p:cNvPicPr>
              <a:picLocks noChangeArrowheads="1"/>
            </p:cNvPicPr>
            <p:nvPr/>
          </p:nvPicPr>
          <p:blipFill>
            <a:blip r:embed="rId85">
              <a:extLst>
                <a:ext uri="{28A0092B-C50C-407E-A947-70E740481C1C}">
                  <a14:useLocalDpi xmlns:a14="http://schemas.microsoft.com/office/drawing/2010/main" val="0"/>
                </a:ext>
              </a:extLst>
            </a:blip>
            <a:srcRect/>
            <a:stretch>
              <a:fillRect/>
            </a:stretch>
          </p:blipFill>
          <p:spPr>
            <a:xfrm>
              <a:off x="4133077" y="5961428"/>
              <a:ext cx="529545" cy="147685"/>
            </a:xfrm>
            <a:prstGeom prst="rect">
              <a:avLst/>
            </a:prstGeom>
            <a:noFill/>
          </p:spPr>
        </p:pic>
        <p:sp>
          <p:nvSpPr>
            <p:cNvPr id="129" name="Freeform 5293">
              <a:extLst>
                <a:ext uri="{FF2B5EF4-FFF2-40B4-BE49-F238E27FC236}">
                  <a16:creationId xmlns:a16="http://schemas.microsoft.com/office/drawing/2014/main" id="{8C88058B-8269-4728-A7F9-9B23E5C9A684}"/>
                </a:ext>
              </a:extLst>
            </p:cNvPr>
            <p:cNvSpPr/>
            <p:nvPr/>
          </p:nvSpPr>
          <p:spPr>
            <a:xfrm>
              <a:off x="4927361" y="5199045"/>
              <a:ext cx="946647" cy="424262"/>
            </a:xfrm>
            <a:custGeom>
              <a:avLst/>
              <a:gdLst/>
              <a:ahLst/>
              <a:cxnLst/>
              <a:rect l="0" t="0" r="0" b="0"/>
              <a:pathLst>
                <a:path w="1043941" h="467867">
                  <a:moveTo>
                    <a:pt x="0" y="47879"/>
                  </a:moveTo>
                  <a:cubicBezTo>
                    <a:pt x="0" y="21463"/>
                    <a:pt x="21463" y="0"/>
                    <a:pt x="47880" y="0"/>
                  </a:cubicBezTo>
                  <a:lnTo>
                    <a:pt x="996062" y="0"/>
                  </a:lnTo>
                  <a:cubicBezTo>
                    <a:pt x="1022477" y="0"/>
                    <a:pt x="1043941" y="21463"/>
                    <a:pt x="1043941" y="47879"/>
                  </a:cubicBezTo>
                  <a:lnTo>
                    <a:pt x="1043941" y="419989"/>
                  </a:lnTo>
                  <a:cubicBezTo>
                    <a:pt x="1043941" y="446404"/>
                    <a:pt x="1022477" y="467867"/>
                    <a:pt x="996062" y="467867"/>
                  </a:cubicBezTo>
                  <a:lnTo>
                    <a:pt x="47880" y="467867"/>
                  </a:lnTo>
                  <a:cubicBezTo>
                    <a:pt x="21463" y="467867"/>
                    <a:pt x="0" y="446404"/>
                    <a:pt x="0" y="419989"/>
                  </a:cubicBezTo>
                  <a:close/>
                  <a:moveTo>
                    <a:pt x="-3298571" y="1772411"/>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30" name="Picture 5294">
              <a:extLst>
                <a:ext uri="{FF2B5EF4-FFF2-40B4-BE49-F238E27FC236}">
                  <a16:creationId xmlns:a16="http://schemas.microsoft.com/office/drawing/2014/main" id="{29F5CE4D-9996-48B3-BAF8-A7823A45870D}"/>
                </a:ext>
              </a:extLst>
            </p:cNvPr>
            <p:cNvPicPr>
              <a:picLocks noChangeArrowheads="1"/>
            </p:cNvPicPr>
            <p:nvPr/>
          </p:nvPicPr>
          <p:blipFill>
            <a:blip r:embed="rId86">
              <a:extLst>
                <a:ext uri="{28A0092B-C50C-407E-A947-70E740481C1C}">
                  <a14:useLocalDpi xmlns:a14="http://schemas.microsoft.com/office/drawing/2010/main" val="0"/>
                </a:ext>
              </a:extLst>
            </a:blip>
            <a:srcRect/>
            <a:stretch>
              <a:fillRect/>
            </a:stretch>
          </p:blipFill>
          <p:spPr>
            <a:xfrm>
              <a:off x="5132813" y="5275973"/>
              <a:ext cx="608410" cy="147410"/>
            </a:xfrm>
            <a:prstGeom prst="rect">
              <a:avLst/>
            </a:prstGeom>
            <a:noFill/>
          </p:spPr>
        </p:pic>
        <p:pic>
          <p:nvPicPr>
            <p:cNvPr id="131" name="Picture 5295">
              <a:extLst>
                <a:ext uri="{FF2B5EF4-FFF2-40B4-BE49-F238E27FC236}">
                  <a16:creationId xmlns:a16="http://schemas.microsoft.com/office/drawing/2014/main" id="{645F20D8-44DC-4110-B58B-47B5BF092E55}"/>
                </a:ext>
              </a:extLst>
            </p:cNvPr>
            <p:cNvPicPr>
              <a:picLocks noChangeArrowheads="1"/>
            </p:cNvPicPr>
            <p:nvPr/>
          </p:nvPicPr>
          <p:blipFill>
            <a:blip r:embed="rId87">
              <a:extLst>
                <a:ext uri="{28A0092B-C50C-407E-A947-70E740481C1C}">
                  <a14:useLocalDpi xmlns:a14="http://schemas.microsoft.com/office/drawing/2010/main" val="0"/>
                </a:ext>
              </a:extLst>
            </a:blip>
            <a:srcRect/>
            <a:stretch>
              <a:fillRect/>
            </a:stretch>
          </p:blipFill>
          <p:spPr>
            <a:xfrm>
              <a:off x="5230933" y="5400580"/>
              <a:ext cx="384716" cy="147410"/>
            </a:xfrm>
            <a:prstGeom prst="rect">
              <a:avLst/>
            </a:prstGeom>
            <a:noFill/>
          </p:spPr>
        </p:pic>
        <p:sp>
          <p:nvSpPr>
            <p:cNvPr id="132" name="Freeform 5296">
              <a:extLst>
                <a:ext uri="{FF2B5EF4-FFF2-40B4-BE49-F238E27FC236}">
                  <a16:creationId xmlns:a16="http://schemas.microsoft.com/office/drawing/2014/main" id="{A5072D0C-049F-41FF-B722-4EF8FAEA60DA}"/>
                </a:ext>
              </a:extLst>
            </p:cNvPr>
            <p:cNvSpPr/>
            <p:nvPr/>
          </p:nvSpPr>
          <p:spPr>
            <a:xfrm>
              <a:off x="4927361" y="5697935"/>
              <a:ext cx="946647" cy="424262"/>
            </a:xfrm>
            <a:custGeom>
              <a:avLst/>
              <a:gdLst/>
              <a:ahLst/>
              <a:cxnLst/>
              <a:rect l="0" t="0" r="0" b="0"/>
              <a:pathLst>
                <a:path w="1043941" h="467867">
                  <a:moveTo>
                    <a:pt x="0" y="47853"/>
                  </a:moveTo>
                  <a:cubicBezTo>
                    <a:pt x="0" y="21424"/>
                    <a:pt x="21463" y="0"/>
                    <a:pt x="47880" y="0"/>
                  </a:cubicBezTo>
                  <a:lnTo>
                    <a:pt x="996062" y="0"/>
                  </a:lnTo>
                  <a:cubicBezTo>
                    <a:pt x="1022477" y="0"/>
                    <a:pt x="1043941" y="21424"/>
                    <a:pt x="1043941" y="47853"/>
                  </a:cubicBezTo>
                  <a:lnTo>
                    <a:pt x="1043941" y="420014"/>
                  </a:lnTo>
                  <a:cubicBezTo>
                    <a:pt x="1043941" y="446443"/>
                    <a:pt x="1022477" y="467867"/>
                    <a:pt x="996062" y="467867"/>
                  </a:cubicBezTo>
                  <a:lnTo>
                    <a:pt x="47880" y="467867"/>
                  </a:lnTo>
                  <a:cubicBezTo>
                    <a:pt x="21463" y="467867"/>
                    <a:pt x="0" y="446443"/>
                    <a:pt x="0" y="420014"/>
                  </a:cubicBezTo>
                  <a:close/>
                  <a:moveTo>
                    <a:pt x="-3848709" y="1222247"/>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33" name="Picture 5297">
              <a:extLst>
                <a:ext uri="{FF2B5EF4-FFF2-40B4-BE49-F238E27FC236}">
                  <a16:creationId xmlns:a16="http://schemas.microsoft.com/office/drawing/2014/main" id="{09343E3E-0F2A-4590-BCE4-B6C49A9BACFC}"/>
                </a:ext>
              </a:extLst>
            </p:cNvPr>
            <p:cNvPicPr>
              <a:picLocks noChangeArrowheads="1"/>
            </p:cNvPicPr>
            <p:nvPr/>
          </p:nvPicPr>
          <p:blipFill>
            <a:blip r:embed="rId88">
              <a:extLst>
                <a:ext uri="{28A0092B-C50C-407E-A947-70E740481C1C}">
                  <a14:useLocalDpi xmlns:a14="http://schemas.microsoft.com/office/drawing/2010/main" val="0"/>
                </a:ext>
              </a:extLst>
            </a:blip>
            <a:srcRect/>
            <a:stretch>
              <a:fillRect/>
            </a:stretch>
          </p:blipFill>
          <p:spPr>
            <a:xfrm>
              <a:off x="5131431" y="5712950"/>
              <a:ext cx="612498" cy="147410"/>
            </a:xfrm>
            <a:prstGeom prst="rect">
              <a:avLst/>
            </a:prstGeom>
            <a:noFill/>
          </p:spPr>
        </p:pic>
        <p:pic>
          <p:nvPicPr>
            <p:cNvPr id="134" name="Picture 5298">
              <a:extLst>
                <a:ext uri="{FF2B5EF4-FFF2-40B4-BE49-F238E27FC236}">
                  <a16:creationId xmlns:a16="http://schemas.microsoft.com/office/drawing/2014/main" id="{9A1D8A70-C75E-4F11-9C48-3E6D5A3D20A0}"/>
                </a:ext>
              </a:extLst>
            </p:cNvPr>
            <p:cNvPicPr>
              <a:picLocks noChangeArrowheads="1"/>
            </p:cNvPicPr>
            <p:nvPr/>
          </p:nvPicPr>
          <p:blipFill>
            <a:blip r:embed="rId89">
              <a:extLst>
                <a:ext uri="{28A0092B-C50C-407E-A947-70E740481C1C}">
                  <a14:useLocalDpi xmlns:a14="http://schemas.microsoft.com/office/drawing/2010/main" val="0"/>
                </a:ext>
              </a:extLst>
            </a:blip>
            <a:srcRect/>
            <a:stretch>
              <a:fillRect/>
            </a:stretch>
          </p:blipFill>
          <p:spPr>
            <a:xfrm>
              <a:off x="5022257" y="5837327"/>
              <a:ext cx="805777" cy="147410"/>
            </a:xfrm>
            <a:prstGeom prst="rect">
              <a:avLst/>
            </a:prstGeom>
            <a:noFill/>
          </p:spPr>
        </p:pic>
        <p:pic>
          <p:nvPicPr>
            <p:cNvPr id="135" name="Picture 5299">
              <a:extLst>
                <a:ext uri="{FF2B5EF4-FFF2-40B4-BE49-F238E27FC236}">
                  <a16:creationId xmlns:a16="http://schemas.microsoft.com/office/drawing/2014/main" id="{3522CD4C-D23A-4704-951B-B7CF55B9E1A7}"/>
                </a:ext>
              </a:extLst>
            </p:cNvPr>
            <p:cNvPicPr>
              <a:picLocks noChangeArrowheads="1"/>
            </p:cNvPicPr>
            <p:nvPr/>
          </p:nvPicPr>
          <p:blipFill>
            <a:blip r:embed="rId90">
              <a:extLst>
                <a:ext uri="{28A0092B-C50C-407E-A947-70E740481C1C}">
                  <a14:useLocalDpi xmlns:a14="http://schemas.microsoft.com/office/drawing/2010/main" val="0"/>
                </a:ext>
              </a:extLst>
            </a:blip>
            <a:srcRect/>
            <a:stretch>
              <a:fillRect/>
            </a:stretch>
          </p:blipFill>
          <p:spPr>
            <a:xfrm>
              <a:off x="5080298" y="5961428"/>
              <a:ext cx="686376" cy="147685"/>
            </a:xfrm>
            <a:prstGeom prst="rect">
              <a:avLst/>
            </a:prstGeom>
            <a:noFill/>
          </p:spPr>
        </p:pic>
        <p:sp>
          <p:nvSpPr>
            <p:cNvPr id="136" name="Freeform 5300">
              <a:extLst>
                <a:ext uri="{FF2B5EF4-FFF2-40B4-BE49-F238E27FC236}">
                  <a16:creationId xmlns:a16="http://schemas.microsoft.com/office/drawing/2014/main" id="{D539F64D-AA52-4EE2-AB1F-206A21E8F614}"/>
                </a:ext>
              </a:extLst>
            </p:cNvPr>
            <p:cNvSpPr/>
            <p:nvPr/>
          </p:nvSpPr>
          <p:spPr>
            <a:xfrm>
              <a:off x="8004997" y="5199045"/>
              <a:ext cx="946646" cy="424262"/>
            </a:xfrm>
            <a:custGeom>
              <a:avLst/>
              <a:gdLst/>
              <a:ahLst/>
              <a:cxnLst/>
              <a:rect l="0" t="0" r="0" b="0"/>
              <a:pathLst>
                <a:path w="1043940" h="467867">
                  <a:moveTo>
                    <a:pt x="0" y="47879"/>
                  </a:moveTo>
                  <a:cubicBezTo>
                    <a:pt x="0" y="21463"/>
                    <a:pt x="21463" y="0"/>
                    <a:pt x="47879" y="0"/>
                  </a:cubicBezTo>
                  <a:lnTo>
                    <a:pt x="996061" y="0"/>
                  </a:lnTo>
                  <a:cubicBezTo>
                    <a:pt x="1022477" y="0"/>
                    <a:pt x="1043940" y="21463"/>
                    <a:pt x="1043940" y="47879"/>
                  </a:cubicBezTo>
                  <a:lnTo>
                    <a:pt x="1043940" y="419989"/>
                  </a:lnTo>
                  <a:cubicBezTo>
                    <a:pt x="1043940" y="446404"/>
                    <a:pt x="1022477" y="467867"/>
                    <a:pt x="996061" y="467867"/>
                  </a:cubicBezTo>
                  <a:lnTo>
                    <a:pt x="47879" y="467867"/>
                  </a:lnTo>
                  <a:cubicBezTo>
                    <a:pt x="21463" y="467867"/>
                    <a:pt x="0" y="446404"/>
                    <a:pt x="0" y="419989"/>
                  </a:cubicBezTo>
                  <a:close/>
                  <a:moveTo>
                    <a:pt x="-6692520" y="1772411"/>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37" name="Picture 5301">
              <a:extLst>
                <a:ext uri="{FF2B5EF4-FFF2-40B4-BE49-F238E27FC236}">
                  <a16:creationId xmlns:a16="http://schemas.microsoft.com/office/drawing/2014/main" id="{5CA9B70E-46C2-4DEC-8B89-36EA659F4EED}"/>
                </a:ext>
              </a:extLst>
            </p:cNvPr>
            <p:cNvPicPr>
              <a:picLocks noChangeArrowheads="1"/>
            </p:cNvPicPr>
            <p:nvPr/>
          </p:nvPicPr>
          <p:blipFill>
            <a:blip r:embed="rId91">
              <a:extLst>
                <a:ext uri="{28A0092B-C50C-407E-A947-70E740481C1C}">
                  <a14:useLocalDpi xmlns:a14="http://schemas.microsoft.com/office/drawing/2010/main" val="0"/>
                </a:ext>
              </a:extLst>
            </a:blip>
            <a:srcRect/>
            <a:stretch>
              <a:fillRect/>
            </a:stretch>
          </p:blipFill>
          <p:spPr>
            <a:xfrm>
              <a:off x="8269874" y="5275973"/>
              <a:ext cx="161919" cy="147410"/>
            </a:xfrm>
            <a:prstGeom prst="rect">
              <a:avLst/>
            </a:prstGeom>
            <a:noFill/>
          </p:spPr>
        </p:pic>
        <p:pic>
          <p:nvPicPr>
            <p:cNvPr id="138" name="Picture 5302">
              <a:extLst>
                <a:ext uri="{FF2B5EF4-FFF2-40B4-BE49-F238E27FC236}">
                  <a16:creationId xmlns:a16="http://schemas.microsoft.com/office/drawing/2014/main" id="{5C0A90BA-0C5D-4AEF-8176-CAF05C77EF0E}"/>
                </a:ext>
              </a:extLst>
            </p:cNvPr>
            <p:cNvPicPr>
              <a:picLocks noChangeArrowheads="1"/>
            </p:cNvPicPr>
            <p:nvPr/>
          </p:nvPicPr>
          <p:blipFill>
            <a:blip r:embed="rId92">
              <a:extLst>
                <a:ext uri="{28A0092B-C50C-407E-A947-70E740481C1C}">
                  <a14:useLocalDpi xmlns:a14="http://schemas.microsoft.com/office/drawing/2010/main" val="0"/>
                </a:ext>
              </a:extLst>
            </a:blip>
            <a:srcRect/>
            <a:stretch>
              <a:fillRect/>
            </a:stretch>
          </p:blipFill>
          <p:spPr>
            <a:xfrm>
              <a:off x="8362696" y="5275973"/>
              <a:ext cx="97658" cy="147410"/>
            </a:xfrm>
            <a:prstGeom prst="rect">
              <a:avLst/>
            </a:prstGeom>
            <a:noFill/>
          </p:spPr>
        </p:pic>
        <p:pic>
          <p:nvPicPr>
            <p:cNvPr id="139" name="Picture 5303">
              <a:extLst>
                <a:ext uri="{FF2B5EF4-FFF2-40B4-BE49-F238E27FC236}">
                  <a16:creationId xmlns:a16="http://schemas.microsoft.com/office/drawing/2014/main" id="{7AED43E0-8857-4D51-8AAF-8744BA10CEE4}"/>
                </a:ext>
              </a:extLst>
            </p:cNvPr>
            <p:cNvPicPr>
              <a:picLocks noChangeArrowheads="1"/>
            </p:cNvPicPr>
            <p:nvPr/>
          </p:nvPicPr>
          <p:blipFill>
            <a:blip r:embed="rId93">
              <a:extLst>
                <a:ext uri="{28A0092B-C50C-407E-A947-70E740481C1C}">
                  <a14:useLocalDpi xmlns:a14="http://schemas.microsoft.com/office/drawing/2010/main" val="0"/>
                </a:ext>
              </a:extLst>
            </a:blip>
            <a:srcRect/>
            <a:stretch>
              <a:fillRect/>
            </a:stretch>
          </p:blipFill>
          <p:spPr>
            <a:xfrm>
              <a:off x="8400008" y="5275973"/>
              <a:ext cx="363225" cy="147410"/>
            </a:xfrm>
            <a:prstGeom prst="rect">
              <a:avLst/>
            </a:prstGeom>
            <a:noFill/>
          </p:spPr>
        </p:pic>
        <p:pic>
          <p:nvPicPr>
            <p:cNvPr id="140" name="Picture 5304">
              <a:extLst>
                <a:ext uri="{FF2B5EF4-FFF2-40B4-BE49-F238E27FC236}">
                  <a16:creationId xmlns:a16="http://schemas.microsoft.com/office/drawing/2014/main" id="{485CAEA6-215D-4BF1-AD99-56D8C3034177}"/>
                </a:ext>
              </a:extLst>
            </p:cNvPr>
            <p:cNvPicPr>
              <a:picLocks noChangeArrowheads="1"/>
            </p:cNvPicPr>
            <p:nvPr/>
          </p:nvPicPr>
          <p:blipFill>
            <a:blip r:embed="rId94">
              <a:extLst>
                <a:ext uri="{28A0092B-C50C-407E-A947-70E740481C1C}">
                  <a14:useLocalDpi xmlns:a14="http://schemas.microsoft.com/office/drawing/2010/main" val="0"/>
                </a:ext>
              </a:extLst>
            </a:blip>
            <a:srcRect/>
            <a:stretch>
              <a:fillRect/>
            </a:stretch>
          </p:blipFill>
          <p:spPr>
            <a:xfrm>
              <a:off x="8206303" y="5400580"/>
              <a:ext cx="591699" cy="147410"/>
            </a:xfrm>
            <a:prstGeom prst="rect">
              <a:avLst/>
            </a:prstGeom>
            <a:noFill/>
          </p:spPr>
        </p:pic>
        <p:sp>
          <p:nvSpPr>
            <p:cNvPr id="141" name="Freeform 5305">
              <a:extLst>
                <a:ext uri="{FF2B5EF4-FFF2-40B4-BE49-F238E27FC236}">
                  <a16:creationId xmlns:a16="http://schemas.microsoft.com/office/drawing/2014/main" id="{1A0ED35E-6F04-49D0-9113-E5D8D0F574CC}"/>
                </a:ext>
              </a:extLst>
            </p:cNvPr>
            <p:cNvSpPr/>
            <p:nvPr/>
          </p:nvSpPr>
          <p:spPr>
            <a:xfrm>
              <a:off x="8004997" y="5697935"/>
              <a:ext cx="946646" cy="424262"/>
            </a:xfrm>
            <a:custGeom>
              <a:avLst/>
              <a:gdLst/>
              <a:ahLst/>
              <a:cxnLst/>
              <a:rect l="0" t="0" r="0" b="0"/>
              <a:pathLst>
                <a:path w="1043940" h="467867">
                  <a:moveTo>
                    <a:pt x="0" y="47853"/>
                  </a:moveTo>
                  <a:cubicBezTo>
                    <a:pt x="0" y="21424"/>
                    <a:pt x="21463" y="0"/>
                    <a:pt x="47879" y="0"/>
                  </a:cubicBezTo>
                  <a:lnTo>
                    <a:pt x="996061" y="0"/>
                  </a:lnTo>
                  <a:cubicBezTo>
                    <a:pt x="1022477" y="0"/>
                    <a:pt x="1043940" y="21424"/>
                    <a:pt x="1043940" y="47853"/>
                  </a:cubicBezTo>
                  <a:lnTo>
                    <a:pt x="1043940" y="420014"/>
                  </a:lnTo>
                  <a:cubicBezTo>
                    <a:pt x="1043940" y="446443"/>
                    <a:pt x="1022477" y="467867"/>
                    <a:pt x="996061" y="467867"/>
                  </a:cubicBezTo>
                  <a:lnTo>
                    <a:pt x="47879" y="467867"/>
                  </a:lnTo>
                  <a:cubicBezTo>
                    <a:pt x="21463" y="467867"/>
                    <a:pt x="0" y="446443"/>
                    <a:pt x="0" y="420014"/>
                  </a:cubicBezTo>
                  <a:close/>
                  <a:moveTo>
                    <a:pt x="-7242658" y="1222247"/>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42" name="Picture 5306">
              <a:extLst>
                <a:ext uri="{FF2B5EF4-FFF2-40B4-BE49-F238E27FC236}">
                  <a16:creationId xmlns:a16="http://schemas.microsoft.com/office/drawing/2014/main" id="{A79FDF0F-5AA7-47A1-B503-7765D75889B0}"/>
                </a:ext>
              </a:extLst>
            </p:cNvPr>
            <p:cNvPicPr>
              <a:picLocks noChangeArrowheads="1"/>
            </p:cNvPicPr>
            <p:nvPr/>
          </p:nvPicPr>
          <p:blipFill>
            <a:blip r:embed="rId95">
              <a:extLst>
                <a:ext uri="{28A0092B-C50C-407E-A947-70E740481C1C}">
                  <a14:useLocalDpi xmlns:a14="http://schemas.microsoft.com/office/drawing/2010/main" val="0"/>
                </a:ext>
              </a:extLst>
            </a:blip>
            <a:srcRect/>
            <a:stretch>
              <a:fillRect/>
            </a:stretch>
          </p:blipFill>
          <p:spPr>
            <a:xfrm>
              <a:off x="8174517" y="5712950"/>
              <a:ext cx="682633" cy="147410"/>
            </a:xfrm>
            <a:prstGeom prst="rect">
              <a:avLst/>
            </a:prstGeom>
            <a:noFill/>
          </p:spPr>
        </p:pic>
        <p:pic>
          <p:nvPicPr>
            <p:cNvPr id="143" name="Picture 5307">
              <a:extLst>
                <a:ext uri="{FF2B5EF4-FFF2-40B4-BE49-F238E27FC236}">
                  <a16:creationId xmlns:a16="http://schemas.microsoft.com/office/drawing/2014/main" id="{B75AF8AA-2D46-495E-9F3C-3FA8FF91CAFC}"/>
                </a:ext>
              </a:extLst>
            </p:cNvPr>
            <p:cNvPicPr>
              <a:picLocks noChangeArrowheads="1"/>
            </p:cNvPicPr>
            <p:nvPr/>
          </p:nvPicPr>
          <p:blipFill>
            <a:blip r:embed="rId96">
              <a:extLst>
                <a:ext uri="{28A0092B-C50C-407E-A947-70E740481C1C}">
                  <a14:useLocalDpi xmlns:a14="http://schemas.microsoft.com/office/drawing/2010/main" val="0"/>
                </a:ext>
              </a:extLst>
            </a:blip>
            <a:srcRect/>
            <a:stretch>
              <a:fillRect/>
            </a:stretch>
          </p:blipFill>
          <p:spPr>
            <a:xfrm>
              <a:off x="8178664" y="5837327"/>
              <a:ext cx="677577" cy="147410"/>
            </a:xfrm>
            <a:prstGeom prst="rect">
              <a:avLst/>
            </a:prstGeom>
            <a:noFill/>
          </p:spPr>
        </p:pic>
        <p:pic>
          <p:nvPicPr>
            <p:cNvPr id="144" name="Picture 5308">
              <a:extLst>
                <a:ext uri="{FF2B5EF4-FFF2-40B4-BE49-F238E27FC236}">
                  <a16:creationId xmlns:a16="http://schemas.microsoft.com/office/drawing/2014/main" id="{29C6C9ED-EAA9-44B8-9038-05AF7FBD9530}"/>
                </a:ext>
              </a:extLst>
            </p:cNvPr>
            <p:cNvPicPr>
              <a:picLocks noChangeArrowheads="1"/>
            </p:cNvPicPr>
            <p:nvPr/>
          </p:nvPicPr>
          <p:blipFill>
            <a:blip r:embed="rId97">
              <a:extLst>
                <a:ext uri="{28A0092B-C50C-407E-A947-70E740481C1C}">
                  <a14:useLocalDpi xmlns:a14="http://schemas.microsoft.com/office/drawing/2010/main" val="0"/>
                </a:ext>
              </a:extLst>
            </a:blip>
            <a:srcRect/>
            <a:stretch>
              <a:fillRect/>
            </a:stretch>
          </p:blipFill>
          <p:spPr>
            <a:xfrm>
              <a:off x="8090218" y="5961428"/>
              <a:ext cx="830295" cy="147685"/>
            </a:xfrm>
            <a:prstGeom prst="rect">
              <a:avLst/>
            </a:prstGeom>
            <a:noFill/>
          </p:spPr>
        </p:pic>
        <p:sp>
          <p:nvSpPr>
            <p:cNvPr id="145" name="Freeform 5309">
              <a:extLst>
                <a:ext uri="{FF2B5EF4-FFF2-40B4-BE49-F238E27FC236}">
                  <a16:creationId xmlns:a16="http://schemas.microsoft.com/office/drawing/2014/main" id="{E65B2AEB-0AF3-4471-AF9A-B2F19E0872F8}"/>
                </a:ext>
              </a:extLst>
            </p:cNvPr>
            <p:cNvSpPr/>
            <p:nvPr/>
          </p:nvSpPr>
          <p:spPr>
            <a:xfrm>
              <a:off x="9030414" y="5199045"/>
              <a:ext cx="946647" cy="424262"/>
            </a:xfrm>
            <a:custGeom>
              <a:avLst/>
              <a:gdLst/>
              <a:ahLst/>
              <a:cxnLst/>
              <a:rect l="0" t="0" r="0" b="0"/>
              <a:pathLst>
                <a:path w="1043941" h="467867">
                  <a:moveTo>
                    <a:pt x="0" y="47879"/>
                  </a:moveTo>
                  <a:cubicBezTo>
                    <a:pt x="0" y="21463"/>
                    <a:pt x="21463" y="0"/>
                    <a:pt x="47880" y="0"/>
                  </a:cubicBezTo>
                  <a:lnTo>
                    <a:pt x="996061" y="0"/>
                  </a:lnTo>
                  <a:cubicBezTo>
                    <a:pt x="1022477" y="0"/>
                    <a:pt x="1043941" y="21463"/>
                    <a:pt x="1043941" y="47879"/>
                  </a:cubicBezTo>
                  <a:lnTo>
                    <a:pt x="1043941" y="419989"/>
                  </a:lnTo>
                  <a:cubicBezTo>
                    <a:pt x="1043941" y="446404"/>
                    <a:pt x="1022477" y="467867"/>
                    <a:pt x="996061" y="467867"/>
                  </a:cubicBezTo>
                  <a:lnTo>
                    <a:pt x="47880" y="467867"/>
                  </a:lnTo>
                  <a:cubicBezTo>
                    <a:pt x="21463" y="467867"/>
                    <a:pt x="0" y="446404"/>
                    <a:pt x="0" y="419989"/>
                  </a:cubicBezTo>
                  <a:close/>
                  <a:moveTo>
                    <a:pt x="-7823327" y="1772411"/>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46" name="Picture 5310">
              <a:extLst>
                <a:ext uri="{FF2B5EF4-FFF2-40B4-BE49-F238E27FC236}">
                  <a16:creationId xmlns:a16="http://schemas.microsoft.com/office/drawing/2014/main" id="{5F6F25D1-3170-42BA-89AB-82E46E0664E2}"/>
                </a:ext>
              </a:extLst>
            </p:cNvPr>
            <p:cNvPicPr>
              <a:picLocks noChangeArrowheads="1"/>
            </p:cNvPicPr>
            <p:nvPr/>
          </p:nvPicPr>
          <p:blipFill>
            <a:blip r:embed="rId98">
              <a:extLst>
                <a:ext uri="{28A0092B-C50C-407E-A947-70E740481C1C}">
                  <a14:useLocalDpi xmlns:a14="http://schemas.microsoft.com/office/drawing/2010/main" val="0"/>
                </a:ext>
              </a:extLst>
            </a:blip>
            <a:srcRect/>
            <a:stretch>
              <a:fillRect/>
            </a:stretch>
          </p:blipFill>
          <p:spPr>
            <a:xfrm>
              <a:off x="9364965" y="5275973"/>
              <a:ext cx="350327" cy="147410"/>
            </a:xfrm>
            <a:prstGeom prst="rect">
              <a:avLst/>
            </a:prstGeom>
            <a:noFill/>
          </p:spPr>
        </p:pic>
        <p:pic>
          <p:nvPicPr>
            <p:cNvPr id="147" name="Picture 5311">
              <a:extLst>
                <a:ext uri="{FF2B5EF4-FFF2-40B4-BE49-F238E27FC236}">
                  <a16:creationId xmlns:a16="http://schemas.microsoft.com/office/drawing/2014/main" id="{E6348C1C-F372-4D23-A485-F78D79D39043}"/>
                </a:ext>
              </a:extLst>
            </p:cNvPr>
            <p:cNvPicPr>
              <a:picLocks noChangeArrowheads="1"/>
            </p:cNvPicPr>
            <p:nvPr/>
          </p:nvPicPr>
          <p:blipFill>
            <a:blip r:embed="rId99">
              <a:extLst>
                <a:ext uri="{28A0092B-C50C-407E-A947-70E740481C1C}">
                  <a14:useLocalDpi xmlns:a14="http://schemas.microsoft.com/office/drawing/2010/main" val="0"/>
                </a:ext>
              </a:extLst>
            </a:blip>
            <a:srcRect/>
            <a:stretch>
              <a:fillRect/>
            </a:stretch>
          </p:blipFill>
          <p:spPr>
            <a:xfrm>
              <a:off x="9219859" y="5400580"/>
              <a:ext cx="615895" cy="147410"/>
            </a:xfrm>
            <a:prstGeom prst="rect">
              <a:avLst/>
            </a:prstGeom>
            <a:noFill/>
          </p:spPr>
        </p:pic>
        <p:sp>
          <p:nvSpPr>
            <p:cNvPr id="148" name="Freeform 5312">
              <a:extLst>
                <a:ext uri="{FF2B5EF4-FFF2-40B4-BE49-F238E27FC236}">
                  <a16:creationId xmlns:a16="http://schemas.microsoft.com/office/drawing/2014/main" id="{CC0EAC21-F2F4-4118-8E87-EBD0D9779F3D}"/>
                </a:ext>
              </a:extLst>
            </p:cNvPr>
            <p:cNvSpPr/>
            <p:nvPr/>
          </p:nvSpPr>
          <p:spPr>
            <a:xfrm>
              <a:off x="9030414" y="5697935"/>
              <a:ext cx="946647" cy="424262"/>
            </a:xfrm>
            <a:custGeom>
              <a:avLst/>
              <a:gdLst/>
              <a:ahLst/>
              <a:cxnLst/>
              <a:rect l="0" t="0" r="0" b="0"/>
              <a:pathLst>
                <a:path w="1043941" h="467867">
                  <a:moveTo>
                    <a:pt x="0" y="47853"/>
                  </a:moveTo>
                  <a:cubicBezTo>
                    <a:pt x="0" y="21424"/>
                    <a:pt x="21463" y="0"/>
                    <a:pt x="47880" y="0"/>
                  </a:cubicBezTo>
                  <a:lnTo>
                    <a:pt x="996061" y="0"/>
                  </a:lnTo>
                  <a:cubicBezTo>
                    <a:pt x="1022477" y="0"/>
                    <a:pt x="1043941" y="21424"/>
                    <a:pt x="1043941" y="47853"/>
                  </a:cubicBezTo>
                  <a:lnTo>
                    <a:pt x="1043941" y="420014"/>
                  </a:lnTo>
                  <a:cubicBezTo>
                    <a:pt x="1043941" y="446443"/>
                    <a:pt x="1022477" y="467867"/>
                    <a:pt x="996061" y="467867"/>
                  </a:cubicBezTo>
                  <a:lnTo>
                    <a:pt x="47880" y="467867"/>
                  </a:lnTo>
                  <a:cubicBezTo>
                    <a:pt x="21463" y="467867"/>
                    <a:pt x="0" y="446443"/>
                    <a:pt x="0" y="420014"/>
                  </a:cubicBezTo>
                  <a:close/>
                  <a:moveTo>
                    <a:pt x="-8373465" y="1222247"/>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49" name="Picture 5313">
              <a:extLst>
                <a:ext uri="{FF2B5EF4-FFF2-40B4-BE49-F238E27FC236}">
                  <a16:creationId xmlns:a16="http://schemas.microsoft.com/office/drawing/2014/main" id="{9702EB8F-E8DD-40DE-B7E7-5E55BBFD57D6}"/>
                </a:ext>
              </a:extLst>
            </p:cNvPr>
            <p:cNvPicPr>
              <a:picLocks noChangeArrowheads="1"/>
            </p:cNvPicPr>
            <p:nvPr/>
          </p:nvPicPr>
          <p:blipFill>
            <a:blip r:embed="rId100">
              <a:extLst>
                <a:ext uri="{28A0092B-C50C-407E-A947-70E740481C1C}">
                  <a14:useLocalDpi xmlns:a14="http://schemas.microsoft.com/office/drawing/2010/main" val="0"/>
                </a:ext>
              </a:extLst>
            </a:blip>
            <a:srcRect/>
            <a:stretch>
              <a:fillRect/>
            </a:stretch>
          </p:blipFill>
          <p:spPr>
            <a:xfrm>
              <a:off x="9236443" y="5712950"/>
              <a:ext cx="617415" cy="147410"/>
            </a:xfrm>
            <a:prstGeom prst="rect">
              <a:avLst/>
            </a:prstGeom>
            <a:noFill/>
          </p:spPr>
        </p:pic>
        <p:pic>
          <p:nvPicPr>
            <p:cNvPr id="150" name="Picture 5314">
              <a:extLst>
                <a:ext uri="{FF2B5EF4-FFF2-40B4-BE49-F238E27FC236}">
                  <a16:creationId xmlns:a16="http://schemas.microsoft.com/office/drawing/2014/main" id="{1C10DDEB-FE3B-4A94-9B22-FDC9EE80D2EB}"/>
                </a:ext>
              </a:extLst>
            </p:cNvPr>
            <p:cNvPicPr>
              <a:picLocks noChangeArrowheads="1"/>
            </p:cNvPicPr>
            <p:nvPr/>
          </p:nvPicPr>
          <p:blipFill>
            <a:blip r:embed="rId101">
              <a:extLst>
                <a:ext uri="{28A0092B-C50C-407E-A947-70E740481C1C}">
                  <a14:useLocalDpi xmlns:a14="http://schemas.microsoft.com/office/drawing/2010/main" val="0"/>
                </a:ext>
              </a:extLst>
            </a:blip>
            <a:srcRect/>
            <a:stretch>
              <a:fillRect/>
            </a:stretch>
          </p:blipFill>
          <p:spPr>
            <a:xfrm>
              <a:off x="9302777" y="5837327"/>
              <a:ext cx="480118" cy="147410"/>
            </a:xfrm>
            <a:prstGeom prst="rect">
              <a:avLst/>
            </a:prstGeom>
            <a:noFill/>
          </p:spPr>
        </p:pic>
        <p:pic>
          <p:nvPicPr>
            <p:cNvPr id="151" name="Picture 5315">
              <a:extLst>
                <a:ext uri="{FF2B5EF4-FFF2-40B4-BE49-F238E27FC236}">
                  <a16:creationId xmlns:a16="http://schemas.microsoft.com/office/drawing/2014/main" id="{4296B175-403C-4AC8-A6DC-F7DE9F98B9AB}"/>
                </a:ext>
              </a:extLst>
            </p:cNvPr>
            <p:cNvPicPr>
              <a:picLocks noChangeArrowheads="1"/>
            </p:cNvPicPr>
            <p:nvPr/>
          </p:nvPicPr>
          <p:blipFill>
            <a:blip r:embed="rId102">
              <a:extLst>
                <a:ext uri="{28A0092B-C50C-407E-A947-70E740481C1C}">
                  <a14:useLocalDpi xmlns:a14="http://schemas.microsoft.com/office/drawing/2010/main" val="0"/>
                </a:ext>
              </a:extLst>
            </a:blip>
            <a:srcRect/>
            <a:stretch>
              <a:fillRect/>
            </a:stretch>
          </p:blipFill>
          <p:spPr>
            <a:xfrm>
              <a:off x="9311068" y="5961428"/>
              <a:ext cx="431921" cy="147685"/>
            </a:xfrm>
            <a:prstGeom prst="rect">
              <a:avLst/>
            </a:prstGeom>
            <a:noFill/>
          </p:spPr>
        </p:pic>
        <p:sp>
          <p:nvSpPr>
            <p:cNvPr id="152" name="Freeform 5316">
              <a:extLst>
                <a:ext uri="{FF2B5EF4-FFF2-40B4-BE49-F238E27FC236}">
                  <a16:creationId xmlns:a16="http://schemas.microsoft.com/office/drawing/2014/main" id="{5DF96EC5-448E-4B6B-8176-18842D50A080}"/>
                </a:ext>
              </a:extLst>
            </p:cNvPr>
            <p:cNvSpPr/>
            <p:nvPr/>
          </p:nvSpPr>
          <p:spPr>
            <a:xfrm>
              <a:off x="10055833" y="5199045"/>
              <a:ext cx="946645" cy="424262"/>
            </a:xfrm>
            <a:custGeom>
              <a:avLst/>
              <a:gdLst/>
              <a:ahLst/>
              <a:cxnLst/>
              <a:rect l="0" t="0" r="0" b="0"/>
              <a:pathLst>
                <a:path w="1043939" h="467867">
                  <a:moveTo>
                    <a:pt x="0" y="47879"/>
                  </a:moveTo>
                  <a:cubicBezTo>
                    <a:pt x="0" y="21463"/>
                    <a:pt x="21463" y="0"/>
                    <a:pt x="47878" y="0"/>
                  </a:cubicBezTo>
                  <a:lnTo>
                    <a:pt x="996061" y="0"/>
                  </a:lnTo>
                  <a:cubicBezTo>
                    <a:pt x="1022476" y="0"/>
                    <a:pt x="1043939" y="21463"/>
                    <a:pt x="1043939" y="47879"/>
                  </a:cubicBezTo>
                  <a:lnTo>
                    <a:pt x="1043939" y="419989"/>
                  </a:lnTo>
                  <a:cubicBezTo>
                    <a:pt x="1043939" y="446404"/>
                    <a:pt x="1022476" y="467867"/>
                    <a:pt x="996061" y="467867"/>
                  </a:cubicBezTo>
                  <a:lnTo>
                    <a:pt x="47878" y="467867"/>
                  </a:lnTo>
                  <a:cubicBezTo>
                    <a:pt x="21463" y="467867"/>
                    <a:pt x="0" y="446404"/>
                    <a:pt x="0" y="419989"/>
                  </a:cubicBezTo>
                  <a:close/>
                  <a:moveTo>
                    <a:pt x="-8954136" y="1772411"/>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53" name="Picture 5317">
              <a:extLst>
                <a:ext uri="{FF2B5EF4-FFF2-40B4-BE49-F238E27FC236}">
                  <a16:creationId xmlns:a16="http://schemas.microsoft.com/office/drawing/2014/main" id="{2AAC2894-BC0E-460F-AABB-0E24D9E70575}"/>
                </a:ext>
              </a:extLst>
            </p:cNvPr>
            <p:cNvPicPr>
              <a:picLocks noChangeArrowheads="1"/>
            </p:cNvPicPr>
            <p:nvPr/>
          </p:nvPicPr>
          <p:blipFill>
            <a:blip r:embed="rId103">
              <a:extLst>
                <a:ext uri="{28A0092B-C50C-407E-A947-70E740481C1C}">
                  <a14:useLocalDpi xmlns:a14="http://schemas.microsoft.com/office/drawing/2010/main" val="0"/>
                </a:ext>
              </a:extLst>
            </a:blip>
            <a:srcRect/>
            <a:stretch>
              <a:fillRect/>
            </a:stretch>
          </p:blipFill>
          <p:spPr>
            <a:xfrm>
              <a:off x="10296986" y="5275973"/>
              <a:ext cx="538632" cy="147410"/>
            </a:xfrm>
            <a:prstGeom prst="rect">
              <a:avLst/>
            </a:prstGeom>
            <a:noFill/>
          </p:spPr>
        </p:pic>
        <p:pic>
          <p:nvPicPr>
            <p:cNvPr id="154" name="Picture 5318">
              <a:extLst>
                <a:ext uri="{FF2B5EF4-FFF2-40B4-BE49-F238E27FC236}">
                  <a16:creationId xmlns:a16="http://schemas.microsoft.com/office/drawing/2014/main" id="{54E09AD9-3AAB-4D76-95D2-462191F3ADBE}"/>
                </a:ext>
              </a:extLst>
            </p:cNvPr>
            <p:cNvPicPr>
              <a:picLocks noChangeArrowheads="1"/>
            </p:cNvPicPr>
            <p:nvPr/>
          </p:nvPicPr>
          <p:blipFill>
            <a:blip r:embed="rId104">
              <a:extLst>
                <a:ext uri="{28A0092B-C50C-407E-A947-70E740481C1C}">
                  <a14:useLocalDpi xmlns:a14="http://schemas.microsoft.com/office/drawing/2010/main" val="0"/>
                </a:ext>
              </a:extLst>
            </a:blip>
            <a:srcRect/>
            <a:stretch>
              <a:fillRect/>
            </a:stretch>
          </p:blipFill>
          <p:spPr>
            <a:xfrm>
              <a:off x="10220977" y="5400580"/>
              <a:ext cx="665968" cy="147410"/>
            </a:xfrm>
            <a:prstGeom prst="rect">
              <a:avLst/>
            </a:prstGeom>
            <a:noFill/>
          </p:spPr>
        </p:pic>
        <p:sp>
          <p:nvSpPr>
            <p:cNvPr id="155" name="Freeform 5319">
              <a:extLst>
                <a:ext uri="{FF2B5EF4-FFF2-40B4-BE49-F238E27FC236}">
                  <a16:creationId xmlns:a16="http://schemas.microsoft.com/office/drawing/2014/main" id="{2BFC7FB2-B7EF-42AD-96A8-0C36049CD28C}"/>
                </a:ext>
              </a:extLst>
            </p:cNvPr>
            <p:cNvSpPr/>
            <p:nvPr/>
          </p:nvSpPr>
          <p:spPr>
            <a:xfrm>
              <a:off x="10055833" y="5697935"/>
              <a:ext cx="946645" cy="424262"/>
            </a:xfrm>
            <a:custGeom>
              <a:avLst/>
              <a:gdLst/>
              <a:ahLst/>
              <a:cxnLst/>
              <a:rect l="0" t="0" r="0" b="0"/>
              <a:pathLst>
                <a:path w="1043939" h="467867">
                  <a:moveTo>
                    <a:pt x="0" y="47853"/>
                  </a:moveTo>
                  <a:cubicBezTo>
                    <a:pt x="0" y="21424"/>
                    <a:pt x="21463" y="0"/>
                    <a:pt x="47878" y="0"/>
                  </a:cubicBezTo>
                  <a:lnTo>
                    <a:pt x="996061" y="0"/>
                  </a:lnTo>
                  <a:cubicBezTo>
                    <a:pt x="1022476" y="0"/>
                    <a:pt x="1043939" y="21424"/>
                    <a:pt x="1043939" y="47853"/>
                  </a:cubicBezTo>
                  <a:lnTo>
                    <a:pt x="1043939" y="420014"/>
                  </a:lnTo>
                  <a:cubicBezTo>
                    <a:pt x="1043939" y="446443"/>
                    <a:pt x="1022476" y="467867"/>
                    <a:pt x="996061" y="467867"/>
                  </a:cubicBezTo>
                  <a:lnTo>
                    <a:pt x="47878" y="467867"/>
                  </a:lnTo>
                  <a:cubicBezTo>
                    <a:pt x="21463" y="467867"/>
                    <a:pt x="0" y="446443"/>
                    <a:pt x="0" y="420014"/>
                  </a:cubicBezTo>
                  <a:close/>
                  <a:moveTo>
                    <a:pt x="-9504274" y="1222247"/>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56" name="Picture 5320">
              <a:extLst>
                <a:ext uri="{FF2B5EF4-FFF2-40B4-BE49-F238E27FC236}">
                  <a16:creationId xmlns:a16="http://schemas.microsoft.com/office/drawing/2014/main" id="{588514DA-9BF8-4474-8532-6DD0F6D509A9}"/>
                </a:ext>
              </a:extLst>
            </p:cNvPr>
            <p:cNvPicPr>
              <a:picLocks noChangeArrowheads="1"/>
            </p:cNvPicPr>
            <p:nvPr/>
          </p:nvPicPr>
          <p:blipFill>
            <a:blip r:embed="rId105">
              <a:extLst>
                <a:ext uri="{28A0092B-C50C-407E-A947-70E740481C1C}">
                  <a14:useLocalDpi xmlns:a14="http://schemas.microsoft.com/office/drawing/2010/main" val="0"/>
                </a:ext>
              </a:extLst>
            </a:blip>
            <a:srcRect/>
            <a:stretch>
              <a:fillRect/>
            </a:stretch>
          </p:blipFill>
          <p:spPr>
            <a:xfrm>
              <a:off x="10214068" y="5775139"/>
              <a:ext cx="704145" cy="147410"/>
            </a:xfrm>
            <a:prstGeom prst="rect">
              <a:avLst/>
            </a:prstGeom>
            <a:noFill/>
          </p:spPr>
        </p:pic>
        <p:pic>
          <p:nvPicPr>
            <p:cNvPr id="157" name="Picture 5321">
              <a:extLst>
                <a:ext uri="{FF2B5EF4-FFF2-40B4-BE49-F238E27FC236}">
                  <a16:creationId xmlns:a16="http://schemas.microsoft.com/office/drawing/2014/main" id="{76837782-2DBA-400E-97EA-F4AEB2A16472}"/>
                </a:ext>
              </a:extLst>
            </p:cNvPr>
            <p:cNvPicPr>
              <a:picLocks noChangeArrowheads="1"/>
            </p:cNvPicPr>
            <p:nvPr/>
          </p:nvPicPr>
          <p:blipFill>
            <a:blip r:embed="rId106">
              <a:extLst>
                <a:ext uri="{28A0092B-C50C-407E-A947-70E740481C1C}">
                  <a14:useLocalDpi xmlns:a14="http://schemas.microsoft.com/office/drawing/2010/main" val="0"/>
                </a:ext>
              </a:extLst>
            </a:blip>
            <a:srcRect/>
            <a:stretch>
              <a:fillRect/>
            </a:stretch>
          </p:blipFill>
          <p:spPr>
            <a:xfrm>
              <a:off x="10281784" y="5899516"/>
              <a:ext cx="538045" cy="147410"/>
            </a:xfrm>
            <a:prstGeom prst="rect">
              <a:avLst/>
            </a:prstGeom>
            <a:noFill/>
          </p:spPr>
        </p:pic>
        <p:sp>
          <p:nvSpPr>
            <p:cNvPr id="158" name="Freeform 5322">
              <a:extLst>
                <a:ext uri="{FF2B5EF4-FFF2-40B4-BE49-F238E27FC236}">
                  <a16:creationId xmlns:a16="http://schemas.microsoft.com/office/drawing/2014/main" id="{34D12D37-97FE-47BC-99FC-6841E5261F3E}"/>
                </a:ext>
              </a:extLst>
            </p:cNvPr>
            <p:cNvSpPr/>
            <p:nvPr/>
          </p:nvSpPr>
          <p:spPr>
            <a:xfrm>
              <a:off x="9030414" y="3366560"/>
              <a:ext cx="946647" cy="424263"/>
            </a:xfrm>
            <a:custGeom>
              <a:avLst/>
              <a:gdLst/>
              <a:ahLst/>
              <a:cxnLst/>
              <a:rect l="0" t="0" r="0" b="0"/>
              <a:pathLst>
                <a:path w="1043941" h="467868">
                  <a:moveTo>
                    <a:pt x="0" y="47878"/>
                  </a:moveTo>
                  <a:cubicBezTo>
                    <a:pt x="0" y="21463"/>
                    <a:pt x="21463" y="0"/>
                    <a:pt x="47880" y="0"/>
                  </a:cubicBezTo>
                  <a:lnTo>
                    <a:pt x="996061" y="0"/>
                  </a:lnTo>
                  <a:cubicBezTo>
                    <a:pt x="1022477" y="0"/>
                    <a:pt x="1043941" y="21463"/>
                    <a:pt x="1043941" y="47878"/>
                  </a:cubicBezTo>
                  <a:lnTo>
                    <a:pt x="1043941" y="419989"/>
                  </a:lnTo>
                  <a:cubicBezTo>
                    <a:pt x="1043941" y="446405"/>
                    <a:pt x="1022477" y="467868"/>
                    <a:pt x="996061" y="467868"/>
                  </a:cubicBezTo>
                  <a:lnTo>
                    <a:pt x="47880" y="467868"/>
                  </a:lnTo>
                  <a:cubicBezTo>
                    <a:pt x="21463" y="467868"/>
                    <a:pt x="0" y="446405"/>
                    <a:pt x="0" y="419989"/>
                  </a:cubicBezTo>
                  <a:close/>
                  <a:moveTo>
                    <a:pt x="-5802502" y="3793235"/>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59" name="Picture 5323">
              <a:extLst>
                <a:ext uri="{FF2B5EF4-FFF2-40B4-BE49-F238E27FC236}">
                  <a16:creationId xmlns:a16="http://schemas.microsoft.com/office/drawing/2014/main" id="{CF897F8A-62ED-48C3-9656-EAC17235E122}"/>
                </a:ext>
              </a:extLst>
            </p:cNvPr>
            <p:cNvPicPr>
              <a:picLocks noChangeArrowheads="1"/>
            </p:cNvPicPr>
            <p:nvPr/>
          </p:nvPicPr>
          <p:blipFill>
            <a:blip r:embed="rId107">
              <a:extLst>
                <a:ext uri="{28A0092B-C50C-407E-A947-70E740481C1C}">
                  <a14:useLocalDpi xmlns:a14="http://schemas.microsoft.com/office/drawing/2010/main" val="0"/>
                </a:ext>
              </a:extLst>
            </a:blip>
            <a:srcRect/>
            <a:stretch>
              <a:fillRect/>
            </a:stretch>
          </p:blipFill>
          <p:spPr>
            <a:xfrm>
              <a:off x="9300013" y="3443719"/>
              <a:ext cx="487891" cy="147409"/>
            </a:xfrm>
            <a:prstGeom prst="rect">
              <a:avLst/>
            </a:prstGeom>
            <a:noFill/>
          </p:spPr>
        </p:pic>
        <p:pic>
          <p:nvPicPr>
            <p:cNvPr id="160" name="Picture 5324">
              <a:extLst>
                <a:ext uri="{FF2B5EF4-FFF2-40B4-BE49-F238E27FC236}">
                  <a16:creationId xmlns:a16="http://schemas.microsoft.com/office/drawing/2014/main" id="{68FD95AE-2CBC-4304-8BE5-0C13E7E38D20}"/>
                </a:ext>
              </a:extLst>
            </p:cNvPr>
            <p:cNvPicPr>
              <a:picLocks noChangeArrowheads="1"/>
            </p:cNvPicPr>
            <p:nvPr/>
          </p:nvPicPr>
          <p:blipFill>
            <a:blip r:embed="rId99">
              <a:extLst>
                <a:ext uri="{28A0092B-C50C-407E-A947-70E740481C1C}">
                  <a14:useLocalDpi xmlns:a14="http://schemas.microsoft.com/office/drawing/2010/main" val="0"/>
                </a:ext>
              </a:extLst>
            </a:blip>
            <a:srcRect/>
            <a:stretch>
              <a:fillRect/>
            </a:stretch>
          </p:blipFill>
          <p:spPr>
            <a:xfrm>
              <a:off x="9219859" y="3568096"/>
              <a:ext cx="615895" cy="147409"/>
            </a:xfrm>
            <a:prstGeom prst="rect">
              <a:avLst/>
            </a:prstGeom>
            <a:noFill/>
          </p:spPr>
        </p:pic>
        <p:sp>
          <p:nvSpPr>
            <p:cNvPr id="161" name="Freeform 5325">
              <a:extLst>
                <a:ext uri="{FF2B5EF4-FFF2-40B4-BE49-F238E27FC236}">
                  <a16:creationId xmlns:a16="http://schemas.microsoft.com/office/drawing/2014/main" id="{C40DC5C5-D0C2-462E-8AF6-89CE98D846D6}"/>
                </a:ext>
              </a:extLst>
            </p:cNvPr>
            <p:cNvSpPr/>
            <p:nvPr/>
          </p:nvSpPr>
          <p:spPr>
            <a:xfrm>
              <a:off x="10055833" y="3366560"/>
              <a:ext cx="946645" cy="424263"/>
            </a:xfrm>
            <a:custGeom>
              <a:avLst/>
              <a:gdLst/>
              <a:ahLst/>
              <a:cxnLst/>
              <a:rect l="0" t="0" r="0" b="0"/>
              <a:pathLst>
                <a:path w="1043939" h="467868">
                  <a:moveTo>
                    <a:pt x="0" y="47878"/>
                  </a:moveTo>
                  <a:cubicBezTo>
                    <a:pt x="0" y="21463"/>
                    <a:pt x="21463" y="0"/>
                    <a:pt x="47878" y="0"/>
                  </a:cubicBezTo>
                  <a:lnTo>
                    <a:pt x="996061" y="0"/>
                  </a:lnTo>
                  <a:cubicBezTo>
                    <a:pt x="1022476" y="0"/>
                    <a:pt x="1043939" y="21463"/>
                    <a:pt x="1043939" y="47878"/>
                  </a:cubicBezTo>
                  <a:lnTo>
                    <a:pt x="1043939" y="419989"/>
                  </a:lnTo>
                  <a:cubicBezTo>
                    <a:pt x="1043939" y="446405"/>
                    <a:pt x="1022476" y="467868"/>
                    <a:pt x="996061" y="467868"/>
                  </a:cubicBezTo>
                  <a:lnTo>
                    <a:pt x="47878" y="467868"/>
                  </a:lnTo>
                  <a:cubicBezTo>
                    <a:pt x="21463" y="467868"/>
                    <a:pt x="0" y="446405"/>
                    <a:pt x="0" y="419989"/>
                  </a:cubicBezTo>
                  <a:close/>
                  <a:moveTo>
                    <a:pt x="-6933311" y="3793235"/>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62" name="Picture 5326">
              <a:extLst>
                <a:ext uri="{FF2B5EF4-FFF2-40B4-BE49-F238E27FC236}">
                  <a16:creationId xmlns:a16="http://schemas.microsoft.com/office/drawing/2014/main" id="{1D0EC7D6-147A-4B31-8E42-67AC24F5AC8D}"/>
                </a:ext>
              </a:extLst>
            </p:cNvPr>
            <p:cNvPicPr>
              <a:picLocks noChangeArrowheads="1"/>
            </p:cNvPicPr>
            <p:nvPr/>
          </p:nvPicPr>
          <p:blipFill>
            <a:blip r:embed="rId108">
              <a:extLst>
                <a:ext uri="{28A0092B-C50C-407E-A947-70E740481C1C}">
                  <a14:useLocalDpi xmlns:a14="http://schemas.microsoft.com/office/drawing/2010/main" val="0"/>
                </a:ext>
              </a:extLst>
            </a:blip>
            <a:srcRect/>
            <a:stretch>
              <a:fillRect/>
            </a:stretch>
          </p:blipFill>
          <p:spPr>
            <a:xfrm>
              <a:off x="10234797" y="3443719"/>
              <a:ext cx="662985" cy="147409"/>
            </a:xfrm>
            <a:prstGeom prst="rect">
              <a:avLst/>
            </a:prstGeom>
            <a:noFill/>
          </p:spPr>
        </p:pic>
        <p:pic>
          <p:nvPicPr>
            <p:cNvPr id="163" name="Picture 5327">
              <a:extLst>
                <a:ext uri="{FF2B5EF4-FFF2-40B4-BE49-F238E27FC236}">
                  <a16:creationId xmlns:a16="http://schemas.microsoft.com/office/drawing/2014/main" id="{01ECCD55-EC27-45F5-94F8-35BD42832407}"/>
                </a:ext>
              </a:extLst>
            </p:cNvPr>
            <p:cNvPicPr>
              <a:picLocks noChangeArrowheads="1"/>
            </p:cNvPicPr>
            <p:nvPr/>
          </p:nvPicPr>
          <p:blipFill>
            <a:blip r:embed="rId109">
              <a:extLst>
                <a:ext uri="{28A0092B-C50C-407E-A947-70E740481C1C}">
                  <a14:useLocalDpi xmlns:a14="http://schemas.microsoft.com/office/drawing/2010/main" val="0"/>
                </a:ext>
              </a:extLst>
            </a:blip>
            <a:srcRect/>
            <a:stretch>
              <a:fillRect/>
            </a:stretch>
          </p:blipFill>
          <p:spPr>
            <a:xfrm>
              <a:off x="10164317" y="3568096"/>
              <a:ext cx="779243" cy="147409"/>
            </a:xfrm>
            <a:prstGeom prst="rect">
              <a:avLst/>
            </a:prstGeom>
            <a:noFill/>
          </p:spPr>
        </p:pic>
        <p:sp>
          <p:nvSpPr>
            <p:cNvPr id="164" name="Freeform 5328">
              <a:extLst>
                <a:ext uri="{FF2B5EF4-FFF2-40B4-BE49-F238E27FC236}">
                  <a16:creationId xmlns:a16="http://schemas.microsoft.com/office/drawing/2014/main" id="{9F464207-2332-40DD-AA14-B27F05C0364F}"/>
                </a:ext>
              </a:extLst>
            </p:cNvPr>
            <p:cNvSpPr/>
            <p:nvPr/>
          </p:nvSpPr>
          <p:spPr>
            <a:xfrm>
              <a:off x="9030414" y="3865448"/>
              <a:ext cx="946647" cy="424263"/>
            </a:xfrm>
            <a:custGeom>
              <a:avLst/>
              <a:gdLst/>
              <a:ahLst/>
              <a:cxnLst/>
              <a:rect l="0" t="0" r="0" b="0"/>
              <a:pathLst>
                <a:path w="1043941" h="467868">
                  <a:moveTo>
                    <a:pt x="0" y="47880"/>
                  </a:moveTo>
                  <a:cubicBezTo>
                    <a:pt x="0" y="21464"/>
                    <a:pt x="21463" y="0"/>
                    <a:pt x="47880" y="0"/>
                  </a:cubicBezTo>
                  <a:lnTo>
                    <a:pt x="996061" y="0"/>
                  </a:lnTo>
                  <a:cubicBezTo>
                    <a:pt x="1022477" y="0"/>
                    <a:pt x="1043941" y="21464"/>
                    <a:pt x="1043941" y="47880"/>
                  </a:cubicBezTo>
                  <a:lnTo>
                    <a:pt x="1043941" y="419990"/>
                  </a:lnTo>
                  <a:cubicBezTo>
                    <a:pt x="1043941" y="446405"/>
                    <a:pt x="1022477" y="467868"/>
                    <a:pt x="996061" y="467868"/>
                  </a:cubicBezTo>
                  <a:lnTo>
                    <a:pt x="47880" y="467868"/>
                  </a:lnTo>
                  <a:cubicBezTo>
                    <a:pt x="21463" y="467868"/>
                    <a:pt x="0" y="446405"/>
                    <a:pt x="0" y="419990"/>
                  </a:cubicBezTo>
                  <a:close/>
                  <a:moveTo>
                    <a:pt x="-6352667" y="3243072"/>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65" name="Picture 5329">
              <a:extLst>
                <a:ext uri="{FF2B5EF4-FFF2-40B4-BE49-F238E27FC236}">
                  <a16:creationId xmlns:a16="http://schemas.microsoft.com/office/drawing/2014/main" id="{2B7DC7B7-B0CD-4CC9-B675-11B51D583C41}"/>
                </a:ext>
              </a:extLst>
            </p:cNvPr>
            <p:cNvPicPr>
              <a:picLocks noChangeArrowheads="1"/>
            </p:cNvPicPr>
            <p:nvPr/>
          </p:nvPicPr>
          <p:blipFill>
            <a:blip r:embed="rId110">
              <a:extLst>
                <a:ext uri="{28A0092B-C50C-407E-A947-70E740481C1C}">
                  <a14:useLocalDpi xmlns:a14="http://schemas.microsoft.com/office/drawing/2010/main" val="0"/>
                </a:ext>
              </a:extLst>
            </a:blip>
            <a:srcRect/>
            <a:stretch>
              <a:fillRect/>
            </a:stretch>
          </p:blipFill>
          <p:spPr>
            <a:xfrm>
              <a:off x="9264082" y="3880420"/>
              <a:ext cx="553707" cy="147410"/>
            </a:xfrm>
            <a:prstGeom prst="rect">
              <a:avLst/>
            </a:prstGeom>
            <a:noFill/>
          </p:spPr>
        </p:pic>
        <p:pic>
          <p:nvPicPr>
            <p:cNvPr id="166" name="Picture 5330">
              <a:extLst>
                <a:ext uri="{FF2B5EF4-FFF2-40B4-BE49-F238E27FC236}">
                  <a16:creationId xmlns:a16="http://schemas.microsoft.com/office/drawing/2014/main" id="{BDA47455-E601-4356-9C1E-875666B7EB93}"/>
                </a:ext>
              </a:extLst>
            </p:cNvPr>
            <p:cNvPicPr>
              <a:picLocks noChangeArrowheads="1"/>
            </p:cNvPicPr>
            <p:nvPr/>
          </p:nvPicPr>
          <p:blipFill>
            <a:blip r:embed="rId111">
              <a:extLst>
                <a:ext uri="{28A0092B-C50C-407E-A947-70E740481C1C}">
                  <a14:useLocalDpi xmlns:a14="http://schemas.microsoft.com/office/drawing/2010/main" val="0"/>
                </a:ext>
              </a:extLst>
            </a:blip>
            <a:srcRect/>
            <a:stretch>
              <a:fillRect/>
            </a:stretch>
          </p:blipFill>
          <p:spPr>
            <a:xfrm>
              <a:off x="9275137" y="4004796"/>
              <a:ext cx="530766" cy="147410"/>
            </a:xfrm>
            <a:prstGeom prst="rect">
              <a:avLst/>
            </a:prstGeom>
            <a:noFill/>
          </p:spPr>
        </p:pic>
        <p:pic>
          <p:nvPicPr>
            <p:cNvPr id="167" name="Picture 5331">
              <a:extLst>
                <a:ext uri="{FF2B5EF4-FFF2-40B4-BE49-F238E27FC236}">
                  <a16:creationId xmlns:a16="http://schemas.microsoft.com/office/drawing/2014/main" id="{CF7FD7C9-294F-4748-9854-8F50408F3B23}"/>
                </a:ext>
              </a:extLst>
            </p:cNvPr>
            <p:cNvPicPr>
              <a:picLocks noChangeArrowheads="1"/>
            </p:cNvPicPr>
            <p:nvPr/>
          </p:nvPicPr>
          <p:blipFill>
            <a:blip r:embed="rId112">
              <a:extLst>
                <a:ext uri="{28A0092B-C50C-407E-A947-70E740481C1C}">
                  <a14:useLocalDpi xmlns:a14="http://schemas.microsoft.com/office/drawing/2010/main" val="0"/>
                </a:ext>
              </a:extLst>
            </a:blip>
            <a:srcRect/>
            <a:stretch>
              <a:fillRect/>
            </a:stretch>
          </p:blipFill>
          <p:spPr>
            <a:xfrm>
              <a:off x="9116212" y="4129173"/>
              <a:ext cx="829996" cy="147410"/>
            </a:xfrm>
            <a:prstGeom prst="rect">
              <a:avLst/>
            </a:prstGeom>
            <a:noFill/>
          </p:spPr>
        </p:pic>
        <p:sp>
          <p:nvSpPr>
            <p:cNvPr id="168" name="Freeform 5332">
              <a:extLst>
                <a:ext uri="{FF2B5EF4-FFF2-40B4-BE49-F238E27FC236}">
                  <a16:creationId xmlns:a16="http://schemas.microsoft.com/office/drawing/2014/main" id="{6BFC9966-B859-4697-B64A-7B566A26BFFD}"/>
                </a:ext>
              </a:extLst>
            </p:cNvPr>
            <p:cNvSpPr/>
            <p:nvPr/>
          </p:nvSpPr>
          <p:spPr>
            <a:xfrm>
              <a:off x="10055833" y="3865448"/>
              <a:ext cx="946645" cy="424263"/>
            </a:xfrm>
            <a:custGeom>
              <a:avLst/>
              <a:gdLst/>
              <a:ahLst/>
              <a:cxnLst/>
              <a:rect l="0" t="0" r="0" b="0"/>
              <a:pathLst>
                <a:path w="1043939" h="467868">
                  <a:moveTo>
                    <a:pt x="0" y="47880"/>
                  </a:moveTo>
                  <a:cubicBezTo>
                    <a:pt x="0" y="21464"/>
                    <a:pt x="21463" y="0"/>
                    <a:pt x="47878" y="0"/>
                  </a:cubicBezTo>
                  <a:lnTo>
                    <a:pt x="996061" y="0"/>
                  </a:lnTo>
                  <a:cubicBezTo>
                    <a:pt x="1022476" y="0"/>
                    <a:pt x="1043939" y="21464"/>
                    <a:pt x="1043939" y="47880"/>
                  </a:cubicBezTo>
                  <a:lnTo>
                    <a:pt x="1043939" y="419990"/>
                  </a:lnTo>
                  <a:cubicBezTo>
                    <a:pt x="1043939" y="446405"/>
                    <a:pt x="1022476" y="467868"/>
                    <a:pt x="996061" y="467868"/>
                  </a:cubicBezTo>
                  <a:lnTo>
                    <a:pt x="47878" y="467868"/>
                  </a:lnTo>
                  <a:cubicBezTo>
                    <a:pt x="21463" y="467868"/>
                    <a:pt x="0" y="446405"/>
                    <a:pt x="0" y="419990"/>
                  </a:cubicBezTo>
                  <a:close/>
                  <a:moveTo>
                    <a:pt x="-7483476" y="3243072"/>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69" name="Picture 5333">
              <a:extLst>
                <a:ext uri="{FF2B5EF4-FFF2-40B4-BE49-F238E27FC236}">
                  <a16:creationId xmlns:a16="http://schemas.microsoft.com/office/drawing/2014/main" id="{0F33ED97-8646-4F44-A3EB-5E426DD2E953}"/>
                </a:ext>
              </a:extLst>
            </p:cNvPr>
            <p:cNvPicPr>
              <a:picLocks noChangeArrowheads="1"/>
            </p:cNvPicPr>
            <p:nvPr/>
          </p:nvPicPr>
          <p:blipFill>
            <a:blip r:embed="rId113">
              <a:extLst>
                <a:ext uri="{28A0092B-C50C-407E-A947-70E740481C1C}">
                  <a14:useLocalDpi xmlns:a14="http://schemas.microsoft.com/office/drawing/2010/main" val="0"/>
                </a:ext>
              </a:extLst>
            </a:blip>
            <a:srcRect/>
            <a:stretch>
              <a:fillRect/>
            </a:stretch>
          </p:blipFill>
          <p:spPr>
            <a:xfrm>
              <a:off x="10209921" y="3942607"/>
              <a:ext cx="711550" cy="147410"/>
            </a:xfrm>
            <a:prstGeom prst="rect">
              <a:avLst/>
            </a:prstGeom>
            <a:noFill/>
          </p:spPr>
        </p:pic>
        <p:pic>
          <p:nvPicPr>
            <p:cNvPr id="170" name="Picture 5334">
              <a:extLst>
                <a:ext uri="{FF2B5EF4-FFF2-40B4-BE49-F238E27FC236}">
                  <a16:creationId xmlns:a16="http://schemas.microsoft.com/office/drawing/2014/main" id="{0D8BBD19-D594-4A0C-90AA-DD0481A0546A}"/>
                </a:ext>
              </a:extLst>
            </p:cNvPr>
            <p:cNvPicPr>
              <a:picLocks noChangeArrowheads="1"/>
            </p:cNvPicPr>
            <p:nvPr/>
          </p:nvPicPr>
          <p:blipFill>
            <a:blip r:embed="rId114">
              <a:extLst>
                <a:ext uri="{28A0092B-C50C-407E-A947-70E740481C1C}">
                  <a14:useLocalDpi xmlns:a14="http://schemas.microsoft.com/office/drawing/2010/main" val="0"/>
                </a:ext>
              </a:extLst>
            </a:blip>
            <a:srcRect/>
            <a:stretch>
              <a:fillRect/>
            </a:stretch>
          </p:blipFill>
          <p:spPr>
            <a:xfrm>
              <a:off x="10227887" y="4066984"/>
              <a:ext cx="664540" cy="147410"/>
            </a:xfrm>
            <a:prstGeom prst="rect">
              <a:avLst/>
            </a:prstGeom>
            <a:noFill/>
          </p:spPr>
        </p:pic>
        <p:sp>
          <p:nvSpPr>
            <p:cNvPr id="171" name="Freeform 5335">
              <a:extLst>
                <a:ext uri="{FF2B5EF4-FFF2-40B4-BE49-F238E27FC236}">
                  <a16:creationId xmlns:a16="http://schemas.microsoft.com/office/drawing/2014/main" id="{C2D3E343-28C1-4EEE-AD91-39F5DEB5516B}"/>
                </a:ext>
              </a:extLst>
            </p:cNvPr>
            <p:cNvSpPr/>
            <p:nvPr/>
          </p:nvSpPr>
          <p:spPr>
            <a:xfrm>
              <a:off x="9030414" y="4361575"/>
              <a:ext cx="946647" cy="424262"/>
            </a:xfrm>
            <a:custGeom>
              <a:avLst/>
              <a:gdLst/>
              <a:ahLst/>
              <a:cxnLst/>
              <a:rect l="0" t="0" r="0" b="0"/>
              <a:pathLst>
                <a:path w="1043941" h="467867">
                  <a:moveTo>
                    <a:pt x="0" y="47879"/>
                  </a:moveTo>
                  <a:cubicBezTo>
                    <a:pt x="0" y="21463"/>
                    <a:pt x="21463" y="0"/>
                    <a:pt x="47880" y="0"/>
                  </a:cubicBezTo>
                  <a:lnTo>
                    <a:pt x="996061" y="0"/>
                  </a:lnTo>
                  <a:cubicBezTo>
                    <a:pt x="1022477" y="0"/>
                    <a:pt x="1043941" y="21463"/>
                    <a:pt x="1043941" y="47879"/>
                  </a:cubicBezTo>
                  <a:lnTo>
                    <a:pt x="1043941" y="419988"/>
                  </a:lnTo>
                  <a:cubicBezTo>
                    <a:pt x="1043941" y="446404"/>
                    <a:pt x="1022477" y="467867"/>
                    <a:pt x="996061" y="467867"/>
                  </a:cubicBezTo>
                  <a:lnTo>
                    <a:pt x="47880" y="467867"/>
                  </a:lnTo>
                  <a:cubicBezTo>
                    <a:pt x="21463" y="467867"/>
                    <a:pt x="0" y="446404"/>
                    <a:pt x="0" y="419988"/>
                  </a:cubicBezTo>
                  <a:close/>
                  <a:moveTo>
                    <a:pt x="-6899783" y="2695955"/>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72" name="Picture 5336">
              <a:extLst>
                <a:ext uri="{FF2B5EF4-FFF2-40B4-BE49-F238E27FC236}">
                  <a16:creationId xmlns:a16="http://schemas.microsoft.com/office/drawing/2014/main" id="{912C598F-65C5-4FB5-8810-E37548768959}"/>
                </a:ext>
              </a:extLst>
            </p:cNvPr>
            <p:cNvPicPr>
              <a:picLocks noChangeArrowheads="1"/>
            </p:cNvPicPr>
            <p:nvPr/>
          </p:nvPicPr>
          <p:blipFill>
            <a:blip r:embed="rId115">
              <a:extLst>
                <a:ext uri="{28A0092B-C50C-407E-A947-70E740481C1C}">
                  <a14:useLocalDpi xmlns:a14="http://schemas.microsoft.com/office/drawing/2010/main" val="0"/>
                </a:ext>
              </a:extLst>
            </a:blip>
            <a:srcRect/>
            <a:stretch>
              <a:fillRect/>
            </a:stretch>
          </p:blipFill>
          <p:spPr>
            <a:xfrm>
              <a:off x="9305541" y="4439309"/>
              <a:ext cx="468336" cy="147410"/>
            </a:xfrm>
            <a:prstGeom prst="rect">
              <a:avLst/>
            </a:prstGeom>
            <a:noFill/>
          </p:spPr>
        </p:pic>
        <p:pic>
          <p:nvPicPr>
            <p:cNvPr id="173" name="Picture 5337">
              <a:extLst>
                <a:ext uri="{FF2B5EF4-FFF2-40B4-BE49-F238E27FC236}">
                  <a16:creationId xmlns:a16="http://schemas.microsoft.com/office/drawing/2014/main" id="{9637D34C-3049-451C-A0D1-113776A5C69A}"/>
                </a:ext>
              </a:extLst>
            </p:cNvPr>
            <p:cNvPicPr>
              <a:picLocks noChangeArrowheads="1"/>
            </p:cNvPicPr>
            <p:nvPr/>
          </p:nvPicPr>
          <p:blipFill>
            <a:blip r:embed="rId116">
              <a:extLst>
                <a:ext uri="{28A0092B-C50C-407E-A947-70E740481C1C}">
                  <a14:useLocalDpi xmlns:a14="http://schemas.microsoft.com/office/drawing/2010/main" val="0"/>
                </a:ext>
              </a:extLst>
            </a:blip>
            <a:srcRect/>
            <a:stretch>
              <a:fillRect/>
            </a:stretch>
          </p:blipFill>
          <p:spPr>
            <a:xfrm>
              <a:off x="9201894" y="4563686"/>
              <a:ext cx="664540" cy="147410"/>
            </a:xfrm>
            <a:prstGeom prst="rect">
              <a:avLst/>
            </a:prstGeom>
            <a:noFill/>
          </p:spPr>
        </p:pic>
        <p:sp>
          <p:nvSpPr>
            <p:cNvPr id="174" name="Freeform 5338">
              <a:extLst>
                <a:ext uri="{FF2B5EF4-FFF2-40B4-BE49-F238E27FC236}">
                  <a16:creationId xmlns:a16="http://schemas.microsoft.com/office/drawing/2014/main" id="{24319F58-0830-4FCD-9CA1-09F5D26D5290}"/>
                </a:ext>
              </a:extLst>
            </p:cNvPr>
            <p:cNvSpPr/>
            <p:nvPr/>
          </p:nvSpPr>
          <p:spPr>
            <a:xfrm>
              <a:off x="10055833" y="4361575"/>
              <a:ext cx="946645" cy="424262"/>
            </a:xfrm>
            <a:custGeom>
              <a:avLst/>
              <a:gdLst/>
              <a:ahLst/>
              <a:cxnLst/>
              <a:rect l="0" t="0" r="0" b="0"/>
              <a:pathLst>
                <a:path w="1043939" h="467867">
                  <a:moveTo>
                    <a:pt x="0" y="47879"/>
                  </a:moveTo>
                  <a:cubicBezTo>
                    <a:pt x="0" y="21463"/>
                    <a:pt x="21463" y="0"/>
                    <a:pt x="47878" y="0"/>
                  </a:cubicBezTo>
                  <a:lnTo>
                    <a:pt x="996061" y="0"/>
                  </a:lnTo>
                  <a:cubicBezTo>
                    <a:pt x="1022476" y="0"/>
                    <a:pt x="1043939" y="21463"/>
                    <a:pt x="1043939" y="47879"/>
                  </a:cubicBezTo>
                  <a:lnTo>
                    <a:pt x="1043939" y="419988"/>
                  </a:lnTo>
                  <a:cubicBezTo>
                    <a:pt x="1043939" y="446404"/>
                    <a:pt x="1022476" y="467867"/>
                    <a:pt x="996061" y="467867"/>
                  </a:cubicBezTo>
                  <a:lnTo>
                    <a:pt x="47878" y="467867"/>
                  </a:lnTo>
                  <a:cubicBezTo>
                    <a:pt x="21463" y="467867"/>
                    <a:pt x="0" y="446404"/>
                    <a:pt x="0" y="419988"/>
                  </a:cubicBezTo>
                  <a:close/>
                  <a:moveTo>
                    <a:pt x="-8030592" y="2695955"/>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75" name="Picture 5339">
              <a:extLst>
                <a:ext uri="{FF2B5EF4-FFF2-40B4-BE49-F238E27FC236}">
                  <a16:creationId xmlns:a16="http://schemas.microsoft.com/office/drawing/2014/main" id="{5ECE712A-D3C9-4509-83BE-6B96156F1313}"/>
                </a:ext>
              </a:extLst>
            </p:cNvPr>
            <p:cNvPicPr>
              <a:picLocks noChangeArrowheads="1"/>
            </p:cNvPicPr>
            <p:nvPr/>
          </p:nvPicPr>
          <p:blipFill>
            <a:blip r:embed="rId117">
              <a:extLst>
                <a:ext uri="{28A0092B-C50C-407E-A947-70E740481C1C}">
                  <a14:useLocalDpi xmlns:a14="http://schemas.microsoft.com/office/drawing/2010/main" val="0"/>
                </a:ext>
              </a:extLst>
            </a:blip>
            <a:srcRect/>
            <a:stretch>
              <a:fillRect/>
            </a:stretch>
          </p:blipFill>
          <p:spPr>
            <a:xfrm>
              <a:off x="10222358" y="4501497"/>
              <a:ext cx="666798" cy="147410"/>
            </a:xfrm>
            <a:prstGeom prst="rect">
              <a:avLst/>
            </a:prstGeom>
            <a:noFill/>
          </p:spPr>
        </p:pic>
        <p:sp>
          <p:nvSpPr>
            <p:cNvPr id="176" name="Freeform 5340">
              <a:extLst>
                <a:ext uri="{FF2B5EF4-FFF2-40B4-BE49-F238E27FC236}">
                  <a16:creationId xmlns:a16="http://schemas.microsoft.com/office/drawing/2014/main" id="{9E0B48F3-D425-4C2A-9EF6-BD24C8BD4E8E}"/>
                </a:ext>
              </a:extLst>
            </p:cNvPr>
            <p:cNvSpPr/>
            <p:nvPr/>
          </p:nvSpPr>
          <p:spPr>
            <a:xfrm>
              <a:off x="5952779" y="3366560"/>
              <a:ext cx="946647" cy="424263"/>
            </a:xfrm>
            <a:custGeom>
              <a:avLst/>
              <a:gdLst/>
              <a:ahLst/>
              <a:cxnLst/>
              <a:rect l="0" t="0" r="0" b="0"/>
              <a:pathLst>
                <a:path w="1043941" h="467868">
                  <a:moveTo>
                    <a:pt x="0" y="47878"/>
                  </a:moveTo>
                  <a:cubicBezTo>
                    <a:pt x="0" y="21463"/>
                    <a:pt x="21464" y="0"/>
                    <a:pt x="47879" y="0"/>
                  </a:cubicBezTo>
                  <a:lnTo>
                    <a:pt x="996061" y="0"/>
                  </a:lnTo>
                  <a:cubicBezTo>
                    <a:pt x="1022478" y="0"/>
                    <a:pt x="1043941" y="21463"/>
                    <a:pt x="1043941" y="47878"/>
                  </a:cubicBezTo>
                  <a:lnTo>
                    <a:pt x="1043941" y="419989"/>
                  </a:lnTo>
                  <a:cubicBezTo>
                    <a:pt x="1043941" y="446405"/>
                    <a:pt x="1022478" y="467868"/>
                    <a:pt x="996061" y="467868"/>
                  </a:cubicBezTo>
                  <a:lnTo>
                    <a:pt x="47879" y="467868"/>
                  </a:lnTo>
                  <a:cubicBezTo>
                    <a:pt x="21464" y="467868"/>
                    <a:pt x="0" y="446405"/>
                    <a:pt x="0" y="419989"/>
                  </a:cubicBezTo>
                  <a:close/>
                  <a:moveTo>
                    <a:pt x="-2408554" y="3793235"/>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77" name="Picture 5341">
              <a:extLst>
                <a:ext uri="{FF2B5EF4-FFF2-40B4-BE49-F238E27FC236}">
                  <a16:creationId xmlns:a16="http://schemas.microsoft.com/office/drawing/2014/main" id="{01986976-28A5-4B5B-8626-F00AD10174D8}"/>
                </a:ext>
              </a:extLst>
            </p:cNvPr>
            <p:cNvPicPr>
              <a:picLocks noChangeArrowheads="1"/>
            </p:cNvPicPr>
            <p:nvPr/>
          </p:nvPicPr>
          <p:blipFill>
            <a:blip r:embed="rId118">
              <a:extLst>
                <a:ext uri="{28A0092B-C50C-407E-A947-70E740481C1C}">
                  <a14:useLocalDpi xmlns:a14="http://schemas.microsoft.com/office/drawing/2010/main" val="0"/>
                </a:ext>
              </a:extLst>
            </a:blip>
            <a:srcRect/>
            <a:stretch>
              <a:fillRect/>
            </a:stretch>
          </p:blipFill>
          <p:spPr>
            <a:xfrm>
              <a:off x="6156043" y="3381531"/>
              <a:ext cx="278695" cy="147409"/>
            </a:xfrm>
            <a:prstGeom prst="rect">
              <a:avLst/>
            </a:prstGeom>
            <a:noFill/>
          </p:spPr>
        </p:pic>
        <p:pic>
          <p:nvPicPr>
            <p:cNvPr id="178" name="Picture 5342">
              <a:extLst>
                <a:ext uri="{FF2B5EF4-FFF2-40B4-BE49-F238E27FC236}">
                  <a16:creationId xmlns:a16="http://schemas.microsoft.com/office/drawing/2014/main" id="{8E336B36-E7FA-4803-8318-A0A6F990DFAD}"/>
                </a:ext>
              </a:extLst>
            </p:cNvPr>
            <p:cNvPicPr>
              <a:picLocks noChangeArrowheads="1"/>
            </p:cNvPicPr>
            <p:nvPr/>
          </p:nvPicPr>
          <p:blipFill>
            <a:blip r:embed="rId119">
              <a:extLst>
                <a:ext uri="{28A0092B-C50C-407E-A947-70E740481C1C}">
                  <a14:useLocalDpi xmlns:a14="http://schemas.microsoft.com/office/drawing/2010/main" val="0"/>
                </a:ext>
              </a:extLst>
            </a:blip>
            <a:srcRect/>
            <a:stretch>
              <a:fillRect/>
            </a:stretch>
          </p:blipFill>
          <p:spPr>
            <a:xfrm>
              <a:off x="6360574" y="3381531"/>
              <a:ext cx="97658" cy="147409"/>
            </a:xfrm>
            <a:prstGeom prst="rect">
              <a:avLst/>
            </a:prstGeom>
            <a:noFill/>
          </p:spPr>
        </p:pic>
        <p:pic>
          <p:nvPicPr>
            <p:cNvPr id="179" name="Picture 5343">
              <a:extLst>
                <a:ext uri="{FF2B5EF4-FFF2-40B4-BE49-F238E27FC236}">
                  <a16:creationId xmlns:a16="http://schemas.microsoft.com/office/drawing/2014/main" id="{41C5D240-CFE5-4BB4-A1C4-5A058CB430F7}"/>
                </a:ext>
              </a:extLst>
            </p:cNvPr>
            <p:cNvPicPr>
              <a:picLocks noChangeArrowheads="1"/>
            </p:cNvPicPr>
            <p:nvPr/>
          </p:nvPicPr>
          <p:blipFill>
            <a:blip r:embed="rId120">
              <a:extLst>
                <a:ext uri="{28A0092B-C50C-407E-A947-70E740481C1C}">
                  <a14:useLocalDpi xmlns:a14="http://schemas.microsoft.com/office/drawing/2010/main" val="0"/>
                </a:ext>
              </a:extLst>
            </a:blip>
            <a:srcRect/>
            <a:stretch>
              <a:fillRect/>
            </a:stretch>
          </p:blipFill>
          <p:spPr>
            <a:xfrm>
              <a:off x="6397887" y="3381531"/>
              <a:ext cx="347103" cy="147409"/>
            </a:xfrm>
            <a:prstGeom prst="rect">
              <a:avLst/>
            </a:prstGeom>
            <a:noFill/>
          </p:spPr>
        </p:pic>
        <p:pic>
          <p:nvPicPr>
            <p:cNvPr id="180" name="Picture 5344">
              <a:extLst>
                <a:ext uri="{FF2B5EF4-FFF2-40B4-BE49-F238E27FC236}">
                  <a16:creationId xmlns:a16="http://schemas.microsoft.com/office/drawing/2014/main" id="{D95786B9-ADDB-40BA-998A-A98B7EBD4DDF}"/>
                </a:ext>
              </a:extLst>
            </p:cNvPr>
            <p:cNvPicPr>
              <a:picLocks noChangeArrowheads="1"/>
            </p:cNvPicPr>
            <p:nvPr/>
          </p:nvPicPr>
          <p:blipFill>
            <a:blip r:embed="rId121">
              <a:extLst>
                <a:ext uri="{28A0092B-C50C-407E-A947-70E740481C1C}">
                  <a14:useLocalDpi xmlns:a14="http://schemas.microsoft.com/office/drawing/2010/main" val="0"/>
                </a:ext>
              </a:extLst>
            </a:blip>
            <a:srcRect/>
            <a:stretch>
              <a:fillRect/>
            </a:stretch>
          </p:blipFill>
          <p:spPr>
            <a:xfrm>
              <a:off x="6131167" y="3505908"/>
              <a:ext cx="667454" cy="147409"/>
            </a:xfrm>
            <a:prstGeom prst="rect">
              <a:avLst/>
            </a:prstGeom>
            <a:noFill/>
          </p:spPr>
        </p:pic>
        <p:pic>
          <p:nvPicPr>
            <p:cNvPr id="181" name="Picture 5345">
              <a:extLst>
                <a:ext uri="{FF2B5EF4-FFF2-40B4-BE49-F238E27FC236}">
                  <a16:creationId xmlns:a16="http://schemas.microsoft.com/office/drawing/2014/main" id="{2B6D9CB2-BB30-448B-AA75-1762443DEDE6}"/>
                </a:ext>
              </a:extLst>
            </p:cNvPr>
            <p:cNvPicPr>
              <a:picLocks noChangeArrowheads="1"/>
            </p:cNvPicPr>
            <p:nvPr/>
          </p:nvPicPr>
          <p:blipFill>
            <a:blip r:embed="rId122">
              <a:extLst>
                <a:ext uri="{28A0092B-C50C-407E-A947-70E740481C1C}">
                  <a14:useLocalDpi xmlns:a14="http://schemas.microsoft.com/office/drawing/2010/main" val="0"/>
                </a:ext>
              </a:extLst>
            </a:blip>
            <a:srcRect/>
            <a:stretch>
              <a:fillRect/>
            </a:stretch>
          </p:blipFill>
          <p:spPr>
            <a:xfrm>
              <a:off x="6088326" y="3630285"/>
              <a:ext cx="721754" cy="147409"/>
            </a:xfrm>
            <a:prstGeom prst="rect">
              <a:avLst/>
            </a:prstGeom>
            <a:noFill/>
          </p:spPr>
        </p:pic>
        <p:sp>
          <p:nvSpPr>
            <p:cNvPr id="182" name="Freeform 5346">
              <a:extLst>
                <a:ext uri="{FF2B5EF4-FFF2-40B4-BE49-F238E27FC236}">
                  <a16:creationId xmlns:a16="http://schemas.microsoft.com/office/drawing/2014/main" id="{90CE248A-1FE3-4B18-9394-01289EA69444}"/>
                </a:ext>
              </a:extLst>
            </p:cNvPr>
            <p:cNvSpPr/>
            <p:nvPr/>
          </p:nvSpPr>
          <p:spPr>
            <a:xfrm>
              <a:off x="6978196" y="3366560"/>
              <a:ext cx="946646" cy="424263"/>
            </a:xfrm>
            <a:custGeom>
              <a:avLst/>
              <a:gdLst/>
              <a:ahLst/>
              <a:cxnLst/>
              <a:rect l="0" t="0" r="0" b="0"/>
              <a:pathLst>
                <a:path w="1043940" h="467868">
                  <a:moveTo>
                    <a:pt x="0" y="47878"/>
                  </a:moveTo>
                  <a:cubicBezTo>
                    <a:pt x="0" y="21463"/>
                    <a:pt x="21463" y="0"/>
                    <a:pt x="47879" y="0"/>
                  </a:cubicBezTo>
                  <a:lnTo>
                    <a:pt x="996062" y="0"/>
                  </a:lnTo>
                  <a:cubicBezTo>
                    <a:pt x="1022477" y="0"/>
                    <a:pt x="1043940" y="21463"/>
                    <a:pt x="1043940" y="47878"/>
                  </a:cubicBezTo>
                  <a:lnTo>
                    <a:pt x="1043940" y="419989"/>
                  </a:lnTo>
                  <a:cubicBezTo>
                    <a:pt x="1043940" y="446405"/>
                    <a:pt x="1022477" y="467868"/>
                    <a:pt x="996062" y="467868"/>
                  </a:cubicBezTo>
                  <a:lnTo>
                    <a:pt x="47879" y="467868"/>
                  </a:lnTo>
                  <a:cubicBezTo>
                    <a:pt x="21463" y="467868"/>
                    <a:pt x="0" y="446405"/>
                    <a:pt x="0" y="419989"/>
                  </a:cubicBezTo>
                  <a:close/>
                  <a:moveTo>
                    <a:pt x="-3539362" y="3793235"/>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83" name="Picture 5347">
              <a:extLst>
                <a:ext uri="{FF2B5EF4-FFF2-40B4-BE49-F238E27FC236}">
                  <a16:creationId xmlns:a16="http://schemas.microsoft.com/office/drawing/2014/main" id="{6354512B-C9A5-43CC-B2D3-0A9F794F43AD}"/>
                </a:ext>
              </a:extLst>
            </p:cNvPr>
            <p:cNvPicPr>
              <a:picLocks noChangeArrowheads="1"/>
            </p:cNvPicPr>
            <p:nvPr/>
          </p:nvPicPr>
          <p:blipFill>
            <a:blip r:embed="rId123">
              <a:extLst>
                <a:ext uri="{28A0092B-C50C-407E-A947-70E740481C1C}">
                  <a14:useLocalDpi xmlns:a14="http://schemas.microsoft.com/office/drawing/2010/main" val="0"/>
                </a:ext>
              </a:extLst>
            </a:blip>
            <a:srcRect/>
            <a:stretch>
              <a:fillRect/>
            </a:stretch>
          </p:blipFill>
          <p:spPr>
            <a:xfrm>
              <a:off x="7198620" y="3443719"/>
              <a:ext cx="552197" cy="147409"/>
            </a:xfrm>
            <a:prstGeom prst="rect">
              <a:avLst/>
            </a:prstGeom>
            <a:noFill/>
          </p:spPr>
        </p:pic>
        <p:pic>
          <p:nvPicPr>
            <p:cNvPr id="184" name="Picture 5348">
              <a:extLst>
                <a:ext uri="{FF2B5EF4-FFF2-40B4-BE49-F238E27FC236}">
                  <a16:creationId xmlns:a16="http://schemas.microsoft.com/office/drawing/2014/main" id="{C6377BEB-180B-49AA-ADF9-DA9DE78FBABD}"/>
                </a:ext>
              </a:extLst>
            </p:cNvPr>
            <p:cNvPicPr>
              <a:picLocks noChangeArrowheads="1"/>
            </p:cNvPicPr>
            <p:nvPr/>
          </p:nvPicPr>
          <p:blipFill>
            <a:blip r:embed="rId124">
              <a:extLst>
                <a:ext uri="{28A0092B-C50C-407E-A947-70E740481C1C}">
                  <a14:useLocalDpi xmlns:a14="http://schemas.microsoft.com/office/drawing/2010/main" val="0"/>
                </a:ext>
              </a:extLst>
            </a:blip>
            <a:srcRect/>
            <a:stretch>
              <a:fillRect/>
            </a:stretch>
          </p:blipFill>
          <p:spPr>
            <a:xfrm>
              <a:off x="7217968" y="3568096"/>
              <a:ext cx="515564" cy="147409"/>
            </a:xfrm>
            <a:prstGeom prst="rect">
              <a:avLst/>
            </a:prstGeom>
            <a:noFill/>
          </p:spPr>
        </p:pic>
        <p:sp>
          <p:nvSpPr>
            <p:cNvPr id="185" name="Freeform 5349">
              <a:extLst>
                <a:ext uri="{FF2B5EF4-FFF2-40B4-BE49-F238E27FC236}">
                  <a16:creationId xmlns:a16="http://schemas.microsoft.com/office/drawing/2014/main" id="{9C4D0EC8-B15B-4105-9C9E-028542E04DB7}"/>
                </a:ext>
              </a:extLst>
            </p:cNvPr>
            <p:cNvSpPr/>
            <p:nvPr/>
          </p:nvSpPr>
          <p:spPr>
            <a:xfrm>
              <a:off x="5952779" y="3865448"/>
              <a:ext cx="946647" cy="424263"/>
            </a:xfrm>
            <a:custGeom>
              <a:avLst/>
              <a:gdLst/>
              <a:ahLst/>
              <a:cxnLst/>
              <a:rect l="0" t="0" r="0" b="0"/>
              <a:pathLst>
                <a:path w="1043941" h="467868">
                  <a:moveTo>
                    <a:pt x="0" y="47880"/>
                  </a:moveTo>
                  <a:cubicBezTo>
                    <a:pt x="0" y="21464"/>
                    <a:pt x="21464" y="0"/>
                    <a:pt x="47879" y="0"/>
                  </a:cubicBezTo>
                  <a:lnTo>
                    <a:pt x="996061" y="0"/>
                  </a:lnTo>
                  <a:cubicBezTo>
                    <a:pt x="1022478" y="0"/>
                    <a:pt x="1043941" y="21464"/>
                    <a:pt x="1043941" y="47880"/>
                  </a:cubicBezTo>
                  <a:lnTo>
                    <a:pt x="1043941" y="419990"/>
                  </a:lnTo>
                  <a:cubicBezTo>
                    <a:pt x="1043941" y="446405"/>
                    <a:pt x="1022478" y="467868"/>
                    <a:pt x="996061" y="467868"/>
                  </a:cubicBezTo>
                  <a:lnTo>
                    <a:pt x="47879" y="467868"/>
                  </a:lnTo>
                  <a:cubicBezTo>
                    <a:pt x="21464" y="467868"/>
                    <a:pt x="0" y="446405"/>
                    <a:pt x="0" y="419990"/>
                  </a:cubicBezTo>
                  <a:close/>
                  <a:moveTo>
                    <a:pt x="-2958719" y="3243072"/>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86" name="Picture 5350">
              <a:extLst>
                <a:ext uri="{FF2B5EF4-FFF2-40B4-BE49-F238E27FC236}">
                  <a16:creationId xmlns:a16="http://schemas.microsoft.com/office/drawing/2014/main" id="{F1F63C8E-08D4-4670-9EC5-95A75A39F85C}"/>
                </a:ext>
              </a:extLst>
            </p:cNvPr>
            <p:cNvPicPr>
              <a:picLocks noChangeArrowheads="1"/>
            </p:cNvPicPr>
            <p:nvPr/>
          </p:nvPicPr>
          <p:blipFill>
            <a:blip r:embed="rId125">
              <a:extLst>
                <a:ext uri="{28A0092B-C50C-407E-A947-70E740481C1C}">
                  <a14:useLocalDpi xmlns:a14="http://schemas.microsoft.com/office/drawing/2010/main" val="0"/>
                </a:ext>
              </a:extLst>
            </a:blip>
            <a:srcRect/>
            <a:stretch>
              <a:fillRect/>
            </a:stretch>
          </p:blipFill>
          <p:spPr>
            <a:xfrm>
              <a:off x="6156043" y="3880420"/>
              <a:ext cx="278695" cy="147410"/>
            </a:xfrm>
            <a:prstGeom prst="rect">
              <a:avLst/>
            </a:prstGeom>
            <a:noFill/>
          </p:spPr>
        </p:pic>
        <p:pic>
          <p:nvPicPr>
            <p:cNvPr id="187" name="Picture 5351">
              <a:extLst>
                <a:ext uri="{FF2B5EF4-FFF2-40B4-BE49-F238E27FC236}">
                  <a16:creationId xmlns:a16="http://schemas.microsoft.com/office/drawing/2014/main" id="{1C16A7C9-A80E-40CA-B6B5-0E21DF5575C6}"/>
                </a:ext>
              </a:extLst>
            </p:cNvPr>
            <p:cNvPicPr>
              <a:picLocks noChangeArrowheads="1"/>
            </p:cNvPicPr>
            <p:nvPr/>
          </p:nvPicPr>
          <p:blipFill>
            <a:blip r:embed="rId126">
              <a:extLst>
                <a:ext uri="{28A0092B-C50C-407E-A947-70E740481C1C}">
                  <a14:useLocalDpi xmlns:a14="http://schemas.microsoft.com/office/drawing/2010/main" val="0"/>
                </a:ext>
              </a:extLst>
            </a:blip>
            <a:srcRect/>
            <a:stretch>
              <a:fillRect/>
            </a:stretch>
          </p:blipFill>
          <p:spPr>
            <a:xfrm>
              <a:off x="6360574" y="3880420"/>
              <a:ext cx="97658" cy="147410"/>
            </a:xfrm>
            <a:prstGeom prst="rect">
              <a:avLst/>
            </a:prstGeom>
            <a:noFill/>
          </p:spPr>
        </p:pic>
        <p:pic>
          <p:nvPicPr>
            <p:cNvPr id="188" name="Picture 5352">
              <a:extLst>
                <a:ext uri="{FF2B5EF4-FFF2-40B4-BE49-F238E27FC236}">
                  <a16:creationId xmlns:a16="http://schemas.microsoft.com/office/drawing/2014/main" id="{E84A2464-BC97-499C-B818-EB45604F3BED}"/>
                </a:ext>
              </a:extLst>
            </p:cNvPr>
            <p:cNvPicPr>
              <a:picLocks noChangeArrowheads="1"/>
            </p:cNvPicPr>
            <p:nvPr/>
          </p:nvPicPr>
          <p:blipFill>
            <a:blip r:embed="rId127">
              <a:extLst>
                <a:ext uri="{28A0092B-C50C-407E-A947-70E740481C1C}">
                  <a14:useLocalDpi xmlns:a14="http://schemas.microsoft.com/office/drawing/2010/main" val="0"/>
                </a:ext>
              </a:extLst>
            </a:blip>
            <a:srcRect/>
            <a:stretch>
              <a:fillRect/>
            </a:stretch>
          </p:blipFill>
          <p:spPr>
            <a:xfrm>
              <a:off x="6397887" y="3880420"/>
              <a:ext cx="347103" cy="147410"/>
            </a:xfrm>
            <a:prstGeom prst="rect">
              <a:avLst/>
            </a:prstGeom>
            <a:noFill/>
          </p:spPr>
        </p:pic>
        <p:pic>
          <p:nvPicPr>
            <p:cNvPr id="189" name="Picture 5353">
              <a:extLst>
                <a:ext uri="{FF2B5EF4-FFF2-40B4-BE49-F238E27FC236}">
                  <a16:creationId xmlns:a16="http://schemas.microsoft.com/office/drawing/2014/main" id="{8E746D2F-9B99-4804-82FC-60BEE723C605}"/>
                </a:ext>
              </a:extLst>
            </p:cNvPr>
            <p:cNvPicPr>
              <a:picLocks noChangeArrowheads="1"/>
            </p:cNvPicPr>
            <p:nvPr/>
          </p:nvPicPr>
          <p:blipFill>
            <a:blip r:embed="rId128">
              <a:extLst>
                <a:ext uri="{28A0092B-C50C-407E-A947-70E740481C1C}">
                  <a14:useLocalDpi xmlns:a14="http://schemas.microsoft.com/office/drawing/2010/main" val="0"/>
                </a:ext>
              </a:extLst>
            </a:blip>
            <a:srcRect/>
            <a:stretch>
              <a:fillRect/>
            </a:stretch>
          </p:blipFill>
          <p:spPr>
            <a:xfrm>
              <a:off x="6131167" y="4004796"/>
              <a:ext cx="667454" cy="147410"/>
            </a:xfrm>
            <a:prstGeom prst="rect">
              <a:avLst/>
            </a:prstGeom>
            <a:noFill/>
          </p:spPr>
        </p:pic>
        <p:pic>
          <p:nvPicPr>
            <p:cNvPr id="190" name="Picture 5354">
              <a:extLst>
                <a:ext uri="{FF2B5EF4-FFF2-40B4-BE49-F238E27FC236}">
                  <a16:creationId xmlns:a16="http://schemas.microsoft.com/office/drawing/2014/main" id="{DBB1424A-2100-441C-9411-BA991942B028}"/>
                </a:ext>
              </a:extLst>
            </p:cNvPr>
            <p:cNvPicPr>
              <a:picLocks noChangeArrowheads="1"/>
            </p:cNvPicPr>
            <p:nvPr/>
          </p:nvPicPr>
          <p:blipFill>
            <a:blip r:embed="rId129">
              <a:extLst>
                <a:ext uri="{28A0092B-C50C-407E-A947-70E740481C1C}">
                  <a14:useLocalDpi xmlns:a14="http://schemas.microsoft.com/office/drawing/2010/main" val="0"/>
                </a:ext>
              </a:extLst>
            </a:blip>
            <a:srcRect/>
            <a:stretch>
              <a:fillRect/>
            </a:stretch>
          </p:blipFill>
          <p:spPr>
            <a:xfrm>
              <a:off x="6096618" y="4129173"/>
              <a:ext cx="704065" cy="147410"/>
            </a:xfrm>
            <a:prstGeom prst="rect">
              <a:avLst/>
            </a:prstGeom>
            <a:noFill/>
          </p:spPr>
        </p:pic>
        <p:sp>
          <p:nvSpPr>
            <p:cNvPr id="191" name="Freeform 5355">
              <a:extLst>
                <a:ext uri="{FF2B5EF4-FFF2-40B4-BE49-F238E27FC236}">
                  <a16:creationId xmlns:a16="http://schemas.microsoft.com/office/drawing/2014/main" id="{011CAAFF-946B-4AA5-87E1-0B632B92B2F0}"/>
                </a:ext>
              </a:extLst>
            </p:cNvPr>
            <p:cNvSpPr/>
            <p:nvPr/>
          </p:nvSpPr>
          <p:spPr>
            <a:xfrm>
              <a:off x="6978196" y="3865448"/>
              <a:ext cx="946646" cy="424263"/>
            </a:xfrm>
            <a:custGeom>
              <a:avLst/>
              <a:gdLst/>
              <a:ahLst/>
              <a:cxnLst/>
              <a:rect l="0" t="0" r="0" b="0"/>
              <a:pathLst>
                <a:path w="1043940" h="467868">
                  <a:moveTo>
                    <a:pt x="0" y="47880"/>
                  </a:moveTo>
                  <a:cubicBezTo>
                    <a:pt x="0" y="21464"/>
                    <a:pt x="21463" y="0"/>
                    <a:pt x="47879" y="0"/>
                  </a:cubicBezTo>
                  <a:lnTo>
                    <a:pt x="996062" y="0"/>
                  </a:lnTo>
                  <a:cubicBezTo>
                    <a:pt x="1022477" y="0"/>
                    <a:pt x="1043940" y="21464"/>
                    <a:pt x="1043940" y="47880"/>
                  </a:cubicBezTo>
                  <a:lnTo>
                    <a:pt x="1043940" y="419990"/>
                  </a:lnTo>
                  <a:cubicBezTo>
                    <a:pt x="1043940" y="446405"/>
                    <a:pt x="1022477" y="467868"/>
                    <a:pt x="996062" y="467868"/>
                  </a:cubicBezTo>
                  <a:lnTo>
                    <a:pt x="47879" y="467868"/>
                  </a:lnTo>
                  <a:cubicBezTo>
                    <a:pt x="21463" y="467868"/>
                    <a:pt x="0" y="446405"/>
                    <a:pt x="0" y="419990"/>
                  </a:cubicBezTo>
                  <a:close/>
                  <a:moveTo>
                    <a:pt x="-4089527" y="3243072"/>
                  </a:move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92" name="Picture 5356">
              <a:extLst>
                <a:ext uri="{FF2B5EF4-FFF2-40B4-BE49-F238E27FC236}">
                  <a16:creationId xmlns:a16="http://schemas.microsoft.com/office/drawing/2014/main" id="{1F61D8D4-E3A0-4BE2-87B1-24B91F693ABE}"/>
                </a:ext>
              </a:extLst>
            </p:cNvPr>
            <p:cNvPicPr>
              <a:picLocks noChangeArrowheads="1"/>
            </p:cNvPicPr>
            <p:nvPr/>
          </p:nvPicPr>
          <p:blipFill>
            <a:blip r:embed="rId130">
              <a:extLst>
                <a:ext uri="{28A0092B-C50C-407E-A947-70E740481C1C}">
                  <a14:useLocalDpi xmlns:a14="http://schemas.microsoft.com/office/drawing/2010/main" val="0"/>
                </a:ext>
              </a:extLst>
            </a:blip>
            <a:srcRect/>
            <a:stretch>
              <a:fillRect/>
            </a:stretch>
          </p:blipFill>
          <p:spPr>
            <a:xfrm>
              <a:off x="7197238" y="3942607"/>
              <a:ext cx="585492" cy="147410"/>
            </a:xfrm>
            <a:prstGeom prst="rect">
              <a:avLst/>
            </a:prstGeom>
            <a:noFill/>
          </p:spPr>
        </p:pic>
        <p:pic>
          <p:nvPicPr>
            <p:cNvPr id="193" name="Picture 5357">
              <a:extLst>
                <a:ext uri="{FF2B5EF4-FFF2-40B4-BE49-F238E27FC236}">
                  <a16:creationId xmlns:a16="http://schemas.microsoft.com/office/drawing/2014/main" id="{310CA3BB-7AF8-44A4-9849-1077B60A0A1E}"/>
                </a:ext>
              </a:extLst>
            </p:cNvPr>
            <p:cNvPicPr>
              <a:picLocks noChangeArrowheads="1"/>
            </p:cNvPicPr>
            <p:nvPr/>
          </p:nvPicPr>
          <p:blipFill>
            <a:blip r:embed="rId131">
              <a:extLst>
                <a:ext uri="{28A0092B-C50C-407E-A947-70E740481C1C}">
                  <a14:useLocalDpi xmlns:a14="http://schemas.microsoft.com/office/drawing/2010/main" val="0"/>
                </a:ext>
              </a:extLst>
            </a:blip>
            <a:srcRect/>
            <a:stretch>
              <a:fillRect/>
            </a:stretch>
          </p:blipFill>
          <p:spPr>
            <a:xfrm>
              <a:off x="7064569" y="4066984"/>
              <a:ext cx="829996" cy="147410"/>
            </a:xfrm>
            <a:prstGeom prst="rect">
              <a:avLst/>
            </a:prstGeom>
            <a:noFill/>
          </p:spPr>
        </p:pic>
        <p:sp>
          <p:nvSpPr>
            <p:cNvPr id="194" name="Freeform 5358">
              <a:extLst>
                <a:ext uri="{FF2B5EF4-FFF2-40B4-BE49-F238E27FC236}">
                  <a16:creationId xmlns:a16="http://schemas.microsoft.com/office/drawing/2014/main" id="{C183ABE3-67C7-4753-9849-67A154E64342}"/>
                </a:ext>
              </a:extLst>
            </p:cNvPr>
            <p:cNvSpPr/>
            <p:nvPr/>
          </p:nvSpPr>
          <p:spPr>
            <a:xfrm>
              <a:off x="8004997" y="3366560"/>
              <a:ext cx="946646" cy="424263"/>
            </a:xfrm>
            <a:custGeom>
              <a:avLst/>
              <a:gdLst/>
              <a:ahLst/>
              <a:cxnLst/>
              <a:rect l="0" t="0" r="0" b="0"/>
              <a:pathLst>
                <a:path w="1043940" h="467868">
                  <a:moveTo>
                    <a:pt x="0" y="47878"/>
                  </a:moveTo>
                  <a:cubicBezTo>
                    <a:pt x="0" y="21463"/>
                    <a:pt x="21463" y="0"/>
                    <a:pt x="47879" y="0"/>
                  </a:cubicBezTo>
                  <a:lnTo>
                    <a:pt x="996061" y="0"/>
                  </a:lnTo>
                  <a:cubicBezTo>
                    <a:pt x="1022477" y="0"/>
                    <a:pt x="1043940" y="21463"/>
                    <a:pt x="1043940" y="47878"/>
                  </a:cubicBezTo>
                  <a:lnTo>
                    <a:pt x="1043940" y="419989"/>
                  </a:lnTo>
                  <a:cubicBezTo>
                    <a:pt x="1043940" y="446405"/>
                    <a:pt x="1022477" y="467868"/>
                    <a:pt x="996061" y="467868"/>
                  </a:cubicBezTo>
                  <a:lnTo>
                    <a:pt x="47879" y="467868"/>
                  </a:lnTo>
                  <a:cubicBezTo>
                    <a:pt x="21463" y="467868"/>
                    <a:pt x="0" y="446405"/>
                    <a:pt x="0" y="419989"/>
                  </a:cubicBezTo>
                  <a:close/>
                  <a:moveTo>
                    <a:pt x="-4671695" y="3793235"/>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95" name="Picture 5359">
              <a:extLst>
                <a:ext uri="{FF2B5EF4-FFF2-40B4-BE49-F238E27FC236}">
                  <a16:creationId xmlns:a16="http://schemas.microsoft.com/office/drawing/2014/main" id="{4ED6A201-A579-49A0-85CE-F3AC4A280E9E}"/>
                </a:ext>
              </a:extLst>
            </p:cNvPr>
            <p:cNvPicPr>
              <a:picLocks noChangeArrowheads="1"/>
            </p:cNvPicPr>
            <p:nvPr/>
          </p:nvPicPr>
          <p:blipFill>
            <a:blip r:embed="rId132">
              <a:extLst>
                <a:ext uri="{28A0092B-C50C-407E-A947-70E740481C1C}">
                  <a14:useLocalDpi xmlns:a14="http://schemas.microsoft.com/office/drawing/2010/main" val="0"/>
                </a:ext>
              </a:extLst>
            </a:blip>
            <a:srcRect/>
            <a:stretch>
              <a:fillRect/>
            </a:stretch>
          </p:blipFill>
          <p:spPr>
            <a:xfrm>
              <a:off x="8200775" y="3443719"/>
              <a:ext cx="633906" cy="147409"/>
            </a:xfrm>
            <a:prstGeom prst="rect">
              <a:avLst/>
            </a:prstGeom>
            <a:noFill/>
          </p:spPr>
        </p:pic>
        <p:pic>
          <p:nvPicPr>
            <p:cNvPr id="196" name="Picture 5360">
              <a:extLst>
                <a:ext uri="{FF2B5EF4-FFF2-40B4-BE49-F238E27FC236}">
                  <a16:creationId xmlns:a16="http://schemas.microsoft.com/office/drawing/2014/main" id="{EE4F8166-F272-45FA-B207-B4C9FCD79A5E}"/>
                </a:ext>
              </a:extLst>
            </p:cNvPr>
            <p:cNvPicPr>
              <a:picLocks noChangeArrowheads="1"/>
            </p:cNvPicPr>
            <p:nvPr/>
          </p:nvPicPr>
          <p:blipFill>
            <a:blip r:embed="rId133">
              <a:extLst>
                <a:ext uri="{28A0092B-C50C-407E-A947-70E740481C1C}">
                  <a14:useLocalDpi xmlns:a14="http://schemas.microsoft.com/office/drawing/2010/main" val="0"/>
                </a:ext>
              </a:extLst>
            </a:blip>
            <a:srcRect/>
            <a:stretch>
              <a:fillRect/>
            </a:stretch>
          </p:blipFill>
          <p:spPr>
            <a:xfrm>
              <a:off x="8215977" y="3568096"/>
              <a:ext cx="576670" cy="147409"/>
            </a:xfrm>
            <a:prstGeom prst="rect">
              <a:avLst/>
            </a:prstGeom>
            <a:noFill/>
          </p:spPr>
        </p:pic>
        <p:sp>
          <p:nvSpPr>
            <p:cNvPr id="197" name="Freeform 5361">
              <a:extLst>
                <a:ext uri="{FF2B5EF4-FFF2-40B4-BE49-F238E27FC236}">
                  <a16:creationId xmlns:a16="http://schemas.microsoft.com/office/drawing/2014/main" id="{13884E00-7741-40BA-A4F7-5C9670A09074}"/>
                </a:ext>
              </a:extLst>
            </p:cNvPr>
            <p:cNvSpPr/>
            <p:nvPr/>
          </p:nvSpPr>
          <p:spPr>
            <a:xfrm>
              <a:off x="8004997" y="3865448"/>
              <a:ext cx="946646" cy="424263"/>
            </a:xfrm>
            <a:custGeom>
              <a:avLst/>
              <a:gdLst/>
              <a:ahLst/>
              <a:cxnLst/>
              <a:rect l="0" t="0" r="0" b="0"/>
              <a:pathLst>
                <a:path w="1043940" h="467868">
                  <a:moveTo>
                    <a:pt x="0" y="47880"/>
                  </a:moveTo>
                  <a:cubicBezTo>
                    <a:pt x="0" y="21464"/>
                    <a:pt x="21463" y="0"/>
                    <a:pt x="47879" y="0"/>
                  </a:cubicBezTo>
                  <a:lnTo>
                    <a:pt x="996061" y="0"/>
                  </a:lnTo>
                  <a:cubicBezTo>
                    <a:pt x="1022477" y="0"/>
                    <a:pt x="1043940" y="21464"/>
                    <a:pt x="1043940" y="47880"/>
                  </a:cubicBezTo>
                  <a:lnTo>
                    <a:pt x="1043940" y="419990"/>
                  </a:lnTo>
                  <a:cubicBezTo>
                    <a:pt x="1043940" y="446405"/>
                    <a:pt x="1022477" y="467868"/>
                    <a:pt x="996061" y="467868"/>
                  </a:cubicBezTo>
                  <a:lnTo>
                    <a:pt x="47879" y="467868"/>
                  </a:lnTo>
                  <a:cubicBezTo>
                    <a:pt x="21463" y="467868"/>
                    <a:pt x="0" y="446405"/>
                    <a:pt x="0" y="419990"/>
                  </a:cubicBezTo>
                  <a:close/>
                  <a:moveTo>
                    <a:pt x="-5221860" y="3243072"/>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98" name="Picture 5362">
              <a:extLst>
                <a:ext uri="{FF2B5EF4-FFF2-40B4-BE49-F238E27FC236}">
                  <a16:creationId xmlns:a16="http://schemas.microsoft.com/office/drawing/2014/main" id="{C8405427-285F-4845-B789-C12EC6D66FB1}"/>
                </a:ext>
              </a:extLst>
            </p:cNvPr>
            <p:cNvPicPr>
              <a:picLocks noChangeArrowheads="1"/>
            </p:cNvPicPr>
            <p:nvPr/>
          </p:nvPicPr>
          <p:blipFill>
            <a:blip r:embed="rId134">
              <a:extLst>
                <a:ext uri="{28A0092B-C50C-407E-A947-70E740481C1C}">
                  <a14:useLocalDpi xmlns:a14="http://schemas.microsoft.com/office/drawing/2010/main" val="0"/>
                </a:ext>
              </a:extLst>
            </a:blip>
            <a:srcRect/>
            <a:stretch>
              <a:fillRect/>
            </a:stretch>
          </p:blipFill>
          <p:spPr>
            <a:xfrm>
              <a:off x="8163462" y="3880420"/>
              <a:ext cx="700000" cy="147410"/>
            </a:xfrm>
            <a:prstGeom prst="rect">
              <a:avLst/>
            </a:prstGeom>
            <a:noFill/>
          </p:spPr>
        </p:pic>
        <p:pic>
          <p:nvPicPr>
            <p:cNvPr id="199" name="Picture 5363">
              <a:extLst>
                <a:ext uri="{FF2B5EF4-FFF2-40B4-BE49-F238E27FC236}">
                  <a16:creationId xmlns:a16="http://schemas.microsoft.com/office/drawing/2014/main" id="{860254C8-38AE-4242-95A6-3FBF50170EE1}"/>
                </a:ext>
              </a:extLst>
            </p:cNvPr>
            <p:cNvPicPr>
              <a:picLocks noChangeArrowheads="1"/>
            </p:cNvPicPr>
            <p:nvPr/>
          </p:nvPicPr>
          <p:blipFill>
            <a:blip r:embed="rId135">
              <a:extLst>
                <a:ext uri="{28A0092B-C50C-407E-A947-70E740481C1C}">
                  <a14:useLocalDpi xmlns:a14="http://schemas.microsoft.com/office/drawing/2010/main" val="0"/>
                </a:ext>
              </a:extLst>
            </a:blip>
            <a:srcRect/>
            <a:stretch>
              <a:fillRect/>
            </a:stretch>
          </p:blipFill>
          <p:spPr>
            <a:xfrm>
              <a:off x="8294748" y="4004796"/>
              <a:ext cx="439694" cy="147410"/>
            </a:xfrm>
            <a:prstGeom prst="rect">
              <a:avLst/>
            </a:prstGeom>
            <a:noFill/>
          </p:spPr>
        </p:pic>
        <p:pic>
          <p:nvPicPr>
            <p:cNvPr id="200" name="Picture 5364">
              <a:extLst>
                <a:ext uri="{FF2B5EF4-FFF2-40B4-BE49-F238E27FC236}">
                  <a16:creationId xmlns:a16="http://schemas.microsoft.com/office/drawing/2014/main" id="{41F603CD-66FF-4832-BF26-69DF793F7522}"/>
                </a:ext>
              </a:extLst>
            </p:cNvPr>
            <p:cNvPicPr>
              <a:picLocks noChangeArrowheads="1"/>
            </p:cNvPicPr>
            <p:nvPr/>
          </p:nvPicPr>
          <p:blipFill>
            <a:blip r:embed="rId136">
              <a:extLst>
                <a:ext uri="{28A0092B-C50C-407E-A947-70E740481C1C}">
                  <a14:useLocalDpi xmlns:a14="http://schemas.microsoft.com/office/drawing/2010/main" val="0"/>
                </a:ext>
              </a:extLst>
            </a:blip>
            <a:srcRect/>
            <a:stretch>
              <a:fillRect/>
            </a:stretch>
          </p:blipFill>
          <p:spPr>
            <a:xfrm>
              <a:off x="8256053" y="4129173"/>
              <a:ext cx="493212" cy="147410"/>
            </a:xfrm>
            <a:prstGeom prst="rect">
              <a:avLst/>
            </a:prstGeom>
            <a:noFill/>
          </p:spPr>
        </p:pic>
        <p:sp>
          <p:nvSpPr>
            <p:cNvPr id="201" name="Freeform 5365">
              <a:extLst>
                <a:ext uri="{FF2B5EF4-FFF2-40B4-BE49-F238E27FC236}">
                  <a16:creationId xmlns:a16="http://schemas.microsoft.com/office/drawing/2014/main" id="{38AB3C6D-3B7A-4276-B474-701ED57CF21C}"/>
                </a:ext>
              </a:extLst>
            </p:cNvPr>
            <p:cNvSpPr/>
            <p:nvPr/>
          </p:nvSpPr>
          <p:spPr>
            <a:xfrm>
              <a:off x="5952779" y="4361575"/>
              <a:ext cx="946647" cy="424262"/>
            </a:xfrm>
            <a:custGeom>
              <a:avLst/>
              <a:gdLst/>
              <a:ahLst/>
              <a:cxnLst/>
              <a:rect l="0" t="0" r="0" b="0"/>
              <a:pathLst>
                <a:path w="1043941" h="467867">
                  <a:moveTo>
                    <a:pt x="0" y="47879"/>
                  </a:moveTo>
                  <a:cubicBezTo>
                    <a:pt x="0" y="21463"/>
                    <a:pt x="21464" y="0"/>
                    <a:pt x="47879" y="0"/>
                  </a:cubicBezTo>
                  <a:lnTo>
                    <a:pt x="996061" y="0"/>
                  </a:lnTo>
                  <a:cubicBezTo>
                    <a:pt x="1022478" y="0"/>
                    <a:pt x="1043941" y="21463"/>
                    <a:pt x="1043941" y="47879"/>
                  </a:cubicBezTo>
                  <a:lnTo>
                    <a:pt x="1043941" y="419988"/>
                  </a:lnTo>
                  <a:cubicBezTo>
                    <a:pt x="1043941" y="446404"/>
                    <a:pt x="1022478" y="467867"/>
                    <a:pt x="996061" y="467867"/>
                  </a:cubicBezTo>
                  <a:lnTo>
                    <a:pt x="47879" y="467867"/>
                  </a:lnTo>
                  <a:cubicBezTo>
                    <a:pt x="21464" y="467867"/>
                    <a:pt x="0" y="446404"/>
                    <a:pt x="0" y="419988"/>
                  </a:cubicBezTo>
                  <a:close/>
                  <a:moveTo>
                    <a:pt x="-3505835" y="2695955"/>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02" name="Picture 5366">
              <a:extLst>
                <a:ext uri="{FF2B5EF4-FFF2-40B4-BE49-F238E27FC236}">
                  <a16:creationId xmlns:a16="http://schemas.microsoft.com/office/drawing/2014/main" id="{6E187CC6-4453-4AE2-91F9-94AB054BB5C1}"/>
                </a:ext>
              </a:extLst>
            </p:cNvPr>
            <p:cNvPicPr>
              <a:picLocks noChangeArrowheads="1"/>
            </p:cNvPicPr>
            <p:nvPr/>
          </p:nvPicPr>
          <p:blipFill>
            <a:blip r:embed="rId137">
              <a:extLst>
                <a:ext uri="{28A0092B-C50C-407E-A947-70E740481C1C}">
                  <a14:useLocalDpi xmlns:a14="http://schemas.microsoft.com/office/drawing/2010/main" val="0"/>
                </a:ext>
              </a:extLst>
            </a:blip>
            <a:srcRect/>
            <a:stretch>
              <a:fillRect/>
            </a:stretch>
          </p:blipFill>
          <p:spPr>
            <a:xfrm>
              <a:off x="6284565" y="4439309"/>
              <a:ext cx="355165" cy="147410"/>
            </a:xfrm>
            <a:prstGeom prst="rect">
              <a:avLst/>
            </a:prstGeom>
            <a:noFill/>
          </p:spPr>
        </p:pic>
        <p:pic>
          <p:nvPicPr>
            <p:cNvPr id="203" name="Picture 5367">
              <a:extLst>
                <a:ext uri="{FF2B5EF4-FFF2-40B4-BE49-F238E27FC236}">
                  <a16:creationId xmlns:a16="http://schemas.microsoft.com/office/drawing/2014/main" id="{A26977E9-DEFE-44AE-B002-EEF06E5F0F99}"/>
                </a:ext>
              </a:extLst>
            </p:cNvPr>
            <p:cNvPicPr>
              <a:picLocks noChangeArrowheads="1"/>
            </p:cNvPicPr>
            <p:nvPr/>
          </p:nvPicPr>
          <p:blipFill>
            <a:blip r:embed="rId138">
              <a:extLst>
                <a:ext uri="{28A0092B-C50C-407E-A947-70E740481C1C}">
                  <a14:useLocalDpi xmlns:a14="http://schemas.microsoft.com/office/drawing/2010/main" val="0"/>
                </a:ext>
              </a:extLst>
            </a:blip>
            <a:srcRect/>
            <a:stretch>
              <a:fillRect/>
            </a:stretch>
          </p:blipFill>
          <p:spPr>
            <a:xfrm>
              <a:off x="6208557" y="4563686"/>
              <a:ext cx="483688" cy="147410"/>
            </a:xfrm>
            <a:prstGeom prst="rect">
              <a:avLst/>
            </a:prstGeom>
            <a:noFill/>
          </p:spPr>
        </p:pic>
        <p:sp>
          <p:nvSpPr>
            <p:cNvPr id="204" name="Freeform 5368">
              <a:extLst>
                <a:ext uri="{FF2B5EF4-FFF2-40B4-BE49-F238E27FC236}">
                  <a16:creationId xmlns:a16="http://schemas.microsoft.com/office/drawing/2014/main" id="{84A00BAB-97A1-4409-91BE-334344245519}"/>
                </a:ext>
              </a:extLst>
            </p:cNvPr>
            <p:cNvSpPr/>
            <p:nvPr/>
          </p:nvSpPr>
          <p:spPr>
            <a:xfrm>
              <a:off x="6978196" y="4361575"/>
              <a:ext cx="946646" cy="424262"/>
            </a:xfrm>
            <a:custGeom>
              <a:avLst/>
              <a:gdLst/>
              <a:ahLst/>
              <a:cxnLst/>
              <a:rect l="0" t="0" r="0" b="0"/>
              <a:pathLst>
                <a:path w="1043940" h="467867">
                  <a:moveTo>
                    <a:pt x="0" y="47879"/>
                  </a:moveTo>
                  <a:cubicBezTo>
                    <a:pt x="0" y="21463"/>
                    <a:pt x="21463" y="0"/>
                    <a:pt x="47879" y="0"/>
                  </a:cubicBezTo>
                  <a:lnTo>
                    <a:pt x="996062" y="0"/>
                  </a:lnTo>
                  <a:cubicBezTo>
                    <a:pt x="1022477" y="0"/>
                    <a:pt x="1043940" y="21463"/>
                    <a:pt x="1043940" y="47879"/>
                  </a:cubicBezTo>
                  <a:lnTo>
                    <a:pt x="1043940" y="419988"/>
                  </a:lnTo>
                  <a:cubicBezTo>
                    <a:pt x="1043940" y="446404"/>
                    <a:pt x="1022477" y="467867"/>
                    <a:pt x="996062" y="467867"/>
                  </a:cubicBezTo>
                  <a:lnTo>
                    <a:pt x="47879" y="467867"/>
                  </a:lnTo>
                  <a:cubicBezTo>
                    <a:pt x="21463" y="467867"/>
                    <a:pt x="0" y="446404"/>
                    <a:pt x="0" y="419988"/>
                  </a:cubicBezTo>
                  <a:close/>
                  <a:moveTo>
                    <a:pt x="-4636643" y="2695955"/>
                  </a:move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05" name="Picture 5369">
              <a:extLst>
                <a:ext uri="{FF2B5EF4-FFF2-40B4-BE49-F238E27FC236}">
                  <a16:creationId xmlns:a16="http://schemas.microsoft.com/office/drawing/2014/main" id="{69163C9E-11A9-4EBC-928C-937C42C88E8F}"/>
                </a:ext>
              </a:extLst>
            </p:cNvPr>
            <p:cNvPicPr>
              <a:picLocks noChangeArrowheads="1"/>
            </p:cNvPicPr>
            <p:nvPr/>
          </p:nvPicPr>
          <p:blipFill>
            <a:blip r:embed="rId139">
              <a:extLst>
                <a:ext uri="{28A0092B-C50C-407E-A947-70E740481C1C}">
                  <a14:useLocalDpi xmlns:a14="http://schemas.microsoft.com/office/drawing/2010/main" val="0"/>
                </a:ext>
              </a:extLst>
            </a:blip>
            <a:srcRect/>
            <a:stretch>
              <a:fillRect/>
            </a:stretch>
          </p:blipFill>
          <p:spPr>
            <a:xfrm>
              <a:off x="7128140" y="4439309"/>
              <a:ext cx="309790" cy="147410"/>
            </a:xfrm>
            <a:prstGeom prst="rect">
              <a:avLst/>
            </a:prstGeom>
            <a:noFill/>
          </p:spPr>
        </p:pic>
        <p:pic>
          <p:nvPicPr>
            <p:cNvPr id="206" name="Picture 5370">
              <a:extLst>
                <a:ext uri="{FF2B5EF4-FFF2-40B4-BE49-F238E27FC236}">
                  <a16:creationId xmlns:a16="http://schemas.microsoft.com/office/drawing/2014/main" id="{457E2A77-E5D4-4237-9D15-DB3DB06AC152}"/>
                </a:ext>
              </a:extLst>
            </p:cNvPr>
            <p:cNvPicPr>
              <a:picLocks noChangeArrowheads="1"/>
            </p:cNvPicPr>
            <p:nvPr/>
          </p:nvPicPr>
          <p:blipFill>
            <a:blip r:embed="rId140">
              <a:extLst>
                <a:ext uri="{28A0092B-C50C-407E-A947-70E740481C1C}">
                  <a14:useLocalDpi xmlns:a14="http://schemas.microsoft.com/office/drawing/2010/main" val="0"/>
                </a:ext>
              </a:extLst>
            </a:blip>
            <a:srcRect/>
            <a:stretch>
              <a:fillRect/>
            </a:stretch>
          </p:blipFill>
          <p:spPr>
            <a:xfrm>
              <a:off x="7357546" y="4439309"/>
              <a:ext cx="97658" cy="147410"/>
            </a:xfrm>
            <a:prstGeom prst="rect">
              <a:avLst/>
            </a:prstGeom>
            <a:noFill/>
          </p:spPr>
        </p:pic>
        <p:pic>
          <p:nvPicPr>
            <p:cNvPr id="207" name="Picture 5371">
              <a:extLst>
                <a:ext uri="{FF2B5EF4-FFF2-40B4-BE49-F238E27FC236}">
                  <a16:creationId xmlns:a16="http://schemas.microsoft.com/office/drawing/2014/main" id="{D647571D-4CEF-4437-9FA0-4855FFA25F33}"/>
                </a:ext>
              </a:extLst>
            </p:cNvPr>
            <p:cNvPicPr>
              <a:picLocks noChangeArrowheads="1"/>
            </p:cNvPicPr>
            <p:nvPr/>
          </p:nvPicPr>
          <p:blipFill>
            <a:blip r:embed="rId141">
              <a:extLst>
                <a:ext uri="{28A0092B-C50C-407E-A947-70E740481C1C}">
                  <a14:useLocalDpi xmlns:a14="http://schemas.microsoft.com/office/drawing/2010/main" val="0"/>
                </a:ext>
              </a:extLst>
            </a:blip>
            <a:srcRect/>
            <a:stretch>
              <a:fillRect/>
            </a:stretch>
          </p:blipFill>
          <p:spPr>
            <a:xfrm>
              <a:off x="7394859" y="4439309"/>
              <a:ext cx="454516" cy="147410"/>
            </a:xfrm>
            <a:prstGeom prst="rect">
              <a:avLst/>
            </a:prstGeom>
            <a:noFill/>
          </p:spPr>
        </p:pic>
        <p:pic>
          <p:nvPicPr>
            <p:cNvPr id="208" name="Picture 5372">
              <a:extLst>
                <a:ext uri="{FF2B5EF4-FFF2-40B4-BE49-F238E27FC236}">
                  <a16:creationId xmlns:a16="http://schemas.microsoft.com/office/drawing/2014/main" id="{CFE47D72-9CF4-47B0-BDE2-84BEF5DD52F3}"/>
                </a:ext>
              </a:extLst>
            </p:cNvPr>
            <p:cNvPicPr>
              <a:picLocks noChangeArrowheads="1"/>
            </p:cNvPicPr>
            <p:nvPr/>
          </p:nvPicPr>
          <p:blipFill>
            <a:blip r:embed="rId142">
              <a:extLst>
                <a:ext uri="{28A0092B-C50C-407E-A947-70E740481C1C}">
                  <a14:useLocalDpi xmlns:a14="http://schemas.microsoft.com/office/drawing/2010/main" val="0"/>
                </a:ext>
              </a:extLst>
            </a:blip>
            <a:srcRect/>
            <a:stretch>
              <a:fillRect/>
            </a:stretch>
          </p:blipFill>
          <p:spPr>
            <a:xfrm>
              <a:off x="7298122" y="4563686"/>
              <a:ext cx="358389" cy="147410"/>
            </a:xfrm>
            <a:prstGeom prst="rect">
              <a:avLst/>
            </a:prstGeom>
            <a:noFill/>
          </p:spPr>
        </p:pic>
        <p:sp>
          <p:nvSpPr>
            <p:cNvPr id="209" name="Freeform 5373">
              <a:extLst>
                <a:ext uri="{FF2B5EF4-FFF2-40B4-BE49-F238E27FC236}">
                  <a16:creationId xmlns:a16="http://schemas.microsoft.com/office/drawing/2014/main" id="{949D83F7-3D89-45B3-80DD-6C270A162FBA}"/>
                </a:ext>
              </a:extLst>
            </p:cNvPr>
            <p:cNvSpPr/>
            <p:nvPr/>
          </p:nvSpPr>
          <p:spPr>
            <a:xfrm>
              <a:off x="8004997" y="4361575"/>
              <a:ext cx="946646" cy="424262"/>
            </a:xfrm>
            <a:custGeom>
              <a:avLst/>
              <a:gdLst/>
              <a:ahLst/>
              <a:cxnLst/>
              <a:rect l="0" t="0" r="0" b="0"/>
              <a:pathLst>
                <a:path w="1043940" h="467867">
                  <a:moveTo>
                    <a:pt x="0" y="47879"/>
                  </a:moveTo>
                  <a:cubicBezTo>
                    <a:pt x="0" y="21463"/>
                    <a:pt x="21463" y="0"/>
                    <a:pt x="47879" y="0"/>
                  </a:cubicBezTo>
                  <a:lnTo>
                    <a:pt x="996061" y="0"/>
                  </a:lnTo>
                  <a:cubicBezTo>
                    <a:pt x="1022477" y="0"/>
                    <a:pt x="1043940" y="21463"/>
                    <a:pt x="1043940" y="47879"/>
                  </a:cubicBezTo>
                  <a:lnTo>
                    <a:pt x="1043940" y="419988"/>
                  </a:lnTo>
                  <a:cubicBezTo>
                    <a:pt x="1043940" y="446404"/>
                    <a:pt x="1022477" y="467867"/>
                    <a:pt x="996061" y="467867"/>
                  </a:cubicBezTo>
                  <a:lnTo>
                    <a:pt x="47879" y="467867"/>
                  </a:lnTo>
                  <a:cubicBezTo>
                    <a:pt x="21463" y="467867"/>
                    <a:pt x="0" y="446404"/>
                    <a:pt x="0" y="419988"/>
                  </a:cubicBezTo>
                  <a:close/>
                  <a:moveTo>
                    <a:pt x="-5768976" y="2695955"/>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10" name="Picture 5374">
              <a:extLst>
                <a:ext uri="{FF2B5EF4-FFF2-40B4-BE49-F238E27FC236}">
                  <a16:creationId xmlns:a16="http://schemas.microsoft.com/office/drawing/2014/main" id="{848DBFF1-F8E4-4584-A63A-2A627C37E8CD}"/>
                </a:ext>
              </a:extLst>
            </p:cNvPr>
            <p:cNvPicPr>
              <a:picLocks noChangeArrowheads="1"/>
            </p:cNvPicPr>
            <p:nvPr/>
          </p:nvPicPr>
          <p:blipFill>
            <a:blip r:embed="rId143">
              <a:extLst>
                <a:ext uri="{28A0092B-C50C-407E-A947-70E740481C1C}">
                  <a14:useLocalDpi xmlns:a14="http://schemas.microsoft.com/office/drawing/2010/main" val="0"/>
                </a:ext>
              </a:extLst>
            </a:blip>
            <a:srcRect/>
            <a:stretch>
              <a:fillRect/>
            </a:stretch>
          </p:blipFill>
          <p:spPr>
            <a:xfrm>
              <a:off x="8271256" y="4439309"/>
              <a:ext cx="482421" cy="147410"/>
            </a:xfrm>
            <a:prstGeom prst="rect">
              <a:avLst/>
            </a:prstGeom>
            <a:noFill/>
          </p:spPr>
        </p:pic>
        <p:pic>
          <p:nvPicPr>
            <p:cNvPr id="211" name="Picture 5375">
              <a:extLst>
                <a:ext uri="{FF2B5EF4-FFF2-40B4-BE49-F238E27FC236}">
                  <a16:creationId xmlns:a16="http://schemas.microsoft.com/office/drawing/2014/main" id="{5DDA3D5F-8627-46EB-8154-7A42BB86CB4E}"/>
                </a:ext>
              </a:extLst>
            </p:cNvPr>
            <p:cNvPicPr>
              <a:picLocks noChangeArrowheads="1"/>
            </p:cNvPicPr>
            <p:nvPr/>
          </p:nvPicPr>
          <p:blipFill>
            <a:blip r:embed="rId144">
              <a:extLst>
                <a:ext uri="{28A0092B-C50C-407E-A947-70E740481C1C}">
                  <a14:useLocalDpi xmlns:a14="http://schemas.microsoft.com/office/drawing/2010/main" val="0"/>
                </a:ext>
              </a:extLst>
            </a:blip>
            <a:srcRect/>
            <a:stretch>
              <a:fillRect/>
            </a:stretch>
          </p:blipFill>
          <p:spPr>
            <a:xfrm>
              <a:off x="8225650" y="4563686"/>
              <a:ext cx="584156" cy="147410"/>
            </a:xfrm>
            <a:prstGeom prst="rect">
              <a:avLst/>
            </a:prstGeom>
            <a:noFill/>
          </p:spPr>
        </p:pic>
        <p:sp>
          <p:nvSpPr>
            <p:cNvPr id="212" name="Freeform 5376">
              <a:extLst>
                <a:ext uri="{FF2B5EF4-FFF2-40B4-BE49-F238E27FC236}">
                  <a16:creationId xmlns:a16="http://schemas.microsoft.com/office/drawing/2014/main" id="{75902DEC-3CBB-43FE-9A6B-6E5A0B0342B5}"/>
                </a:ext>
              </a:extLst>
            </p:cNvPr>
            <p:cNvSpPr/>
            <p:nvPr/>
          </p:nvSpPr>
          <p:spPr>
            <a:xfrm>
              <a:off x="5955543" y="3023832"/>
              <a:ext cx="946647" cy="261191"/>
            </a:xfrm>
            <a:custGeom>
              <a:avLst/>
              <a:gdLst/>
              <a:ahLst/>
              <a:cxnLst/>
              <a:rect l="0" t="0" r="0" b="0"/>
              <a:pathLst>
                <a:path w="1043941" h="288036">
                  <a:moveTo>
                    <a:pt x="0" y="29465"/>
                  </a:moveTo>
                  <a:cubicBezTo>
                    <a:pt x="0" y="13209"/>
                    <a:pt x="13208" y="0"/>
                    <a:pt x="29464" y="0"/>
                  </a:cubicBezTo>
                  <a:lnTo>
                    <a:pt x="1014476" y="0"/>
                  </a:lnTo>
                  <a:cubicBezTo>
                    <a:pt x="1030733" y="0"/>
                    <a:pt x="1043941" y="13209"/>
                    <a:pt x="1043941" y="29465"/>
                  </a:cubicBezTo>
                  <a:lnTo>
                    <a:pt x="1043941" y="258573"/>
                  </a:lnTo>
                  <a:cubicBezTo>
                    <a:pt x="1043941" y="274829"/>
                    <a:pt x="1030733" y="288036"/>
                    <a:pt x="1014476" y="288036"/>
                  </a:cubicBezTo>
                  <a:lnTo>
                    <a:pt x="29464" y="288036"/>
                  </a:lnTo>
                  <a:cubicBezTo>
                    <a:pt x="13208" y="288036"/>
                    <a:pt x="0" y="274829"/>
                    <a:pt x="0" y="258573"/>
                  </a:cubicBezTo>
                  <a:close/>
                  <a:moveTo>
                    <a:pt x="-2015236" y="4171188"/>
                  </a:moveTo>
                </a:path>
              </a:pathLst>
            </a:custGeom>
            <a:solidFill>
              <a:srgbClr val="7FD1D6"/>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13" name="Picture 5377">
              <a:extLst>
                <a:ext uri="{FF2B5EF4-FFF2-40B4-BE49-F238E27FC236}">
                  <a16:creationId xmlns:a16="http://schemas.microsoft.com/office/drawing/2014/main" id="{1E07D72C-B3BB-4BFD-BB58-452DCFA7392A}"/>
                </a:ext>
              </a:extLst>
            </p:cNvPr>
            <p:cNvPicPr>
              <a:picLocks noChangeArrowheads="1"/>
            </p:cNvPicPr>
            <p:nvPr/>
          </p:nvPicPr>
          <p:blipFill>
            <a:blip r:embed="rId145">
              <a:extLst>
                <a:ext uri="{28A0092B-C50C-407E-A947-70E740481C1C}">
                  <a14:useLocalDpi xmlns:a14="http://schemas.microsoft.com/office/drawing/2010/main" val="0"/>
                </a:ext>
              </a:extLst>
            </a:blip>
            <a:srcRect/>
            <a:stretch>
              <a:fillRect/>
            </a:stretch>
          </p:blipFill>
          <p:spPr>
            <a:xfrm>
              <a:off x="6075544" y="3074503"/>
              <a:ext cx="764111" cy="161229"/>
            </a:xfrm>
            <a:prstGeom prst="rect">
              <a:avLst/>
            </a:prstGeom>
            <a:solidFill>
              <a:srgbClr val="7FD1D6"/>
            </a:solidFill>
          </p:spPr>
        </p:pic>
        <p:sp>
          <p:nvSpPr>
            <p:cNvPr id="214" name="Freeform 5378">
              <a:extLst>
                <a:ext uri="{FF2B5EF4-FFF2-40B4-BE49-F238E27FC236}">
                  <a16:creationId xmlns:a16="http://schemas.microsoft.com/office/drawing/2014/main" id="{C3D4F137-88A6-4B8E-B6A3-5BB06D7C41F6}"/>
                </a:ext>
              </a:extLst>
            </p:cNvPr>
            <p:cNvSpPr/>
            <p:nvPr/>
          </p:nvSpPr>
          <p:spPr>
            <a:xfrm>
              <a:off x="6969905" y="3023832"/>
              <a:ext cx="946646" cy="261191"/>
            </a:xfrm>
            <a:custGeom>
              <a:avLst/>
              <a:gdLst/>
              <a:ahLst/>
              <a:cxnLst/>
              <a:rect l="0" t="0" r="0" b="0"/>
              <a:pathLst>
                <a:path w="1043940" h="288036">
                  <a:moveTo>
                    <a:pt x="0" y="29465"/>
                  </a:moveTo>
                  <a:cubicBezTo>
                    <a:pt x="0" y="13209"/>
                    <a:pt x="13207" y="0"/>
                    <a:pt x="29464" y="0"/>
                  </a:cubicBezTo>
                  <a:lnTo>
                    <a:pt x="1014476" y="0"/>
                  </a:lnTo>
                  <a:cubicBezTo>
                    <a:pt x="1030731" y="0"/>
                    <a:pt x="1043940" y="13209"/>
                    <a:pt x="1043940" y="29465"/>
                  </a:cubicBezTo>
                  <a:lnTo>
                    <a:pt x="1043940" y="258573"/>
                  </a:lnTo>
                  <a:cubicBezTo>
                    <a:pt x="1043940" y="274829"/>
                    <a:pt x="1030731" y="288036"/>
                    <a:pt x="1014476" y="288036"/>
                  </a:cubicBezTo>
                  <a:lnTo>
                    <a:pt x="29464" y="288036"/>
                  </a:lnTo>
                  <a:cubicBezTo>
                    <a:pt x="13207" y="288036"/>
                    <a:pt x="0" y="274829"/>
                    <a:pt x="0" y="258573"/>
                  </a:cubicBezTo>
                  <a:close/>
                  <a:moveTo>
                    <a:pt x="-3133853" y="4171188"/>
                  </a:moveTo>
                </a:path>
              </a:pathLst>
            </a:custGeom>
            <a:solidFill>
              <a:srgbClr val="7FD1D6"/>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15" name="Picture 5379">
              <a:extLst>
                <a:ext uri="{FF2B5EF4-FFF2-40B4-BE49-F238E27FC236}">
                  <a16:creationId xmlns:a16="http://schemas.microsoft.com/office/drawing/2014/main" id="{AD8C29BA-AF78-4101-B434-398CCFB63EFE}"/>
                </a:ext>
              </a:extLst>
            </p:cNvPr>
            <p:cNvPicPr>
              <a:picLocks noChangeArrowheads="1"/>
            </p:cNvPicPr>
            <p:nvPr/>
          </p:nvPicPr>
          <p:blipFill>
            <a:blip r:embed="rId146">
              <a:extLst>
                <a:ext uri="{28A0092B-C50C-407E-A947-70E740481C1C}">
                  <a14:useLocalDpi xmlns:a14="http://schemas.microsoft.com/office/drawing/2010/main" val="0"/>
                </a:ext>
              </a:extLst>
            </a:blip>
            <a:srcRect/>
            <a:stretch>
              <a:fillRect/>
            </a:stretch>
          </p:blipFill>
          <p:spPr>
            <a:xfrm>
              <a:off x="7190329" y="3074503"/>
              <a:ext cx="561998" cy="161229"/>
            </a:xfrm>
            <a:prstGeom prst="rect">
              <a:avLst/>
            </a:prstGeom>
            <a:solidFill>
              <a:srgbClr val="7FD1D6"/>
            </a:solidFill>
          </p:spPr>
        </p:pic>
        <p:sp>
          <p:nvSpPr>
            <p:cNvPr id="216" name="Freeform 5380">
              <a:extLst>
                <a:ext uri="{FF2B5EF4-FFF2-40B4-BE49-F238E27FC236}">
                  <a16:creationId xmlns:a16="http://schemas.microsoft.com/office/drawing/2014/main" id="{CAEECDE5-A675-444E-9D8B-68A2844C06AF}"/>
                </a:ext>
              </a:extLst>
            </p:cNvPr>
            <p:cNvSpPr/>
            <p:nvPr/>
          </p:nvSpPr>
          <p:spPr>
            <a:xfrm>
              <a:off x="7999469" y="3023832"/>
              <a:ext cx="946645" cy="261191"/>
            </a:xfrm>
            <a:custGeom>
              <a:avLst/>
              <a:gdLst/>
              <a:ahLst/>
              <a:cxnLst/>
              <a:rect l="0" t="0" r="0" b="0"/>
              <a:pathLst>
                <a:path w="1043939" h="288036">
                  <a:moveTo>
                    <a:pt x="0" y="29465"/>
                  </a:moveTo>
                  <a:cubicBezTo>
                    <a:pt x="0" y="13209"/>
                    <a:pt x="13208" y="0"/>
                    <a:pt x="29463" y="0"/>
                  </a:cubicBezTo>
                  <a:lnTo>
                    <a:pt x="1014475" y="0"/>
                  </a:lnTo>
                  <a:cubicBezTo>
                    <a:pt x="1030732" y="0"/>
                    <a:pt x="1043939" y="13209"/>
                    <a:pt x="1043939" y="29465"/>
                  </a:cubicBezTo>
                  <a:lnTo>
                    <a:pt x="1043939" y="258573"/>
                  </a:lnTo>
                  <a:cubicBezTo>
                    <a:pt x="1043939" y="274829"/>
                    <a:pt x="1030732" y="288036"/>
                    <a:pt x="1014475" y="288036"/>
                  </a:cubicBezTo>
                  <a:lnTo>
                    <a:pt x="29463" y="288036"/>
                  </a:lnTo>
                  <a:cubicBezTo>
                    <a:pt x="13208" y="288036"/>
                    <a:pt x="0" y="274829"/>
                    <a:pt x="0" y="258573"/>
                  </a:cubicBezTo>
                  <a:close/>
                  <a:moveTo>
                    <a:pt x="-4269233" y="4171188"/>
                  </a:moveTo>
                </a:path>
              </a:pathLst>
            </a:custGeom>
            <a:solidFill>
              <a:srgbClr val="7FD1D6"/>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17" name="Picture 5381">
              <a:extLst>
                <a:ext uri="{FF2B5EF4-FFF2-40B4-BE49-F238E27FC236}">
                  <a16:creationId xmlns:a16="http://schemas.microsoft.com/office/drawing/2014/main" id="{C52059AC-9F81-4694-81CD-12102191217A}"/>
                </a:ext>
              </a:extLst>
            </p:cNvPr>
            <p:cNvPicPr>
              <a:picLocks noChangeArrowheads="1"/>
            </p:cNvPicPr>
            <p:nvPr/>
          </p:nvPicPr>
          <p:blipFill>
            <a:blip r:embed="rId147">
              <a:extLst>
                <a:ext uri="{28A0092B-C50C-407E-A947-70E740481C1C}">
                  <a14:useLocalDpi xmlns:a14="http://schemas.microsoft.com/office/drawing/2010/main" val="0"/>
                </a:ext>
              </a:extLst>
            </a:blip>
            <a:srcRect/>
            <a:stretch>
              <a:fillRect/>
            </a:stretch>
          </p:blipFill>
          <p:spPr>
            <a:xfrm>
              <a:off x="8287263" y="3074503"/>
              <a:ext cx="429330" cy="161229"/>
            </a:xfrm>
            <a:prstGeom prst="rect">
              <a:avLst/>
            </a:prstGeom>
            <a:solidFill>
              <a:srgbClr val="7FD1D6"/>
            </a:solidFill>
          </p:spPr>
        </p:pic>
        <p:sp>
          <p:nvSpPr>
            <p:cNvPr id="218" name="Freeform 5382">
              <a:extLst>
                <a:ext uri="{FF2B5EF4-FFF2-40B4-BE49-F238E27FC236}">
                  <a16:creationId xmlns:a16="http://schemas.microsoft.com/office/drawing/2014/main" id="{91202805-5D38-4F63-9160-0433AA5007C9}"/>
                </a:ext>
              </a:extLst>
            </p:cNvPr>
            <p:cNvSpPr/>
            <p:nvPr/>
          </p:nvSpPr>
          <p:spPr>
            <a:xfrm>
              <a:off x="4927361" y="3366560"/>
              <a:ext cx="946647" cy="424263"/>
            </a:xfrm>
            <a:custGeom>
              <a:avLst/>
              <a:gdLst/>
              <a:ahLst/>
              <a:cxnLst/>
              <a:rect l="0" t="0" r="0" b="0"/>
              <a:pathLst>
                <a:path w="1043941" h="467868">
                  <a:moveTo>
                    <a:pt x="0" y="47878"/>
                  </a:moveTo>
                  <a:cubicBezTo>
                    <a:pt x="0" y="21463"/>
                    <a:pt x="21463" y="0"/>
                    <a:pt x="47880" y="0"/>
                  </a:cubicBezTo>
                  <a:lnTo>
                    <a:pt x="996062" y="0"/>
                  </a:lnTo>
                  <a:cubicBezTo>
                    <a:pt x="1022477" y="0"/>
                    <a:pt x="1043941" y="21463"/>
                    <a:pt x="1043941" y="47878"/>
                  </a:cubicBezTo>
                  <a:lnTo>
                    <a:pt x="1043941" y="419989"/>
                  </a:lnTo>
                  <a:cubicBezTo>
                    <a:pt x="1043941" y="446405"/>
                    <a:pt x="1022477" y="467868"/>
                    <a:pt x="996062" y="467868"/>
                  </a:cubicBezTo>
                  <a:lnTo>
                    <a:pt x="47880" y="467868"/>
                  </a:lnTo>
                  <a:cubicBezTo>
                    <a:pt x="21463" y="467868"/>
                    <a:pt x="0" y="446405"/>
                    <a:pt x="0" y="419989"/>
                  </a:cubicBezTo>
                  <a:close/>
                  <a:moveTo>
                    <a:pt x="-1277746" y="3793235"/>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19" name="Picture 5383">
              <a:extLst>
                <a:ext uri="{FF2B5EF4-FFF2-40B4-BE49-F238E27FC236}">
                  <a16:creationId xmlns:a16="http://schemas.microsoft.com/office/drawing/2014/main" id="{3F124313-9A7A-4380-BFE5-2669B4F3EE3E}"/>
                </a:ext>
              </a:extLst>
            </p:cNvPr>
            <p:cNvPicPr>
              <a:picLocks noChangeArrowheads="1"/>
            </p:cNvPicPr>
            <p:nvPr/>
          </p:nvPicPr>
          <p:blipFill>
            <a:blip r:embed="rId148">
              <a:extLst>
                <a:ext uri="{28A0092B-C50C-407E-A947-70E740481C1C}">
                  <a14:useLocalDpi xmlns:a14="http://schemas.microsoft.com/office/drawing/2010/main" val="0"/>
                </a:ext>
              </a:extLst>
            </a:blip>
            <a:srcRect/>
            <a:stretch>
              <a:fillRect/>
            </a:stretch>
          </p:blipFill>
          <p:spPr>
            <a:xfrm>
              <a:off x="5094119" y="3505908"/>
              <a:ext cx="658529" cy="147409"/>
            </a:xfrm>
            <a:prstGeom prst="rect">
              <a:avLst/>
            </a:prstGeom>
            <a:noFill/>
          </p:spPr>
        </p:pic>
        <p:sp>
          <p:nvSpPr>
            <p:cNvPr id="220" name="Freeform 5384">
              <a:extLst>
                <a:ext uri="{FF2B5EF4-FFF2-40B4-BE49-F238E27FC236}">
                  <a16:creationId xmlns:a16="http://schemas.microsoft.com/office/drawing/2014/main" id="{50A1540A-717B-4733-AB0D-CAA4614E5CBE}"/>
                </a:ext>
              </a:extLst>
            </p:cNvPr>
            <p:cNvSpPr/>
            <p:nvPr/>
          </p:nvSpPr>
          <p:spPr>
            <a:xfrm>
              <a:off x="4927361" y="3865448"/>
              <a:ext cx="946647" cy="424263"/>
            </a:xfrm>
            <a:custGeom>
              <a:avLst/>
              <a:gdLst/>
              <a:ahLst/>
              <a:cxnLst/>
              <a:rect l="0" t="0" r="0" b="0"/>
              <a:pathLst>
                <a:path w="1043941" h="467868">
                  <a:moveTo>
                    <a:pt x="0" y="47880"/>
                  </a:moveTo>
                  <a:cubicBezTo>
                    <a:pt x="0" y="21464"/>
                    <a:pt x="21463" y="0"/>
                    <a:pt x="47880" y="0"/>
                  </a:cubicBezTo>
                  <a:lnTo>
                    <a:pt x="996062" y="0"/>
                  </a:lnTo>
                  <a:cubicBezTo>
                    <a:pt x="1022477" y="0"/>
                    <a:pt x="1043941" y="21464"/>
                    <a:pt x="1043941" y="47880"/>
                  </a:cubicBezTo>
                  <a:lnTo>
                    <a:pt x="1043941" y="419990"/>
                  </a:lnTo>
                  <a:cubicBezTo>
                    <a:pt x="1043941" y="446405"/>
                    <a:pt x="1022477" y="467868"/>
                    <a:pt x="996062" y="467868"/>
                  </a:cubicBezTo>
                  <a:lnTo>
                    <a:pt x="47880" y="467868"/>
                  </a:lnTo>
                  <a:cubicBezTo>
                    <a:pt x="21463" y="467868"/>
                    <a:pt x="0" y="446405"/>
                    <a:pt x="0" y="419990"/>
                  </a:cubicBezTo>
                  <a:close/>
                  <a:moveTo>
                    <a:pt x="-1827911" y="3243072"/>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21" name="Picture 5385">
              <a:extLst>
                <a:ext uri="{FF2B5EF4-FFF2-40B4-BE49-F238E27FC236}">
                  <a16:creationId xmlns:a16="http://schemas.microsoft.com/office/drawing/2014/main" id="{2B7FE284-E89B-4A75-B1C6-707F628845E6}"/>
                </a:ext>
              </a:extLst>
            </p:cNvPr>
            <p:cNvPicPr>
              <a:picLocks noChangeArrowheads="1"/>
            </p:cNvPicPr>
            <p:nvPr/>
          </p:nvPicPr>
          <p:blipFill>
            <a:blip r:embed="rId149">
              <a:extLst>
                <a:ext uri="{28A0092B-C50C-407E-A947-70E740481C1C}">
                  <a14:useLocalDpi xmlns:a14="http://schemas.microsoft.com/office/drawing/2010/main" val="0"/>
                </a:ext>
              </a:extLst>
            </a:blip>
            <a:srcRect/>
            <a:stretch>
              <a:fillRect/>
            </a:stretch>
          </p:blipFill>
          <p:spPr>
            <a:xfrm>
              <a:off x="5044367" y="3942607"/>
              <a:ext cx="318220" cy="147410"/>
            </a:xfrm>
            <a:prstGeom prst="rect">
              <a:avLst/>
            </a:prstGeom>
            <a:noFill/>
          </p:spPr>
        </p:pic>
        <p:pic>
          <p:nvPicPr>
            <p:cNvPr id="222" name="Picture 5386">
              <a:extLst>
                <a:ext uri="{FF2B5EF4-FFF2-40B4-BE49-F238E27FC236}">
                  <a16:creationId xmlns:a16="http://schemas.microsoft.com/office/drawing/2014/main" id="{2B9D5A04-6CB5-46D0-A602-C5F779907103}"/>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5290357" y="3942607"/>
              <a:ext cx="97659" cy="147410"/>
            </a:xfrm>
            <a:prstGeom prst="rect">
              <a:avLst/>
            </a:prstGeom>
            <a:noFill/>
          </p:spPr>
        </p:pic>
        <p:pic>
          <p:nvPicPr>
            <p:cNvPr id="223" name="Picture 5387">
              <a:extLst>
                <a:ext uri="{FF2B5EF4-FFF2-40B4-BE49-F238E27FC236}">
                  <a16:creationId xmlns:a16="http://schemas.microsoft.com/office/drawing/2014/main" id="{38005CB3-6C05-4565-8BA3-C0D69443997E}"/>
                </a:ext>
              </a:extLst>
            </p:cNvPr>
            <p:cNvPicPr>
              <a:picLocks noChangeArrowheads="1"/>
            </p:cNvPicPr>
            <p:nvPr/>
          </p:nvPicPr>
          <p:blipFill>
            <a:blip r:embed="rId150">
              <a:extLst>
                <a:ext uri="{28A0092B-C50C-407E-A947-70E740481C1C}">
                  <a14:useLocalDpi xmlns:a14="http://schemas.microsoft.com/office/drawing/2010/main" val="0"/>
                </a:ext>
              </a:extLst>
            </a:blip>
            <a:srcRect/>
            <a:stretch>
              <a:fillRect/>
            </a:stretch>
          </p:blipFill>
          <p:spPr>
            <a:xfrm>
              <a:off x="5327669" y="3942607"/>
              <a:ext cx="494916" cy="147410"/>
            </a:xfrm>
            <a:prstGeom prst="rect">
              <a:avLst/>
            </a:prstGeom>
            <a:noFill/>
          </p:spPr>
        </p:pic>
        <p:pic>
          <p:nvPicPr>
            <p:cNvPr id="224" name="Picture 5388">
              <a:extLst>
                <a:ext uri="{FF2B5EF4-FFF2-40B4-BE49-F238E27FC236}">
                  <a16:creationId xmlns:a16="http://schemas.microsoft.com/office/drawing/2014/main" id="{37BBBFF8-4CF9-45B5-9BA8-60F46D193690}"/>
                </a:ext>
              </a:extLst>
            </p:cNvPr>
            <p:cNvPicPr>
              <a:picLocks noChangeArrowheads="1"/>
            </p:cNvPicPr>
            <p:nvPr/>
          </p:nvPicPr>
          <p:blipFill>
            <a:blip r:embed="rId151">
              <a:extLst>
                <a:ext uri="{28A0092B-C50C-407E-A947-70E740481C1C}">
                  <a14:useLocalDpi xmlns:a14="http://schemas.microsoft.com/office/drawing/2010/main" val="0"/>
                </a:ext>
              </a:extLst>
            </a:blip>
            <a:srcRect/>
            <a:stretch>
              <a:fillRect/>
            </a:stretch>
          </p:blipFill>
          <p:spPr>
            <a:xfrm>
              <a:off x="5181182" y="4066984"/>
              <a:ext cx="500006" cy="147410"/>
            </a:xfrm>
            <a:prstGeom prst="rect">
              <a:avLst/>
            </a:prstGeom>
            <a:noFill/>
          </p:spPr>
        </p:pic>
        <p:sp>
          <p:nvSpPr>
            <p:cNvPr id="225" name="Freeform 5389">
              <a:extLst>
                <a:ext uri="{FF2B5EF4-FFF2-40B4-BE49-F238E27FC236}">
                  <a16:creationId xmlns:a16="http://schemas.microsoft.com/office/drawing/2014/main" id="{138D9C34-CA97-4121-8010-6EE6226C057B}"/>
                </a:ext>
              </a:extLst>
            </p:cNvPr>
            <p:cNvSpPr/>
            <p:nvPr/>
          </p:nvSpPr>
          <p:spPr>
            <a:xfrm>
              <a:off x="4927361" y="4361575"/>
              <a:ext cx="946647" cy="424262"/>
            </a:xfrm>
            <a:custGeom>
              <a:avLst/>
              <a:gdLst/>
              <a:ahLst/>
              <a:cxnLst/>
              <a:rect l="0" t="0" r="0" b="0"/>
              <a:pathLst>
                <a:path w="1043941" h="467867">
                  <a:moveTo>
                    <a:pt x="0" y="47879"/>
                  </a:moveTo>
                  <a:cubicBezTo>
                    <a:pt x="0" y="21463"/>
                    <a:pt x="21463" y="0"/>
                    <a:pt x="47880" y="0"/>
                  </a:cubicBezTo>
                  <a:lnTo>
                    <a:pt x="996062" y="0"/>
                  </a:lnTo>
                  <a:cubicBezTo>
                    <a:pt x="1022477" y="0"/>
                    <a:pt x="1043941" y="21463"/>
                    <a:pt x="1043941" y="47879"/>
                  </a:cubicBezTo>
                  <a:lnTo>
                    <a:pt x="1043941" y="419988"/>
                  </a:lnTo>
                  <a:cubicBezTo>
                    <a:pt x="1043941" y="446404"/>
                    <a:pt x="1022477" y="467867"/>
                    <a:pt x="996062" y="467867"/>
                  </a:cubicBezTo>
                  <a:lnTo>
                    <a:pt x="47880" y="467867"/>
                  </a:lnTo>
                  <a:cubicBezTo>
                    <a:pt x="21463" y="467867"/>
                    <a:pt x="0" y="446404"/>
                    <a:pt x="0" y="419988"/>
                  </a:cubicBezTo>
                  <a:close/>
                  <a:moveTo>
                    <a:pt x="-2375027" y="2695955"/>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26" name="Picture 5390">
              <a:extLst>
                <a:ext uri="{FF2B5EF4-FFF2-40B4-BE49-F238E27FC236}">
                  <a16:creationId xmlns:a16="http://schemas.microsoft.com/office/drawing/2014/main" id="{E1BFA53B-FFC4-4DFE-AD0E-58A87B227F9D}"/>
                </a:ext>
              </a:extLst>
            </p:cNvPr>
            <p:cNvPicPr>
              <a:picLocks noChangeArrowheads="1"/>
            </p:cNvPicPr>
            <p:nvPr/>
          </p:nvPicPr>
          <p:blipFill>
            <a:blip r:embed="rId152">
              <a:extLst>
                <a:ext uri="{28A0092B-C50C-407E-A947-70E740481C1C}">
                  <a14:useLocalDpi xmlns:a14="http://schemas.microsoft.com/office/drawing/2010/main" val="0"/>
                </a:ext>
              </a:extLst>
            </a:blip>
            <a:srcRect/>
            <a:stretch>
              <a:fillRect/>
            </a:stretch>
          </p:blipFill>
          <p:spPr>
            <a:xfrm>
              <a:off x="5240607" y="4376614"/>
              <a:ext cx="392604" cy="147685"/>
            </a:xfrm>
            <a:prstGeom prst="rect">
              <a:avLst/>
            </a:prstGeom>
            <a:noFill/>
          </p:spPr>
        </p:pic>
        <p:pic>
          <p:nvPicPr>
            <p:cNvPr id="227" name="Picture 5391">
              <a:extLst>
                <a:ext uri="{FF2B5EF4-FFF2-40B4-BE49-F238E27FC236}">
                  <a16:creationId xmlns:a16="http://schemas.microsoft.com/office/drawing/2014/main" id="{5B647214-E58E-4E62-A429-1D7224EAE230}"/>
                </a:ext>
              </a:extLst>
            </p:cNvPr>
            <p:cNvPicPr>
              <a:picLocks noChangeArrowheads="1"/>
            </p:cNvPicPr>
            <p:nvPr/>
          </p:nvPicPr>
          <p:blipFill>
            <a:blip r:embed="rId153">
              <a:extLst>
                <a:ext uri="{28A0092B-C50C-407E-A947-70E740481C1C}">
                  <a14:useLocalDpi xmlns:a14="http://schemas.microsoft.com/office/drawing/2010/main" val="0"/>
                </a:ext>
              </a:extLst>
            </a:blip>
            <a:srcRect/>
            <a:stretch>
              <a:fillRect/>
            </a:stretch>
          </p:blipFill>
          <p:spPr>
            <a:xfrm>
              <a:off x="5148014" y="4501497"/>
              <a:ext cx="583857" cy="147410"/>
            </a:xfrm>
            <a:prstGeom prst="rect">
              <a:avLst/>
            </a:prstGeom>
            <a:noFill/>
          </p:spPr>
        </p:pic>
        <p:pic>
          <p:nvPicPr>
            <p:cNvPr id="228" name="Picture 5392">
              <a:extLst>
                <a:ext uri="{FF2B5EF4-FFF2-40B4-BE49-F238E27FC236}">
                  <a16:creationId xmlns:a16="http://schemas.microsoft.com/office/drawing/2014/main" id="{700AC1C7-29F4-42F0-AFEC-15D86EE5D87C}"/>
                </a:ext>
              </a:extLst>
            </p:cNvPr>
            <p:cNvPicPr>
              <a:picLocks noChangeArrowheads="1"/>
            </p:cNvPicPr>
            <p:nvPr/>
          </p:nvPicPr>
          <p:blipFill>
            <a:blip r:embed="rId154">
              <a:extLst>
                <a:ext uri="{28A0092B-C50C-407E-A947-70E740481C1C}">
                  <a14:useLocalDpi xmlns:a14="http://schemas.microsoft.com/office/drawing/2010/main" val="0"/>
                </a:ext>
              </a:extLst>
            </a:blip>
            <a:srcRect/>
            <a:stretch>
              <a:fillRect/>
            </a:stretch>
          </p:blipFill>
          <p:spPr>
            <a:xfrm>
              <a:off x="5098263" y="4625874"/>
              <a:ext cx="664540" cy="147410"/>
            </a:xfrm>
            <a:prstGeom prst="rect">
              <a:avLst/>
            </a:prstGeom>
            <a:noFill/>
          </p:spPr>
        </p:pic>
        <p:sp>
          <p:nvSpPr>
            <p:cNvPr id="229" name="Freeform 5393">
              <a:extLst>
                <a:ext uri="{FF2B5EF4-FFF2-40B4-BE49-F238E27FC236}">
                  <a16:creationId xmlns:a16="http://schemas.microsoft.com/office/drawing/2014/main" id="{E08FD8C8-A744-4413-8830-D02222EC4805}"/>
                </a:ext>
              </a:extLst>
            </p:cNvPr>
            <p:cNvSpPr/>
            <p:nvPr/>
          </p:nvSpPr>
          <p:spPr>
            <a:xfrm>
              <a:off x="824308" y="3366560"/>
              <a:ext cx="946646" cy="424263"/>
            </a:xfrm>
            <a:custGeom>
              <a:avLst/>
              <a:gdLst/>
              <a:ahLst/>
              <a:cxnLst/>
              <a:rect l="0" t="0" r="0" b="0"/>
              <a:pathLst>
                <a:path w="1043940" h="467868">
                  <a:moveTo>
                    <a:pt x="0" y="47878"/>
                  </a:moveTo>
                  <a:cubicBezTo>
                    <a:pt x="0" y="21463"/>
                    <a:pt x="21424" y="0"/>
                    <a:pt x="47853" y="0"/>
                  </a:cubicBezTo>
                  <a:lnTo>
                    <a:pt x="996060" y="0"/>
                  </a:lnTo>
                  <a:cubicBezTo>
                    <a:pt x="1022477" y="0"/>
                    <a:pt x="1043940" y="21463"/>
                    <a:pt x="1043940" y="47878"/>
                  </a:cubicBezTo>
                  <a:lnTo>
                    <a:pt x="1043940" y="419989"/>
                  </a:lnTo>
                  <a:cubicBezTo>
                    <a:pt x="1043940" y="446405"/>
                    <a:pt x="1022477" y="467868"/>
                    <a:pt x="996060" y="467868"/>
                  </a:cubicBezTo>
                  <a:lnTo>
                    <a:pt x="47853" y="467868"/>
                  </a:lnTo>
                  <a:cubicBezTo>
                    <a:pt x="21424" y="467868"/>
                    <a:pt x="0" y="446405"/>
                    <a:pt x="0" y="419989"/>
                  </a:cubicBezTo>
                  <a:close/>
                  <a:moveTo>
                    <a:pt x="3247009" y="3793235"/>
                  </a:move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30" name="Picture 5394">
              <a:extLst>
                <a:ext uri="{FF2B5EF4-FFF2-40B4-BE49-F238E27FC236}">
                  <a16:creationId xmlns:a16="http://schemas.microsoft.com/office/drawing/2014/main" id="{76356FA4-6001-40CA-AFF2-EBBCEC99505E}"/>
                </a:ext>
              </a:extLst>
            </p:cNvPr>
            <p:cNvPicPr>
              <a:picLocks noChangeArrowheads="1"/>
            </p:cNvPicPr>
            <p:nvPr/>
          </p:nvPicPr>
          <p:blipFill>
            <a:blip r:embed="rId155">
              <a:extLst>
                <a:ext uri="{28A0092B-C50C-407E-A947-70E740481C1C}">
                  <a14:useLocalDpi xmlns:a14="http://schemas.microsoft.com/office/drawing/2010/main" val="0"/>
                </a:ext>
              </a:extLst>
            </a:blip>
            <a:srcRect/>
            <a:stretch>
              <a:fillRect/>
            </a:stretch>
          </p:blipFill>
          <p:spPr>
            <a:xfrm>
              <a:off x="1011242" y="3443719"/>
              <a:ext cx="646137" cy="147409"/>
            </a:xfrm>
            <a:prstGeom prst="rect">
              <a:avLst/>
            </a:prstGeom>
            <a:noFill/>
          </p:spPr>
        </p:pic>
        <p:pic>
          <p:nvPicPr>
            <p:cNvPr id="231" name="Picture 5395">
              <a:extLst>
                <a:ext uri="{FF2B5EF4-FFF2-40B4-BE49-F238E27FC236}">
                  <a16:creationId xmlns:a16="http://schemas.microsoft.com/office/drawing/2014/main" id="{2DD30613-73FC-43D3-93CD-183597A1C9BA}"/>
                </a:ext>
              </a:extLst>
            </p:cNvPr>
            <p:cNvPicPr>
              <a:picLocks noChangeArrowheads="1"/>
            </p:cNvPicPr>
            <p:nvPr/>
          </p:nvPicPr>
          <p:blipFill>
            <a:blip r:embed="rId156">
              <a:extLst>
                <a:ext uri="{28A0092B-C50C-407E-A947-70E740481C1C}">
                  <a14:useLocalDpi xmlns:a14="http://schemas.microsoft.com/office/drawing/2010/main" val="0"/>
                </a:ext>
              </a:extLst>
            </a:blip>
            <a:srcRect/>
            <a:stretch>
              <a:fillRect/>
            </a:stretch>
          </p:blipFill>
          <p:spPr>
            <a:xfrm>
              <a:off x="1012623" y="3568096"/>
              <a:ext cx="616195" cy="147409"/>
            </a:xfrm>
            <a:prstGeom prst="rect">
              <a:avLst/>
            </a:prstGeom>
            <a:noFill/>
          </p:spPr>
        </p:pic>
        <p:sp>
          <p:nvSpPr>
            <p:cNvPr id="232" name="Freeform 5396">
              <a:extLst>
                <a:ext uri="{FF2B5EF4-FFF2-40B4-BE49-F238E27FC236}">
                  <a16:creationId xmlns:a16="http://schemas.microsoft.com/office/drawing/2014/main" id="{03AEA4F2-76E9-4C80-B227-4ADD60DE4576}"/>
                </a:ext>
              </a:extLst>
            </p:cNvPr>
            <p:cNvSpPr/>
            <p:nvPr/>
          </p:nvSpPr>
          <p:spPr>
            <a:xfrm>
              <a:off x="824308" y="3865448"/>
              <a:ext cx="946646" cy="424263"/>
            </a:xfrm>
            <a:custGeom>
              <a:avLst/>
              <a:gdLst/>
              <a:ahLst/>
              <a:cxnLst/>
              <a:rect l="0" t="0" r="0" b="0"/>
              <a:pathLst>
                <a:path w="1043940" h="467868">
                  <a:moveTo>
                    <a:pt x="0" y="47880"/>
                  </a:moveTo>
                  <a:cubicBezTo>
                    <a:pt x="0" y="21464"/>
                    <a:pt x="21424" y="0"/>
                    <a:pt x="47853" y="0"/>
                  </a:cubicBezTo>
                  <a:lnTo>
                    <a:pt x="996060" y="0"/>
                  </a:lnTo>
                  <a:cubicBezTo>
                    <a:pt x="1022477" y="0"/>
                    <a:pt x="1043940" y="21464"/>
                    <a:pt x="1043940" y="47880"/>
                  </a:cubicBezTo>
                  <a:lnTo>
                    <a:pt x="1043940" y="419990"/>
                  </a:lnTo>
                  <a:cubicBezTo>
                    <a:pt x="1043940" y="446405"/>
                    <a:pt x="1022477" y="467868"/>
                    <a:pt x="996060" y="467868"/>
                  </a:cubicBezTo>
                  <a:lnTo>
                    <a:pt x="47853" y="467868"/>
                  </a:lnTo>
                  <a:cubicBezTo>
                    <a:pt x="21424" y="467868"/>
                    <a:pt x="0" y="446405"/>
                    <a:pt x="0" y="419990"/>
                  </a:cubicBezTo>
                  <a:close/>
                  <a:moveTo>
                    <a:pt x="2696844" y="3243072"/>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33" name="Picture 5397">
              <a:extLst>
                <a:ext uri="{FF2B5EF4-FFF2-40B4-BE49-F238E27FC236}">
                  <a16:creationId xmlns:a16="http://schemas.microsoft.com/office/drawing/2014/main" id="{18A8E43F-7DB1-4FC3-9FE5-EE57A049C425}"/>
                </a:ext>
              </a:extLst>
            </p:cNvPr>
            <p:cNvPicPr>
              <a:picLocks noChangeArrowheads="1"/>
            </p:cNvPicPr>
            <p:nvPr/>
          </p:nvPicPr>
          <p:blipFill>
            <a:blip r:embed="rId157">
              <a:extLst>
                <a:ext uri="{28A0092B-C50C-407E-A947-70E740481C1C}">
                  <a14:useLocalDpi xmlns:a14="http://schemas.microsoft.com/office/drawing/2010/main" val="0"/>
                </a:ext>
              </a:extLst>
            </a:blip>
            <a:srcRect/>
            <a:stretch>
              <a:fillRect/>
            </a:stretch>
          </p:blipFill>
          <p:spPr>
            <a:xfrm>
              <a:off x="1029208" y="3942607"/>
              <a:ext cx="608709" cy="147410"/>
            </a:xfrm>
            <a:prstGeom prst="rect">
              <a:avLst/>
            </a:prstGeom>
            <a:noFill/>
          </p:spPr>
        </p:pic>
        <p:pic>
          <p:nvPicPr>
            <p:cNvPr id="234" name="Picture 5398">
              <a:extLst>
                <a:ext uri="{FF2B5EF4-FFF2-40B4-BE49-F238E27FC236}">
                  <a16:creationId xmlns:a16="http://schemas.microsoft.com/office/drawing/2014/main" id="{EE10DEE2-C58F-42A7-9213-B184B064F6C8}"/>
                </a:ext>
              </a:extLst>
            </p:cNvPr>
            <p:cNvPicPr>
              <a:picLocks noChangeArrowheads="1"/>
            </p:cNvPicPr>
            <p:nvPr/>
          </p:nvPicPr>
          <p:blipFill>
            <a:blip r:embed="rId158">
              <a:extLst>
                <a:ext uri="{28A0092B-C50C-407E-A947-70E740481C1C}">
                  <a14:useLocalDpi xmlns:a14="http://schemas.microsoft.com/office/drawing/2010/main" val="0"/>
                </a:ext>
              </a:extLst>
            </a:blip>
            <a:srcRect/>
            <a:stretch>
              <a:fillRect/>
            </a:stretch>
          </p:blipFill>
          <p:spPr>
            <a:xfrm>
              <a:off x="1114889" y="4066984"/>
              <a:ext cx="407046" cy="147410"/>
            </a:xfrm>
            <a:prstGeom prst="rect">
              <a:avLst/>
            </a:prstGeom>
            <a:noFill/>
          </p:spPr>
        </p:pic>
        <p:sp>
          <p:nvSpPr>
            <p:cNvPr id="235" name="Freeform 5399">
              <a:extLst>
                <a:ext uri="{FF2B5EF4-FFF2-40B4-BE49-F238E27FC236}">
                  <a16:creationId xmlns:a16="http://schemas.microsoft.com/office/drawing/2014/main" id="{5B7F7659-36B2-4399-A7D4-AC6576D1E60A}"/>
                </a:ext>
              </a:extLst>
            </p:cNvPr>
            <p:cNvSpPr/>
            <p:nvPr/>
          </p:nvSpPr>
          <p:spPr>
            <a:xfrm>
              <a:off x="824308" y="4361575"/>
              <a:ext cx="946646" cy="424262"/>
            </a:xfrm>
            <a:custGeom>
              <a:avLst/>
              <a:gdLst/>
              <a:ahLst/>
              <a:cxnLst/>
              <a:rect l="0" t="0" r="0" b="0"/>
              <a:pathLst>
                <a:path w="1043940" h="467867">
                  <a:moveTo>
                    <a:pt x="0" y="47879"/>
                  </a:moveTo>
                  <a:cubicBezTo>
                    <a:pt x="0" y="21463"/>
                    <a:pt x="21424" y="0"/>
                    <a:pt x="47853" y="0"/>
                  </a:cubicBezTo>
                  <a:lnTo>
                    <a:pt x="996060" y="0"/>
                  </a:lnTo>
                  <a:cubicBezTo>
                    <a:pt x="1022477" y="0"/>
                    <a:pt x="1043940" y="21463"/>
                    <a:pt x="1043940" y="47879"/>
                  </a:cubicBezTo>
                  <a:lnTo>
                    <a:pt x="1043940" y="419988"/>
                  </a:lnTo>
                  <a:cubicBezTo>
                    <a:pt x="1043940" y="446404"/>
                    <a:pt x="1022477" y="467867"/>
                    <a:pt x="996060" y="467867"/>
                  </a:cubicBezTo>
                  <a:lnTo>
                    <a:pt x="47853" y="467867"/>
                  </a:lnTo>
                  <a:cubicBezTo>
                    <a:pt x="21424" y="467867"/>
                    <a:pt x="0" y="446404"/>
                    <a:pt x="0" y="419988"/>
                  </a:cubicBezTo>
                  <a:close/>
                  <a:moveTo>
                    <a:pt x="2149728" y="2695955"/>
                  </a:move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36" name="Picture 5400">
              <a:extLst>
                <a:ext uri="{FF2B5EF4-FFF2-40B4-BE49-F238E27FC236}">
                  <a16:creationId xmlns:a16="http://schemas.microsoft.com/office/drawing/2014/main" id="{B0F497FD-E5B0-4599-81E9-75224D3E4086}"/>
                </a:ext>
              </a:extLst>
            </p:cNvPr>
            <p:cNvPicPr>
              <a:picLocks noChangeArrowheads="1"/>
            </p:cNvPicPr>
            <p:nvPr/>
          </p:nvPicPr>
          <p:blipFill>
            <a:blip r:embed="rId159">
              <a:extLst>
                <a:ext uri="{28A0092B-C50C-407E-A947-70E740481C1C}">
                  <a14:useLocalDpi xmlns:a14="http://schemas.microsoft.com/office/drawing/2010/main" val="0"/>
                </a:ext>
              </a:extLst>
            </a:blip>
            <a:srcRect/>
            <a:stretch>
              <a:fillRect/>
            </a:stretch>
          </p:blipFill>
          <p:spPr>
            <a:xfrm>
              <a:off x="1026443" y="4439309"/>
              <a:ext cx="278696" cy="147410"/>
            </a:xfrm>
            <a:prstGeom prst="rect">
              <a:avLst/>
            </a:prstGeom>
            <a:noFill/>
          </p:spPr>
        </p:pic>
        <p:pic>
          <p:nvPicPr>
            <p:cNvPr id="237" name="Picture 5401">
              <a:extLst>
                <a:ext uri="{FF2B5EF4-FFF2-40B4-BE49-F238E27FC236}">
                  <a16:creationId xmlns:a16="http://schemas.microsoft.com/office/drawing/2014/main" id="{B8F7983F-08F9-4322-8827-06365E67CB19}"/>
                </a:ext>
              </a:extLst>
            </p:cNvPr>
            <p:cNvPicPr>
              <a:picLocks noChangeArrowheads="1"/>
            </p:cNvPicPr>
            <p:nvPr/>
          </p:nvPicPr>
          <p:blipFill>
            <a:blip r:embed="rId160">
              <a:extLst>
                <a:ext uri="{28A0092B-C50C-407E-A947-70E740481C1C}">
                  <a14:useLocalDpi xmlns:a14="http://schemas.microsoft.com/office/drawing/2010/main" val="0"/>
                </a:ext>
              </a:extLst>
            </a:blip>
            <a:srcRect/>
            <a:stretch>
              <a:fillRect/>
            </a:stretch>
          </p:blipFill>
          <p:spPr>
            <a:xfrm>
              <a:off x="1231250" y="4439309"/>
              <a:ext cx="97659" cy="147410"/>
            </a:xfrm>
            <a:prstGeom prst="rect">
              <a:avLst/>
            </a:prstGeom>
            <a:noFill/>
          </p:spPr>
        </p:pic>
        <p:pic>
          <p:nvPicPr>
            <p:cNvPr id="238" name="Picture 5402">
              <a:extLst>
                <a:ext uri="{FF2B5EF4-FFF2-40B4-BE49-F238E27FC236}">
                  <a16:creationId xmlns:a16="http://schemas.microsoft.com/office/drawing/2014/main" id="{8E57D3F0-7B9E-4B6C-B0EC-1CE874586577}"/>
                </a:ext>
              </a:extLst>
            </p:cNvPr>
            <p:cNvPicPr>
              <a:picLocks noChangeArrowheads="1"/>
            </p:cNvPicPr>
            <p:nvPr/>
          </p:nvPicPr>
          <p:blipFill>
            <a:blip r:embed="rId161">
              <a:extLst>
                <a:ext uri="{28A0092B-C50C-407E-A947-70E740481C1C}">
                  <a14:useLocalDpi xmlns:a14="http://schemas.microsoft.com/office/drawing/2010/main" val="0"/>
                </a:ext>
              </a:extLst>
            </a:blip>
            <a:srcRect/>
            <a:stretch>
              <a:fillRect/>
            </a:stretch>
          </p:blipFill>
          <p:spPr>
            <a:xfrm>
              <a:off x="1268564" y="4439309"/>
              <a:ext cx="370493" cy="147410"/>
            </a:xfrm>
            <a:prstGeom prst="rect">
              <a:avLst/>
            </a:prstGeom>
            <a:noFill/>
          </p:spPr>
        </p:pic>
        <p:pic>
          <p:nvPicPr>
            <p:cNvPr id="239" name="Picture 5403">
              <a:extLst>
                <a:ext uri="{FF2B5EF4-FFF2-40B4-BE49-F238E27FC236}">
                  <a16:creationId xmlns:a16="http://schemas.microsoft.com/office/drawing/2014/main" id="{019B7C85-0CAB-4A46-9DA9-0C9CEBB13B64}"/>
                </a:ext>
              </a:extLst>
            </p:cNvPr>
            <p:cNvPicPr>
              <a:picLocks noChangeArrowheads="1"/>
            </p:cNvPicPr>
            <p:nvPr/>
          </p:nvPicPr>
          <p:blipFill>
            <a:blip r:embed="rId162">
              <a:extLst>
                <a:ext uri="{28A0092B-C50C-407E-A947-70E740481C1C}">
                  <a14:useLocalDpi xmlns:a14="http://schemas.microsoft.com/office/drawing/2010/main" val="0"/>
                </a:ext>
              </a:extLst>
            </a:blip>
            <a:srcRect/>
            <a:stretch>
              <a:fillRect/>
            </a:stretch>
          </p:blipFill>
          <p:spPr>
            <a:xfrm>
              <a:off x="917268" y="4563686"/>
              <a:ext cx="807424" cy="147410"/>
            </a:xfrm>
            <a:prstGeom prst="rect">
              <a:avLst/>
            </a:prstGeom>
            <a:noFill/>
          </p:spPr>
        </p:pic>
        <p:sp>
          <p:nvSpPr>
            <p:cNvPr id="240" name="Freeform 5404">
              <a:extLst>
                <a:ext uri="{FF2B5EF4-FFF2-40B4-BE49-F238E27FC236}">
                  <a16:creationId xmlns:a16="http://schemas.microsoft.com/office/drawing/2014/main" id="{EE1D69E7-D161-487C-A5E4-54AB22278C6E}"/>
                </a:ext>
              </a:extLst>
            </p:cNvPr>
            <p:cNvSpPr/>
            <p:nvPr/>
          </p:nvSpPr>
          <p:spPr>
            <a:xfrm>
              <a:off x="1849725" y="3366560"/>
              <a:ext cx="946646" cy="424263"/>
            </a:xfrm>
            <a:custGeom>
              <a:avLst/>
              <a:gdLst/>
              <a:ahLst/>
              <a:cxnLst/>
              <a:rect l="0" t="0" r="0" b="0"/>
              <a:pathLst>
                <a:path w="1043940" h="467868">
                  <a:moveTo>
                    <a:pt x="0" y="47878"/>
                  </a:moveTo>
                  <a:cubicBezTo>
                    <a:pt x="0" y="21463"/>
                    <a:pt x="21464" y="0"/>
                    <a:pt x="47880" y="0"/>
                  </a:cubicBezTo>
                  <a:lnTo>
                    <a:pt x="996062" y="0"/>
                  </a:lnTo>
                  <a:cubicBezTo>
                    <a:pt x="1022477" y="0"/>
                    <a:pt x="1043940" y="21463"/>
                    <a:pt x="1043940" y="47878"/>
                  </a:cubicBezTo>
                  <a:lnTo>
                    <a:pt x="1043940" y="419989"/>
                  </a:lnTo>
                  <a:cubicBezTo>
                    <a:pt x="1043940" y="446405"/>
                    <a:pt x="1022477" y="467868"/>
                    <a:pt x="996062" y="467868"/>
                  </a:cubicBezTo>
                  <a:lnTo>
                    <a:pt x="47880" y="467868"/>
                  </a:lnTo>
                  <a:cubicBezTo>
                    <a:pt x="21464" y="467868"/>
                    <a:pt x="0" y="446405"/>
                    <a:pt x="0" y="419989"/>
                  </a:cubicBezTo>
                  <a:close/>
                  <a:moveTo>
                    <a:pt x="2116202" y="3793235"/>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41" name="Picture 5405">
              <a:extLst>
                <a:ext uri="{FF2B5EF4-FFF2-40B4-BE49-F238E27FC236}">
                  <a16:creationId xmlns:a16="http://schemas.microsoft.com/office/drawing/2014/main" id="{13EC3718-7F5D-4CFD-BDDA-417D8A063E40}"/>
                </a:ext>
              </a:extLst>
            </p:cNvPr>
            <p:cNvPicPr>
              <a:picLocks noChangeArrowheads="1"/>
            </p:cNvPicPr>
            <p:nvPr/>
          </p:nvPicPr>
          <p:blipFill>
            <a:blip r:embed="rId163">
              <a:extLst>
                <a:ext uri="{28A0092B-C50C-407E-A947-70E740481C1C}">
                  <a14:useLocalDpi xmlns:a14="http://schemas.microsoft.com/office/drawing/2010/main" val="0"/>
                </a:ext>
              </a:extLst>
            </a:blip>
            <a:srcRect/>
            <a:stretch>
              <a:fillRect/>
            </a:stretch>
          </p:blipFill>
          <p:spPr>
            <a:xfrm>
              <a:off x="2019247" y="3381531"/>
              <a:ext cx="680847" cy="147409"/>
            </a:xfrm>
            <a:prstGeom prst="rect">
              <a:avLst/>
            </a:prstGeom>
            <a:noFill/>
          </p:spPr>
        </p:pic>
        <p:pic>
          <p:nvPicPr>
            <p:cNvPr id="242" name="Picture 5406">
              <a:extLst>
                <a:ext uri="{FF2B5EF4-FFF2-40B4-BE49-F238E27FC236}">
                  <a16:creationId xmlns:a16="http://schemas.microsoft.com/office/drawing/2014/main" id="{004241F5-C0A3-4DEE-8FAF-79244EBBBCE4}"/>
                </a:ext>
              </a:extLst>
            </p:cNvPr>
            <p:cNvPicPr>
              <a:picLocks noChangeArrowheads="1"/>
            </p:cNvPicPr>
            <p:nvPr/>
          </p:nvPicPr>
          <p:blipFill>
            <a:blip r:embed="rId164">
              <a:extLst>
                <a:ext uri="{28A0092B-C50C-407E-A947-70E740481C1C}">
                  <a14:useLocalDpi xmlns:a14="http://schemas.microsoft.com/office/drawing/2010/main" val="0"/>
                </a:ext>
              </a:extLst>
            </a:blip>
            <a:srcRect/>
            <a:stretch>
              <a:fillRect/>
            </a:stretch>
          </p:blipFill>
          <p:spPr>
            <a:xfrm>
              <a:off x="2162971" y="3505908"/>
              <a:ext cx="392604" cy="147409"/>
            </a:xfrm>
            <a:prstGeom prst="rect">
              <a:avLst/>
            </a:prstGeom>
            <a:noFill/>
          </p:spPr>
        </p:pic>
        <p:pic>
          <p:nvPicPr>
            <p:cNvPr id="243" name="Picture 5407">
              <a:extLst>
                <a:ext uri="{FF2B5EF4-FFF2-40B4-BE49-F238E27FC236}">
                  <a16:creationId xmlns:a16="http://schemas.microsoft.com/office/drawing/2014/main" id="{8CA83F51-EBDA-43EF-A24A-4295B521D717}"/>
                </a:ext>
              </a:extLst>
            </p:cNvPr>
            <p:cNvPicPr>
              <a:picLocks noChangeArrowheads="1"/>
            </p:cNvPicPr>
            <p:nvPr/>
          </p:nvPicPr>
          <p:blipFill>
            <a:blip r:embed="rId165">
              <a:extLst>
                <a:ext uri="{28A0092B-C50C-407E-A947-70E740481C1C}">
                  <a14:useLocalDpi xmlns:a14="http://schemas.microsoft.com/office/drawing/2010/main" val="0"/>
                </a:ext>
              </a:extLst>
            </a:blip>
            <a:srcRect/>
            <a:stretch>
              <a:fillRect/>
            </a:stretch>
          </p:blipFill>
          <p:spPr>
            <a:xfrm>
              <a:off x="2010955" y="3630285"/>
              <a:ext cx="674284" cy="147409"/>
            </a:xfrm>
            <a:prstGeom prst="rect">
              <a:avLst/>
            </a:prstGeom>
            <a:noFill/>
          </p:spPr>
        </p:pic>
        <p:sp>
          <p:nvSpPr>
            <p:cNvPr id="244" name="Freeform 5408">
              <a:extLst>
                <a:ext uri="{FF2B5EF4-FFF2-40B4-BE49-F238E27FC236}">
                  <a16:creationId xmlns:a16="http://schemas.microsoft.com/office/drawing/2014/main" id="{245BC0CA-9381-4E3B-895C-493D44010ADE}"/>
                </a:ext>
              </a:extLst>
            </p:cNvPr>
            <p:cNvSpPr/>
            <p:nvPr/>
          </p:nvSpPr>
          <p:spPr>
            <a:xfrm>
              <a:off x="1849725" y="3865448"/>
              <a:ext cx="946646" cy="424263"/>
            </a:xfrm>
            <a:custGeom>
              <a:avLst/>
              <a:gdLst/>
              <a:ahLst/>
              <a:cxnLst/>
              <a:rect l="0" t="0" r="0" b="0"/>
              <a:pathLst>
                <a:path w="1043940" h="467868">
                  <a:moveTo>
                    <a:pt x="0" y="47880"/>
                  </a:moveTo>
                  <a:cubicBezTo>
                    <a:pt x="0" y="21464"/>
                    <a:pt x="21464" y="0"/>
                    <a:pt x="47880" y="0"/>
                  </a:cubicBezTo>
                  <a:lnTo>
                    <a:pt x="996062" y="0"/>
                  </a:lnTo>
                  <a:cubicBezTo>
                    <a:pt x="1022477" y="0"/>
                    <a:pt x="1043940" y="21464"/>
                    <a:pt x="1043940" y="47880"/>
                  </a:cubicBezTo>
                  <a:lnTo>
                    <a:pt x="1043940" y="419990"/>
                  </a:lnTo>
                  <a:cubicBezTo>
                    <a:pt x="1043940" y="446405"/>
                    <a:pt x="1022477" y="467868"/>
                    <a:pt x="996062" y="467868"/>
                  </a:cubicBezTo>
                  <a:lnTo>
                    <a:pt x="47880" y="467868"/>
                  </a:lnTo>
                  <a:cubicBezTo>
                    <a:pt x="21464" y="467868"/>
                    <a:pt x="0" y="446405"/>
                    <a:pt x="0" y="419990"/>
                  </a:cubicBezTo>
                  <a:close/>
                  <a:moveTo>
                    <a:pt x="1566037" y="3243072"/>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45" name="Picture 5409">
              <a:extLst>
                <a:ext uri="{FF2B5EF4-FFF2-40B4-BE49-F238E27FC236}">
                  <a16:creationId xmlns:a16="http://schemas.microsoft.com/office/drawing/2014/main" id="{7E0FD7AA-2B17-4A98-A556-5EEC39F9CE83}"/>
                </a:ext>
              </a:extLst>
            </p:cNvPr>
            <p:cNvPicPr>
              <a:picLocks noChangeArrowheads="1"/>
            </p:cNvPicPr>
            <p:nvPr/>
          </p:nvPicPr>
          <p:blipFill>
            <a:blip r:embed="rId166">
              <a:extLst>
                <a:ext uri="{28A0092B-C50C-407E-A947-70E740481C1C}">
                  <a14:useLocalDpi xmlns:a14="http://schemas.microsoft.com/office/drawing/2010/main" val="0"/>
                </a:ext>
              </a:extLst>
            </a:blip>
            <a:srcRect/>
            <a:stretch>
              <a:fillRect/>
            </a:stretch>
          </p:blipFill>
          <p:spPr>
            <a:xfrm>
              <a:off x="2109075" y="3942607"/>
              <a:ext cx="500363" cy="147410"/>
            </a:xfrm>
            <a:prstGeom prst="rect">
              <a:avLst/>
            </a:prstGeom>
            <a:noFill/>
          </p:spPr>
        </p:pic>
        <p:pic>
          <p:nvPicPr>
            <p:cNvPr id="246" name="Picture 5410">
              <a:extLst>
                <a:ext uri="{FF2B5EF4-FFF2-40B4-BE49-F238E27FC236}">
                  <a16:creationId xmlns:a16="http://schemas.microsoft.com/office/drawing/2014/main" id="{51FE8A4E-F50B-4A4F-AFB4-9459D6F58FBC}"/>
                </a:ext>
              </a:extLst>
            </p:cNvPr>
            <p:cNvPicPr>
              <a:picLocks noChangeArrowheads="1"/>
            </p:cNvPicPr>
            <p:nvPr/>
          </p:nvPicPr>
          <p:blipFill>
            <a:blip r:embed="rId167">
              <a:extLst>
                <a:ext uri="{28A0092B-C50C-407E-A947-70E740481C1C}">
                  <a14:useLocalDpi xmlns:a14="http://schemas.microsoft.com/office/drawing/2010/main" val="0"/>
                </a:ext>
              </a:extLst>
            </a:blip>
            <a:srcRect/>
            <a:stretch>
              <a:fillRect/>
            </a:stretch>
          </p:blipFill>
          <p:spPr>
            <a:xfrm>
              <a:off x="2038594" y="4066984"/>
              <a:ext cx="615895" cy="147410"/>
            </a:xfrm>
            <a:prstGeom prst="rect">
              <a:avLst/>
            </a:prstGeom>
            <a:noFill/>
          </p:spPr>
        </p:pic>
        <p:sp>
          <p:nvSpPr>
            <p:cNvPr id="247" name="Freeform 5411">
              <a:extLst>
                <a:ext uri="{FF2B5EF4-FFF2-40B4-BE49-F238E27FC236}">
                  <a16:creationId xmlns:a16="http://schemas.microsoft.com/office/drawing/2014/main" id="{D52C2041-6EBD-4F10-9234-4A815C695E7D}"/>
                </a:ext>
              </a:extLst>
            </p:cNvPr>
            <p:cNvSpPr/>
            <p:nvPr/>
          </p:nvSpPr>
          <p:spPr>
            <a:xfrm>
              <a:off x="1849725" y="4361575"/>
              <a:ext cx="946646" cy="424262"/>
            </a:xfrm>
            <a:custGeom>
              <a:avLst/>
              <a:gdLst/>
              <a:ahLst/>
              <a:cxnLst/>
              <a:rect l="0" t="0" r="0" b="0"/>
              <a:pathLst>
                <a:path w="1043940" h="467867">
                  <a:moveTo>
                    <a:pt x="0" y="47879"/>
                  </a:moveTo>
                  <a:cubicBezTo>
                    <a:pt x="0" y="21463"/>
                    <a:pt x="21464" y="0"/>
                    <a:pt x="47880" y="0"/>
                  </a:cubicBezTo>
                  <a:lnTo>
                    <a:pt x="996062" y="0"/>
                  </a:lnTo>
                  <a:cubicBezTo>
                    <a:pt x="1022477" y="0"/>
                    <a:pt x="1043940" y="21463"/>
                    <a:pt x="1043940" y="47879"/>
                  </a:cubicBezTo>
                  <a:lnTo>
                    <a:pt x="1043940" y="419988"/>
                  </a:lnTo>
                  <a:cubicBezTo>
                    <a:pt x="1043940" y="446404"/>
                    <a:pt x="1022477" y="467867"/>
                    <a:pt x="996062" y="467867"/>
                  </a:cubicBezTo>
                  <a:lnTo>
                    <a:pt x="47880" y="467867"/>
                  </a:lnTo>
                  <a:cubicBezTo>
                    <a:pt x="21464" y="467867"/>
                    <a:pt x="0" y="446404"/>
                    <a:pt x="0" y="419988"/>
                  </a:cubicBezTo>
                  <a:close/>
                  <a:moveTo>
                    <a:pt x="1018921" y="2695955"/>
                  </a:moveTo>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48" name="Picture 5412">
              <a:extLst>
                <a:ext uri="{FF2B5EF4-FFF2-40B4-BE49-F238E27FC236}">
                  <a16:creationId xmlns:a16="http://schemas.microsoft.com/office/drawing/2014/main" id="{1D86AEC1-FC3B-4B61-A63E-C2FA51C94DC4}"/>
                </a:ext>
              </a:extLst>
            </p:cNvPr>
            <p:cNvPicPr>
              <a:picLocks noChangeArrowheads="1"/>
            </p:cNvPicPr>
            <p:nvPr/>
          </p:nvPicPr>
          <p:blipFill>
            <a:blip r:embed="rId168">
              <a:extLst>
                <a:ext uri="{28A0092B-C50C-407E-A947-70E740481C1C}">
                  <a14:useLocalDpi xmlns:a14="http://schemas.microsoft.com/office/drawing/2010/main" val="0"/>
                </a:ext>
              </a:extLst>
            </a:blip>
            <a:srcRect/>
            <a:stretch>
              <a:fillRect/>
            </a:stretch>
          </p:blipFill>
          <p:spPr>
            <a:xfrm>
              <a:off x="2041358" y="4439309"/>
              <a:ext cx="641151" cy="147410"/>
            </a:xfrm>
            <a:prstGeom prst="rect">
              <a:avLst/>
            </a:prstGeom>
            <a:noFill/>
          </p:spPr>
        </p:pic>
        <p:pic>
          <p:nvPicPr>
            <p:cNvPr id="249" name="Picture 5413">
              <a:extLst>
                <a:ext uri="{FF2B5EF4-FFF2-40B4-BE49-F238E27FC236}">
                  <a16:creationId xmlns:a16="http://schemas.microsoft.com/office/drawing/2014/main" id="{004F6D21-6F99-469C-8CB6-034FAA880E13}"/>
                </a:ext>
              </a:extLst>
            </p:cNvPr>
            <p:cNvPicPr>
              <a:picLocks noChangeArrowheads="1"/>
            </p:cNvPicPr>
            <p:nvPr/>
          </p:nvPicPr>
          <p:blipFill>
            <a:blip r:embed="rId169">
              <a:extLst>
                <a:ext uri="{28A0092B-C50C-407E-A947-70E740481C1C}">
                  <a14:useLocalDpi xmlns:a14="http://schemas.microsoft.com/office/drawing/2010/main" val="0"/>
                </a:ext>
              </a:extLst>
            </a:blip>
            <a:srcRect/>
            <a:stretch>
              <a:fillRect/>
            </a:stretch>
          </p:blipFill>
          <p:spPr>
            <a:xfrm>
              <a:off x="2038594" y="4563686"/>
              <a:ext cx="615895" cy="147410"/>
            </a:xfrm>
            <a:prstGeom prst="rect">
              <a:avLst/>
            </a:prstGeom>
            <a:noFill/>
          </p:spPr>
        </p:pic>
        <p:sp>
          <p:nvSpPr>
            <p:cNvPr id="250" name="Freeform 5414">
              <a:extLst>
                <a:ext uri="{FF2B5EF4-FFF2-40B4-BE49-F238E27FC236}">
                  <a16:creationId xmlns:a16="http://schemas.microsoft.com/office/drawing/2014/main" id="{6DEFD4C9-AD02-4B6C-AC71-3D597F7EE902}"/>
                </a:ext>
              </a:extLst>
            </p:cNvPr>
            <p:cNvSpPr/>
            <p:nvPr/>
          </p:nvSpPr>
          <p:spPr>
            <a:xfrm>
              <a:off x="2875144" y="3366560"/>
              <a:ext cx="948028" cy="424263"/>
            </a:xfrm>
            <a:custGeom>
              <a:avLst/>
              <a:gdLst/>
              <a:ahLst/>
              <a:cxnLst/>
              <a:rect l="0" t="0" r="0" b="0"/>
              <a:pathLst>
                <a:path w="1045464" h="467868">
                  <a:moveTo>
                    <a:pt x="0" y="47878"/>
                  </a:moveTo>
                  <a:cubicBezTo>
                    <a:pt x="0" y="21463"/>
                    <a:pt x="21462" y="0"/>
                    <a:pt x="47878" y="0"/>
                  </a:cubicBezTo>
                  <a:lnTo>
                    <a:pt x="997584" y="0"/>
                  </a:lnTo>
                  <a:cubicBezTo>
                    <a:pt x="1024001" y="0"/>
                    <a:pt x="1045464" y="21463"/>
                    <a:pt x="1045464" y="47878"/>
                  </a:cubicBezTo>
                  <a:lnTo>
                    <a:pt x="1045464" y="419989"/>
                  </a:lnTo>
                  <a:cubicBezTo>
                    <a:pt x="1045464" y="446405"/>
                    <a:pt x="1024001" y="467868"/>
                    <a:pt x="997584" y="467868"/>
                  </a:cubicBezTo>
                  <a:lnTo>
                    <a:pt x="47878" y="467868"/>
                  </a:lnTo>
                  <a:cubicBezTo>
                    <a:pt x="21462" y="467868"/>
                    <a:pt x="0" y="446405"/>
                    <a:pt x="0" y="419989"/>
                  </a:cubicBezTo>
                  <a:close/>
                  <a:moveTo>
                    <a:pt x="985393" y="3793235"/>
                  </a:moveTo>
                </a:path>
              </a:pathLst>
            </a:custGeom>
            <a:solidFill>
              <a:srgbClr val="DADAD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51" name="Picture 5415">
              <a:extLst>
                <a:ext uri="{FF2B5EF4-FFF2-40B4-BE49-F238E27FC236}">
                  <a16:creationId xmlns:a16="http://schemas.microsoft.com/office/drawing/2014/main" id="{91AEA7BC-617E-4B41-9FDA-CBB56E3D1CBD}"/>
                </a:ext>
              </a:extLst>
            </p:cNvPr>
            <p:cNvPicPr>
              <a:picLocks noChangeArrowheads="1"/>
            </p:cNvPicPr>
            <p:nvPr/>
          </p:nvPicPr>
          <p:blipFill>
            <a:blip r:embed="rId170">
              <a:extLst>
                <a:ext uri="{28A0092B-C50C-407E-A947-70E740481C1C}">
                  <a14:useLocalDpi xmlns:a14="http://schemas.microsoft.com/office/drawing/2010/main" val="0"/>
                </a:ext>
              </a:extLst>
            </a:blip>
            <a:srcRect/>
            <a:stretch>
              <a:fillRect/>
            </a:stretch>
          </p:blipFill>
          <p:spPr>
            <a:xfrm>
              <a:off x="3030039" y="3443719"/>
              <a:ext cx="712909" cy="147409"/>
            </a:xfrm>
            <a:prstGeom prst="rect">
              <a:avLst/>
            </a:prstGeom>
            <a:noFill/>
          </p:spPr>
        </p:pic>
        <p:pic>
          <p:nvPicPr>
            <p:cNvPr id="252" name="Picture 5416">
              <a:extLst>
                <a:ext uri="{FF2B5EF4-FFF2-40B4-BE49-F238E27FC236}">
                  <a16:creationId xmlns:a16="http://schemas.microsoft.com/office/drawing/2014/main" id="{AFA93CDF-1C72-4FA1-9329-575ECDB148AA}"/>
                </a:ext>
              </a:extLst>
            </p:cNvPr>
            <p:cNvPicPr>
              <a:picLocks noChangeArrowheads="1"/>
            </p:cNvPicPr>
            <p:nvPr/>
          </p:nvPicPr>
          <p:blipFill>
            <a:blip r:embed="rId171">
              <a:extLst>
                <a:ext uri="{28A0092B-C50C-407E-A947-70E740481C1C}">
                  <a14:useLocalDpi xmlns:a14="http://schemas.microsoft.com/office/drawing/2010/main" val="0"/>
                </a:ext>
              </a:extLst>
            </a:blip>
            <a:srcRect/>
            <a:stretch>
              <a:fillRect/>
            </a:stretch>
          </p:blipFill>
          <p:spPr>
            <a:xfrm>
              <a:off x="3046623" y="3568096"/>
              <a:ext cx="708717" cy="147409"/>
            </a:xfrm>
            <a:prstGeom prst="rect">
              <a:avLst/>
            </a:prstGeom>
            <a:noFill/>
          </p:spPr>
        </p:pic>
        <p:sp>
          <p:nvSpPr>
            <p:cNvPr id="253" name="Freeform 5417">
              <a:extLst>
                <a:ext uri="{FF2B5EF4-FFF2-40B4-BE49-F238E27FC236}">
                  <a16:creationId xmlns:a16="http://schemas.microsoft.com/office/drawing/2014/main" id="{67384525-DFEE-4B44-B06F-7E1674FE42A9}"/>
                </a:ext>
              </a:extLst>
            </p:cNvPr>
            <p:cNvSpPr/>
            <p:nvPr/>
          </p:nvSpPr>
          <p:spPr>
            <a:xfrm>
              <a:off x="2875144" y="3865448"/>
              <a:ext cx="948028" cy="424263"/>
            </a:xfrm>
            <a:custGeom>
              <a:avLst/>
              <a:gdLst/>
              <a:ahLst/>
              <a:cxnLst/>
              <a:rect l="0" t="0" r="0" b="0"/>
              <a:pathLst>
                <a:path w="1045464" h="467868">
                  <a:moveTo>
                    <a:pt x="0" y="47880"/>
                  </a:moveTo>
                  <a:cubicBezTo>
                    <a:pt x="0" y="21464"/>
                    <a:pt x="21462" y="0"/>
                    <a:pt x="47878" y="0"/>
                  </a:cubicBezTo>
                  <a:lnTo>
                    <a:pt x="997584" y="0"/>
                  </a:lnTo>
                  <a:cubicBezTo>
                    <a:pt x="1024001" y="0"/>
                    <a:pt x="1045464" y="21464"/>
                    <a:pt x="1045464" y="47880"/>
                  </a:cubicBezTo>
                  <a:lnTo>
                    <a:pt x="1045464" y="419990"/>
                  </a:lnTo>
                  <a:cubicBezTo>
                    <a:pt x="1045464" y="446405"/>
                    <a:pt x="1024001" y="467868"/>
                    <a:pt x="997584" y="467868"/>
                  </a:cubicBezTo>
                  <a:lnTo>
                    <a:pt x="47878" y="467868"/>
                  </a:lnTo>
                  <a:cubicBezTo>
                    <a:pt x="21462" y="467868"/>
                    <a:pt x="0" y="446405"/>
                    <a:pt x="0" y="419990"/>
                  </a:cubicBezTo>
                  <a:close/>
                  <a:moveTo>
                    <a:pt x="435228" y="3243072"/>
                  </a:move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54" name="Picture 5418">
              <a:extLst>
                <a:ext uri="{FF2B5EF4-FFF2-40B4-BE49-F238E27FC236}">
                  <a16:creationId xmlns:a16="http://schemas.microsoft.com/office/drawing/2014/main" id="{5F728CCF-92BD-4919-B33C-E8963C1A9598}"/>
                </a:ext>
              </a:extLst>
            </p:cNvPr>
            <p:cNvPicPr>
              <a:picLocks noChangeArrowheads="1"/>
            </p:cNvPicPr>
            <p:nvPr/>
          </p:nvPicPr>
          <p:blipFill>
            <a:blip r:embed="rId172">
              <a:extLst>
                <a:ext uri="{28A0092B-C50C-407E-A947-70E740481C1C}">
                  <a14:useLocalDpi xmlns:a14="http://schemas.microsoft.com/office/drawing/2010/main" val="0"/>
                </a:ext>
              </a:extLst>
            </a:blip>
            <a:srcRect/>
            <a:stretch>
              <a:fillRect/>
            </a:stretch>
          </p:blipFill>
          <p:spPr>
            <a:xfrm>
              <a:off x="3204166" y="3942607"/>
              <a:ext cx="344754" cy="147410"/>
            </a:xfrm>
            <a:prstGeom prst="rect">
              <a:avLst/>
            </a:prstGeom>
            <a:noFill/>
          </p:spPr>
        </p:pic>
        <p:pic>
          <p:nvPicPr>
            <p:cNvPr id="255" name="Picture 5419">
              <a:extLst>
                <a:ext uri="{FF2B5EF4-FFF2-40B4-BE49-F238E27FC236}">
                  <a16:creationId xmlns:a16="http://schemas.microsoft.com/office/drawing/2014/main" id="{C5287152-25E1-491F-8450-9EF87E689072}"/>
                </a:ext>
              </a:extLst>
            </p:cNvPr>
            <p:cNvPicPr>
              <a:picLocks noChangeArrowheads="1"/>
            </p:cNvPicPr>
            <p:nvPr/>
          </p:nvPicPr>
          <p:blipFill>
            <a:blip r:embed="rId173">
              <a:extLst>
                <a:ext uri="{28A0092B-C50C-407E-A947-70E740481C1C}">
                  <a14:useLocalDpi xmlns:a14="http://schemas.microsoft.com/office/drawing/2010/main" val="0"/>
                </a:ext>
              </a:extLst>
            </a:blip>
            <a:srcRect/>
            <a:stretch>
              <a:fillRect/>
            </a:stretch>
          </p:blipFill>
          <p:spPr>
            <a:xfrm>
              <a:off x="3114339" y="4066984"/>
              <a:ext cx="515564" cy="147410"/>
            </a:xfrm>
            <a:prstGeom prst="rect">
              <a:avLst/>
            </a:prstGeom>
            <a:noFill/>
          </p:spPr>
        </p:pic>
        <p:sp>
          <p:nvSpPr>
            <p:cNvPr id="256" name="Freeform 5420">
              <a:extLst>
                <a:ext uri="{FF2B5EF4-FFF2-40B4-BE49-F238E27FC236}">
                  <a16:creationId xmlns:a16="http://schemas.microsoft.com/office/drawing/2014/main" id="{045878DA-EAA2-491A-AB50-65336D790DBF}"/>
                </a:ext>
              </a:extLst>
            </p:cNvPr>
            <p:cNvSpPr/>
            <p:nvPr/>
          </p:nvSpPr>
          <p:spPr>
            <a:xfrm>
              <a:off x="2875144" y="4361575"/>
              <a:ext cx="948028" cy="424262"/>
            </a:xfrm>
            <a:custGeom>
              <a:avLst/>
              <a:gdLst/>
              <a:ahLst/>
              <a:cxnLst/>
              <a:rect l="0" t="0" r="0" b="0"/>
              <a:pathLst>
                <a:path w="1045464" h="467867">
                  <a:moveTo>
                    <a:pt x="0" y="47879"/>
                  </a:moveTo>
                  <a:cubicBezTo>
                    <a:pt x="0" y="21463"/>
                    <a:pt x="21462" y="0"/>
                    <a:pt x="47878" y="0"/>
                  </a:cubicBezTo>
                  <a:lnTo>
                    <a:pt x="997584" y="0"/>
                  </a:lnTo>
                  <a:cubicBezTo>
                    <a:pt x="1024001" y="0"/>
                    <a:pt x="1045464" y="21463"/>
                    <a:pt x="1045464" y="47879"/>
                  </a:cubicBezTo>
                  <a:lnTo>
                    <a:pt x="1045464" y="419988"/>
                  </a:lnTo>
                  <a:cubicBezTo>
                    <a:pt x="1045464" y="446404"/>
                    <a:pt x="1024001" y="467867"/>
                    <a:pt x="997584" y="467867"/>
                  </a:cubicBezTo>
                  <a:lnTo>
                    <a:pt x="47878" y="467867"/>
                  </a:lnTo>
                  <a:cubicBezTo>
                    <a:pt x="21462" y="467867"/>
                    <a:pt x="0" y="446404"/>
                    <a:pt x="0" y="419988"/>
                  </a:cubicBezTo>
                  <a:close/>
                  <a:moveTo>
                    <a:pt x="-111888" y="2695955"/>
                  </a:move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57" name="Picture 5421">
              <a:extLst>
                <a:ext uri="{FF2B5EF4-FFF2-40B4-BE49-F238E27FC236}">
                  <a16:creationId xmlns:a16="http://schemas.microsoft.com/office/drawing/2014/main" id="{3A1A391B-3E26-4937-96A7-1A5DBCE2D1A7}"/>
                </a:ext>
              </a:extLst>
            </p:cNvPr>
            <p:cNvPicPr>
              <a:picLocks noChangeArrowheads="1"/>
            </p:cNvPicPr>
            <p:nvPr/>
          </p:nvPicPr>
          <p:blipFill>
            <a:blip r:embed="rId174">
              <a:extLst>
                <a:ext uri="{28A0092B-C50C-407E-A947-70E740481C1C}">
                  <a14:useLocalDpi xmlns:a14="http://schemas.microsoft.com/office/drawing/2010/main" val="0"/>
                </a:ext>
              </a:extLst>
            </a:blip>
            <a:srcRect/>
            <a:stretch>
              <a:fillRect/>
            </a:stretch>
          </p:blipFill>
          <p:spPr>
            <a:xfrm>
              <a:off x="3111575" y="4439309"/>
              <a:ext cx="544666" cy="147410"/>
            </a:xfrm>
            <a:prstGeom prst="rect">
              <a:avLst/>
            </a:prstGeom>
            <a:noFill/>
          </p:spPr>
        </p:pic>
        <p:pic>
          <p:nvPicPr>
            <p:cNvPr id="258" name="Picture 5422">
              <a:extLst>
                <a:ext uri="{FF2B5EF4-FFF2-40B4-BE49-F238E27FC236}">
                  <a16:creationId xmlns:a16="http://schemas.microsoft.com/office/drawing/2014/main" id="{8765CBB5-46BD-4234-8537-2255176CB463}"/>
                </a:ext>
              </a:extLst>
            </p:cNvPr>
            <p:cNvPicPr>
              <a:picLocks noChangeArrowheads="1"/>
            </p:cNvPicPr>
            <p:nvPr/>
          </p:nvPicPr>
          <p:blipFill>
            <a:blip r:embed="rId175">
              <a:extLst>
                <a:ext uri="{28A0092B-C50C-407E-A947-70E740481C1C}">
                  <a14:useLocalDpi xmlns:a14="http://schemas.microsoft.com/office/drawing/2010/main" val="0"/>
                </a:ext>
              </a:extLst>
            </a:blip>
            <a:srcRect/>
            <a:stretch>
              <a:fillRect/>
            </a:stretch>
          </p:blipFill>
          <p:spPr>
            <a:xfrm>
              <a:off x="3166853" y="4563686"/>
              <a:ext cx="413138" cy="147410"/>
            </a:xfrm>
            <a:prstGeom prst="rect">
              <a:avLst/>
            </a:prstGeom>
            <a:noFill/>
          </p:spPr>
        </p:pic>
        <p:sp>
          <p:nvSpPr>
            <p:cNvPr id="259" name="Freeform 5423">
              <a:extLst>
                <a:ext uri="{FF2B5EF4-FFF2-40B4-BE49-F238E27FC236}">
                  <a16:creationId xmlns:a16="http://schemas.microsoft.com/office/drawing/2014/main" id="{848249C7-2B35-45BB-BDF6-74165BC321D1}"/>
                </a:ext>
              </a:extLst>
            </p:cNvPr>
            <p:cNvSpPr/>
            <p:nvPr/>
          </p:nvSpPr>
          <p:spPr>
            <a:xfrm>
              <a:off x="3901944" y="3366560"/>
              <a:ext cx="946645" cy="424263"/>
            </a:xfrm>
            <a:custGeom>
              <a:avLst/>
              <a:gdLst/>
              <a:ahLst/>
              <a:cxnLst/>
              <a:rect l="0" t="0" r="0" b="0"/>
              <a:pathLst>
                <a:path w="1043939" h="467868">
                  <a:moveTo>
                    <a:pt x="0" y="47878"/>
                  </a:moveTo>
                  <a:cubicBezTo>
                    <a:pt x="0" y="21463"/>
                    <a:pt x="21463" y="0"/>
                    <a:pt x="47879" y="0"/>
                  </a:cubicBezTo>
                  <a:lnTo>
                    <a:pt x="996061" y="0"/>
                  </a:lnTo>
                  <a:cubicBezTo>
                    <a:pt x="1022476" y="0"/>
                    <a:pt x="1043939" y="21463"/>
                    <a:pt x="1043939" y="47878"/>
                  </a:cubicBezTo>
                  <a:lnTo>
                    <a:pt x="1043939" y="419989"/>
                  </a:lnTo>
                  <a:cubicBezTo>
                    <a:pt x="1043939" y="446405"/>
                    <a:pt x="1022476" y="467868"/>
                    <a:pt x="996061" y="467868"/>
                  </a:cubicBezTo>
                  <a:lnTo>
                    <a:pt x="47879" y="467868"/>
                  </a:lnTo>
                  <a:cubicBezTo>
                    <a:pt x="21463" y="467868"/>
                    <a:pt x="0" y="446405"/>
                    <a:pt x="0" y="419989"/>
                  </a:cubicBezTo>
                  <a:close/>
                  <a:moveTo>
                    <a:pt x="-146939" y="3793235"/>
                  </a:moveTo>
                </a:path>
              </a:pathLst>
            </a:custGeom>
            <a:solidFill>
              <a:srgbClr val="C2EAEC"/>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60" name="Picture 5424">
              <a:extLst>
                <a:ext uri="{FF2B5EF4-FFF2-40B4-BE49-F238E27FC236}">
                  <a16:creationId xmlns:a16="http://schemas.microsoft.com/office/drawing/2014/main" id="{9FBAF2EB-2FC2-48BA-90B4-8A1725D33582}"/>
                </a:ext>
              </a:extLst>
            </p:cNvPr>
            <p:cNvPicPr>
              <a:picLocks noChangeArrowheads="1"/>
            </p:cNvPicPr>
            <p:nvPr/>
          </p:nvPicPr>
          <p:blipFill>
            <a:blip r:embed="rId176">
              <a:extLst>
                <a:ext uri="{28A0092B-C50C-407E-A947-70E740481C1C}">
                  <a14:useLocalDpi xmlns:a14="http://schemas.microsoft.com/office/drawing/2010/main" val="0"/>
                </a:ext>
              </a:extLst>
            </a:blip>
            <a:srcRect/>
            <a:stretch>
              <a:fillRect/>
            </a:stretch>
          </p:blipFill>
          <p:spPr>
            <a:xfrm>
              <a:off x="4104401" y="3443719"/>
              <a:ext cx="278696" cy="147409"/>
            </a:xfrm>
            <a:prstGeom prst="rect">
              <a:avLst/>
            </a:prstGeom>
            <a:noFill/>
          </p:spPr>
        </p:pic>
        <p:pic>
          <p:nvPicPr>
            <p:cNvPr id="261" name="Picture 5425">
              <a:extLst>
                <a:ext uri="{FF2B5EF4-FFF2-40B4-BE49-F238E27FC236}">
                  <a16:creationId xmlns:a16="http://schemas.microsoft.com/office/drawing/2014/main" id="{594D471D-0AB1-42B8-A48D-567C6B55C0FE}"/>
                </a:ext>
              </a:extLst>
            </p:cNvPr>
            <p:cNvPicPr>
              <a:picLocks noChangeArrowheads="1"/>
            </p:cNvPicPr>
            <p:nvPr/>
          </p:nvPicPr>
          <p:blipFill>
            <a:blip r:embed="rId177">
              <a:extLst>
                <a:ext uri="{28A0092B-C50C-407E-A947-70E740481C1C}">
                  <a14:useLocalDpi xmlns:a14="http://schemas.microsoft.com/office/drawing/2010/main" val="0"/>
                </a:ext>
              </a:extLst>
            </a:blip>
            <a:srcRect/>
            <a:stretch>
              <a:fillRect/>
            </a:stretch>
          </p:blipFill>
          <p:spPr>
            <a:xfrm>
              <a:off x="4308932" y="3443719"/>
              <a:ext cx="97659" cy="147409"/>
            </a:xfrm>
            <a:prstGeom prst="rect">
              <a:avLst/>
            </a:prstGeom>
            <a:noFill/>
          </p:spPr>
        </p:pic>
        <p:pic>
          <p:nvPicPr>
            <p:cNvPr id="262" name="Picture 5426">
              <a:extLst>
                <a:ext uri="{FF2B5EF4-FFF2-40B4-BE49-F238E27FC236}">
                  <a16:creationId xmlns:a16="http://schemas.microsoft.com/office/drawing/2014/main" id="{68A9AAC9-5A7A-4051-BEDC-93D94AB07908}"/>
                </a:ext>
              </a:extLst>
            </p:cNvPr>
            <p:cNvPicPr>
              <a:picLocks noChangeArrowheads="1"/>
            </p:cNvPicPr>
            <p:nvPr/>
          </p:nvPicPr>
          <p:blipFill>
            <a:blip r:embed="rId178">
              <a:extLst>
                <a:ext uri="{28A0092B-C50C-407E-A947-70E740481C1C}">
                  <a14:useLocalDpi xmlns:a14="http://schemas.microsoft.com/office/drawing/2010/main" val="0"/>
                </a:ext>
              </a:extLst>
            </a:blip>
            <a:srcRect/>
            <a:stretch>
              <a:fillRect/>
            </a:stretch>
          </p:blipFill>
          <p:spPr>
            <a:xfrm>
              <a:off x="4346245" y="3443719"/>
              <a:ext cx="370493" cy="147409"/>
            </a:xfrm>
            <a:prstGeom prst="rect">
              <a:avLst/>
            </a:prstGeom>
            <a:noFill/>
          </p:spPr>
        </p:pic>
        <p:pic>
          <p:nvPicPr>
            <p:cNvPr id="263" name="Picture 5427">
              <a:extLst>
                <a:ext uri="{FF2B5EF4-FFF2-40B4-BE49-F238E27FC236}">
                  <a16:creationId xmlns:a16="http://schemas.microsoft.com/office/drawing/2014/main" id="{1AE11241-6CD8-416B-830A-0E099FAFD0FD}"/>
                </a:ext>
              </a:extLst>
            </p:cNvPr>
            <p:cNvPicPr>
              <a:picLocks noChangeArrowheads="1"/>
            </p:cNvPicPr>
            <p:nvPr/>
          </p:nvPicPr>
          <p:blipFill>
            <a:blip r:embed="rId179">
              <a:extLst>
                <a:ext uri="{28A0092B-C50C-407E-A947-70E740481C1C}">
                  <a14:useLocalDpi xmlns:a14="http://schemas.microsoft.com/office/drawing/2010/main" val="0"/>
                </a:ext>
              </a:extLst>
            </a:blip>
            <a:srcRect/>
            <a:stretch>
              <a:fillRect/>
            </a:stretch>
          </p:blipFill>
          <p:spPr>
            <a:xfrm>
              <a:off x="3995225" y="3568096"/>
              <a:ext cx="807125" cy="147409"/>
            </a:xfrm>
            <a:prstGeom prst="rect">
              <a:avLst/>
            </a:prstGeom>
            <a:noFill/>
          </p:spPr>
        </p:pic>
        <p:sp>
          <p:nvSpPr>
            <p:cNvPr id="264" name="Freeform 5428">
              <a:extLst>
                <a:ext uri="{FF2B5EF4-FFF2-40B4-BE49-F238E27FC236}">
                  <a16:creationId xmlns:a16="http://schemas.microsoft.com/office/drawing/2014/main" id="{126377CA-E86A-43AC-B994-A687AEDB3F57}"/>
                </a:ext>
              </a:extLst>
            </p:cNvPr>
            <p:cNvSpPr/>
            <p:nvPr/>
          </p:nvSpPr>
          <p:spPr>
            <a:xfrm>
              <a:off x="3901944" y="3865448"/>
              <a:ext cx="946645" cy="424263"/>
            </a:xfrm>
            <a:custGeom>
              <a:avLst/>
              <a:gdLst/>
              <a:ahLst/>
              <a:cxnLst/>
              <a:rect l="0" t="0" r="0" b="0"/>
              <a:pathLst>
                <a:path w="1043939" h="467868">
                  <a:moveTo>
                    <a:pt x="0" y="47880"/>
                  </a:moveTo>
                  <a:cubicBezTo>
                    <a:pt x="0" y="21464"/>
                    <a:pt x="21463" y="0"/>
                    <a:pt x="47879" y="0"/>
                  </a:cubicBezTo>
                  <a:lnTo>
                    <a:pt x="996061" y="0"/>
                  </a:lnTo>
                  <a:cubicBezTo>
                    <a:pt x="1022476" y="0"/>
                    <a:pt x="1043939" y="21464"/>
                    <a:pt x="1043939" y="47880"/>
                  </a:cubicBezTo>
                  <a:lnTo>
                    <a:pt x="1043939" y="419990"/>
                  </a:lnTo>
                  <a:cubicBezTo>
                    <a:pt x="1043939" y="446405"/>
                    <a:pt x="1022476" y="467868"/>
                    <a:pt x="996061" y="467868"/>
                  </a:cubicBezTo>
                  <a:lnTo>
                    <a:pt x="47879" y="467868"/>
                  </a:lnTo>
                  <a:cubicBezTo>
                    <a:pt x="21463" y="467868"/>
                    <a:pt x="0" y="446405"/>
                    <a:pt x="0" y="419990"/>
                  </a:cubicBezTo>
                  <a:close/>
                  <a:moveTo>
                    <a:pt x="-697104" y="3243072"/>
                  </a:move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65" name="Picture 5429">
              <a:extLst>
                <a:ext uri="{FF2B5EF4-FFF2-40B4-BE49-F238E27FC236}">
                  <a16:creationId xmlns:a16="http://schemas.microsoft.com/office/drawing/2014/main" id="{60957662-A325-4772-AAEF-BC27B2C6C43D}"/>
                </a:ext>
              </a:extLst>
            </p:cNvPr>
            <p:cNvPicPr>
              <a:picLocks noChangeArrowheads="1"/>
            </p:cNvPicPr>
            <p:nvPr/>
          </p:nvPicPr>
          <p:blipFill>
            <a:blip r:embed="rId180">
              <a:extLst>
                <a:ext uri="{28A0092B-C50C-407E-A947-70E740481C1C}">
                  <a14:useLocalDpi xmlns:a14="http://schemas.microsoft.com/office/drawing/2010/main" val="0"/>
                </a:ext>
              </a:extLst>
            </a:blip>
            <a:srcRect/>
            <a:stretch>
              <a:fillRect/>
            </a:stretch>
          </p:blipFill>
          <p:spPr>
            <a:xfrm>
              <a:off x="4093000" y="3942607"/>
              <a:ext cx="617715" cy="147410"/>
            </a:xfrm>
            <a:prstGeom prst="rect">
              <a:avLst/>
            </a:prstGeom>
            <a:noFill/>
          </p:spPr>
        </p:pic>
        <p:pic>
          <p:nvPicPr>
            <p:cNvPr id="266" name="Picture 5430">
              <a:extLst>
                <a:ext uri="{FF2B5EF4-FFF2-40B4-BE49-F238E27FC236}">
                  <a16:creationId xmlns:a16="http://schemas.microsoft.com/office/drawing/2014/main" id="{971F69C0-F78F-476C-B53C-DECA3FEA55E1}"/>
                </a:ext>
              </a:extLst>
            </p:cNvPr>
            <p:cNvPicPr>
              <a:picLocks noChangeArrowheads="1"/>
            </p:cNvPicPr>
            <p:nvPr/>
          </p:nvPicPr>
          <p:blipFill>
            <a:blip r:embed="rId181">
              <a:extLst>
                <a:ext uri="{28A0092B-C50C-407E-A947-70E740481C1C}">
                  <a14:useLocalDpi xmlns:a14="http://schemas.microsoft.com/office/drawing/2010/main" val="0"/>
                </a:ext>
              </a:extLst>
            </a:blip>
            <a:srcRect/>
            <a:stretch>
              <a:fillRect/>
            </a:stretch>
          </p:blipFill>
          <p:spPr>
            <a:xfrm>
              <a:off x="4090235" y="4066984"/>
              <a:ext cx="616195" cy="147410"/>
            </a:xfrm>
            <a:prstGeom prst="rect">
              <a:avLst/>
            </a:prstGeom>
            <a:noFill/>
          </p:spPr>
        </p:pic>
        <p:sp>
          <p:nvSpPr>
            <p:cNvPr id="267" name="Freeform 5431">
              <a:extLst>
                <a:ext uri="{FF2B5EF4-FFF2-40B4-BE49-F238E27FC236}">
                  <a16:creationId xmlns:a16="http://schemas.microsoft.com/office/drawing/2014/main" id="{2CDC0189-E311-4573-BC8F-C3FA338C496B}"/>
                </a:ext>
              </a:extLst>
            </p:cNvPr>
            <p:cNvSpPr/>
            <p:nvPr/>
          </p:nvSpPr>
          <p:spPr>
            <a:xfrm>
              <a:off x="3901944" y="4361575"/>
              <a:ext cx="946645" cy="424262"/>
            </a:xfrm>
            <a:custGeom>
              <a:avLst/>
              <a:gdLst/>
              <a:ahLst/>
              <a:cxnLst/>
              <a:rect l="0" t="0" r="0" b="0"/>
              <a:pathLst>
                <a:path w="1043939" h="467867">
                  <a:moveTo>
                    <a:pt x="0" y="47879"/>
                  </a:moveTo>
                  <a:cubicBezTo>
                    <a:pt x="0" y="21463"/>
                    <a:pt x="21463" y="0"/>
                    <a:pt x="47879" y="0"/>
                  </a:cubicBezTo>
                  <a:lnTo>
                    <a:pt x="996061" y="0"/>
                  </a:lnTo>
                  <a:cubicBezTo>
                    <a:pt x="1022476" y="0"/>
                    <a:pt x="1043939" y="21463"/>
                    <a:pt x="1043939" y="47879"/>
                  </a:cubicBezTo>
                  <a:lnTo>
                    <a:pt x="1043939" y="419988"/>
                  </a:lnTo>
                  <a:cubicBezTo>
                    <a:pt x="1043939" y="446404"/>
                    <a:pt x="1022476" y="467867"/>
                    <a:pt x="996061" y="467867"/>
                  </a:cubicBezTo>
                  <a:lnTo>
                    <a:pt x="47879" y="467867"/>
                  </a:lnTo>
                  <a:cubicBezTo>
                    <a:pt x="21463" y="467867"/>
                    <a:pt x="0" y="446404"/>
                    <a:pt x="0" y="419988"/>
                  </a:cubicBezTo>
                  <a:close/>
                  <a:moveTo>
                    <a:pt x="-1244220" y="2695955"/>
                  </a:move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68" name="Picture 5432">
              <a:extLst>
                <a:ext uri="{FF2B5EF4-FFF2-40B4-BE49-F238E27FC236}">
                  <a16:creationId xmlns:a16="http://schemas.microsoft.com/office/drawing/2014/main" id="{B42EAC09-F00F-453E-AC95-779373777012}"/>
                </a:ext>
              </a:extLst>
            </p:cNvPr>
            <p:cNvPicPr>
              <a:picLocks noChangeArrowheads="1"/>
            </p:cNvPicPr>
            <p:nvPr/>
          </p:nvPicPr>
          <p:blipFill>
            <a:blip r:embed="rId182">
              <a:extLst>
                <a:ext uri="{28A0092B-C50C-407E-A947-70E740481C1C}">
                  <a14:useLocalDpi xmlns:a14="http://schemas.microsoft.com/office/drawing/2010/main" val="0"/>
                </a:ext>
              </a:extLst>
            </a:blip>
            <a:srcRect/>
            <a:stretch>
              <a:fillRect/>
            </a:stretch>
          </p:blipFill>
          <p:spPr>
            <a:xfrm>
              <a:off x="4160717" y="4439309"/>
              <a:ext cx="500662" cy="147410"/>
            </a:xfrm>
            <a:prstGeom prst="rect">
              <a:avLst/>
            </a:prstGeom>
            <a:noFill/>
          </p:spPr>
        </p:pic>
        <p:pic>
          <p:nvPicPr>
            <p:cNvPr id="269" name="Picture 5433">
              <a:extLst>
                <a:ext uri="{FF2B5EF4-FFF2-40B4-BE49-F238E27FC236}">
                  <a16:creationId xmlns:a16="http://schemas.microsoft.com/office/drawing/2014/main" id="{FF491EA0-6156-4E98-96CC-913E39793954}"/>
                </a:ext>
              </a:extLst>
            </p:cNvPr>
            <p:cNvPicPr>
              <a:picLocks noChangeArrowheads="1"/>
            </p:cNvPicPr>
            <p:nvPr/>
          </p:nvPicPr>
          <p:blipFill>
            <a:blip r:embed="rId183">
              <a:extLst>
                <a:ext uri="{28A0092B-C50C-407E-A947-70E740481C1C}">
                  <a14:useLocalDpi xmlns:a14="http://schemas.microsoft.com/office/drawing/2010/main" val="0"/>
                </a:ext>
              </a:extLst>
            </a:blip>
            <a:srcRect/>
            <a:stretch>
              <a:fillRect/>
            </a:stretch>
          </p:blipFill>
          <p:spPr>
            <a:xfrm>
              <a:off x="4090235" y="4563686"/>
              <a:ext cx="616195" cy="147410"/>
            </a:xfrm>
            <a:prstGeom prst="rect">
              <a:avLst/>
            </a:prstGeom>
            <a:noFill/>
          </p:spPr>
        </p:pic>
        <p:sp>
          <p:nvSpPr>
            <p:cNvPr id="275" name="Rectangle 274">
              <a:extLst>
                <a:ext uri="{FF2B5EF4-FFF2-40B4-BE49-F238E27FC236}">
                  <a16:creationId xmlns:a16="http://schemas.microsoft.com/office/drawing/2014/main" id="{FC2BF97F-D308-4F30-B116-6953A0A0D6CC}"/>
                </a:ext>
              </a:extLst>
            </p:cNvPr>
            <p:cNvSpPr/>
            <p:nvPr/>
          </p:nvSpPr>
          <p:spPr>
            <a:xfrm>
              <a:off x="855909" y="6186319"/>
              <a:ext cx="10178169" cy="268102"/>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88"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Data &amp; Analytics Platform</a:t>
              </a:r>
            </a:p>
          </p:txBody>
        </p:sp>
        <p:sp>
          <p:nvSpPr>
            <p:cNvPr id="271" name="TextBox 270">
              <a:extLst>
                <a:ext uri="{FF2B5EF4-FFF2-40B4-BE49-F238E27FC236}">
                  <a16:creationId xmlns:a16="http://schemas.microsoft.com/office/drawing/2014/main" id="{4C6F115E-ECB4-4D3D-997E-BD954E9132EF}"/>
                </a:ext>
              </a:extLst>
            </p:cNvPr>
            <p:cNvSpPr txBox="1"/>
            <p:nvPr/>
          </p:nvSpPr>
          <p:spPr>
            <a:xfrm>
              <a:off x="815923" y="1577445"/>
              <a:ext cx="3313354" cy="175774"/>
            </a:xfrm>
            <a:prstGeom prst="rect">
              <a:avLst/>
            </a:prstGeom>
            <a:noFill/>
          </p:spPr>
          <p:txBody>
            <a:bodyPr wrap="square" lIns="0" tIns="33167" rIns="0" bIns="0" rtlCol="0">
              <a:spAutoFit/>
            </a:bodyPr>
            <a:lstStyle/>
            <a:p>
              <a:pPr marL="0" marR="0" lvl="0" indent="0" algn="l" defTabSz="914400" rtl="0" eaLnBrk="0" fontAlgn="base" latinLnBrk="0" hangingPunct="0">
                <a:lnSpc>
                  <a:spcPct val="85000"/>
                </a:lnSpc>
                <a:spcBef>
                  <a:spcPct val="0"/>
                </a:spcBef>
                <a:spcAft>
                  <a:spcPts val="544"/>
                </a:spcAft>
                <a:buClr>
                  <a:srgbClr val="FFE600"/>
                </a:buClr>
                <a:buSzPct val="70000"/>
                <a:buFontTx/>
                <a:buNone/>
                <a:tabLst/>
                <a:defRPr/>
              </a:pPr>
              <a:r>
                <a:rPr kumimoji="0" lang="en-GB" sz="1088" b="1" i="1" u="none" strike="noStrike" kern="1200" cap="none" spc="0" normalizeH="0" baseline="0" noProof="0" dirty="0">
                  <a:ln>
                    <a:noFill/>
                  </a:ln>
                  <a:solidFill>
                    <a:srgbClr val="000000"/>
                  </a:solidFill>
                  <a:effectLst/>
                  <a:uLnTx/>
                  <a:uFillTx/>
                  <a:latin typeface="EYInterstate" panose="02000503020000020004" pitchFamily="2" charset="0"/>
                  <a:cs typeface="Arial" charset="0"/>
                </a:rPr>
                <a:t>AIA Ascend 200’s data analytics use cases</a:t>
              </a:r>
            </a:p>
          </p:txBody>
        </p:sp>
      </p:grpSp>
      <p:sp>
        <p:nvSpPr>
          <p:cNvPr id="278" name="Rectangle 277">
            <a:extLst>
              <a:ext uri="{FF2B5EF4-FFF2-40B4-BE49-F238E27FC236}">
                <a16:creationId xmlns:a16="http://schemas.microsoft.com/office/drawing/2014/main" id="{09BA5E35-E692-40FA-94DC-A46EED8F9CE4}"/>
              </a:ext>
            </a:extLst>
          </p:cNvPr>
          <p:cNvSpPr/>
          <p:nvPr/>
        </p:nvSpPr>
        <p:spPr>
          <a:xfrm>
            <a:off x="1185964" y="6375863"/>
            <a:ext cx="1083333" cy="301451"/>
          </a:xfrm>
          <a:prstGeom prst="rect">
            <a:avLst/>
          </a:prstGeom>
          <a:no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L="0" marR="0" lvl="0" indent="0" algn="ctr" defTabSz="914400" rtl="0" eaLnBrk="0" fontAlgn="base" latinLnBrk="0" hangingPunct="0">
              <a:lnSpc>
                <a:spcPct val="85000"/>
              </a:lnSpc>
              <a:spcBef>
                <a:spcPct val="0"/>
              </a:spcBef>
              <a:spcAft>
                <a:spcPts val="544"/>
              </a:spcAft>
              <a:buClr>
                <a:srgbClr val="FFE600"/>
              </a:buClr>
              <a:buSzPct val="70000"/>
              <a:buFontTx/>
              <a:buNone/>
              <a:tabLst/>
              <a:defRPr/>
            </a:pPr>
            <a:r>
              <a:rPr kumimoji="0" lang="en-GB" sz="1100" b="1" i="0" u="none" strike="noStrike" kern="1200" cap="none" spc="0" normalizeH="0" baseline="0" noProof="0" dirty="0">
                <a:ln>
                  <a:noFill/>
                </a:ln>
                <a:solidFill>
                  <a:srgbClr val="000000"/>
                </a:solidFill>
                <a:effectLst/>
                <a:uLnTx/>
                <a:uFillTx/>
                <a:latin typeface="EYInterstate"/>
                <a:ea typeface="+mn-ea"/>
                <a:cs typeface="+mn-cs"/>
              </a:rPr>
              <a:t>EY’s legend:</a:t>
            </a:r>
          </a:p>
        </p:txBody>
      </p:sp>
      <p:sp>
        <p:nvSpPr>
          <p:cNvPr id="8" name="Rectangle 7">
            <a:extLst>
              <a:ext uri="{FF2B5EF4-FFF2-40B4-BE49-F238E27FC236}">
                <a16:creationId xmlns:a16="http://schemas.microsoft.com/office/drawing/2014/main" id="{29E3A3ED-61E0-4165-952C-35DC7D8CD182}"/>
              </a:ext>
            </a:extLst>
          </p:cNvPr>
          <p:cNvSpPr/>
          <p:nvPr/>
        </p:nvSpPr>
        <p:spPr>
          <a:xfrm>
            <a:off x="2244159" y="6368286"/>
            <a:ext cx="1534307" cy="35909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nchorCtr="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7"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Use case has been deployed in multiple AIA BUs</a:t>
            </a:r>
          </a:p>
        </p:txBody>
      </p:sp>
      <p:sp>
        <p:nvSpPr>
          <p:cNvPr id="276" name="Rectangle 275">
            <a:extLst>
              <a:ext uri="{FF2B5EF4-FFF2-40B4-BE49-F238E27FC236}">
                <a16:creationId xmlns:a16="http://schemas.microsoft.com/office/drawing/2014/main" id="{9F89731B-29E0-481F-B5EE-044D79CC4FB8}"/>
              </a:ext>
            </a:extLst>
          </p:cNvPr>
          <p:cNvSpPr/>
          <p:nvPr/>
        </p:nvSpPr>
        <p:spPr>
          <a:xfrm>
            <a:off x="3880776" y="6375267"/>
            <a:ext cx="1534307" cy="359093"/>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7"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Use case deployed at one AIA BU, deployed at peers</a:t>
            </a:r>
          </a:p>
        </p:txBody>
      </p:sp>
      <p:sp>
        <p:nvSpPr>
          <p:cNvPr id="277" name="Rectangle 276">
            <a:extLst>
              <a:ext uri="{FF2B5EF4-FFF2-40B4-BE49-F238E27FC236}">
                <a16:creationId xmlns:a16="http://schemas.microsoft.com/office/drawing/2014/main" id="{F884DC86-7872-4912-A4D0-616F94A94026}"/>
              </a:ext>
            </a:extLst>
          </p:cNvPr>
          <p:cNvSpPr/>
          <p:nvPr/>
        </p:nvSpPr>
        <p:spPr>
          <a:xfrm>
            <a:off x="5515410" y="6375267"/>
            <a:ext cx="1534307" cy="359093"/>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7"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EY strength from other clients, not applied at AIA</a:t>
            </a:r>
          </a:p>
        </p:txBody>
      </p:sp>
    </p:spTree>
    <p:extLst>
      <p:ext uri="{BB962C8B-B14F-4D97-AF65-F5344CB8AC3E}">
        <p14:creationId xmlns:p14="http://schemas.microsoft.com/office/powerpoint/2010/main" val="2717228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qyteitS6ajA4CCy61j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pp9kmFZQCum9AAg7HNKx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QoAXiHljj0F7bXTTt.E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TDPnapfTZq5LjayImF0I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6.po3g4RXukQ85mZPZKS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VZg1vPxRI.Op4hX_sP2p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EfJv.BQTXezpSOeKEH5Z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OGDbYRDyO8wV1Rlf2y_Rc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n_rz2Zfj0kEEfVLv57TJg"/>
</p:tagLst>
</file>

<file path=ppt/tags/tag181.xml><?xml version="1.0" encoding="utf-8"?>
<p:tagLst xmlns:a="http://schemas.openxmlformats.org/drawingml/2006/main" xmlns:r="http://schemas.openxmlformats.org/officeDocument/2006/relationships" xmlns:p="http://schemas.openxmlformats.org/presentationml/2006/main">
  <p:tag name="VCT_STH" val="Tru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VCT_STH" val="Tru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TsyiRLlR6idjegN_ucrA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189.xml><?xml version="1.0" encoding="utf-8"?>
<p:tagLst xmlns:a="http://schemas.openxmlformats.org/drawingml/2006/main" xmlns:r="http://schemas.openxmlformats.org/officeDocument/2006/relationships" xmlns:p="http://schemas.openxmlformats.org/presentationml/2006/main">
  <p:tag name="VCT_STH" val="Tr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VTsyiRLlR6idjegN_ucrA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197.xml><?xml version="1.0" encoding="utf-8"?>
<p:tagLst xmlns:a="http://schemas.openxmlformats.org/drawingml/2006/main" xmlns:r="http://schemas.openxmlformats.org/officeDocument/2006/relationships" xmlns:p="http://schemas.openxmlformats.org/presentationml/2006/main">
  <p:tag name="VCT_STH" val="Tru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6FN6JUSCCLt.Sr9vx9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01.xml><?xml version="1.0" encoding="utf-8"?>
<p:tagLst xmlns:a="http://schemas.openxmlformats.org/drawingml/2006/main" xmlns:r="http://schemas.openxmlformats.org/officeDocument/2006/relationships" xmlns:p="http://schemas.openxmlformats.org/presentationml/2006/main">
  <p:tag name="VCT_STH" val="Tru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07.xml><?xml version="1.0" encoding="utf-8"?>
<p:tagLst xmlns:a="http://schemas.openxmlformats.org/drawingml/2006/main" xmlns:r="http://schemas.openxmlformats.org/officeDocument/2006/relationships" xmlns:p="http://schemas.openxmlformats.org/presentationml/2006/main">
  <p:tag name="VCT_STH" val="Tru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flSp0CnbDBJXzJA6UFnt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F7LBNTPQ.aYBO_AWmU6d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t59oQdGRC2dI6Vx26cp_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2trEFycQWOjF83rkvTF6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fuXJJjDRNGERqyApH5zZ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SkxR9lUTG6y7DhZaqmhY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3iZDhqRQEWfcllVZk325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print">
  <a:themeElements>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_D&amp;A_Widescreen_Template_FA01" id="{FA862204-C3E3-5549-ABD9-F2CD703C4A1B}" vid="{F421CFE6-690E-5E4D-99E4-772D96661ED1}"/>
    </a:ext>
  </a:extLst>
</a:theme>
</file>

<file path=ppt/theme/theme10.xml><?xml version="1.0" encoding="utf-8"?>
<a:theme xmlns:a="http://schemas.openxmlformats.org/drawingml/2006/main" name="2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11.xml><?xml version="1.0" encoding="utf-8"?>
<a:theme xmlns:a="http://schemas.openxmlformats.org/drawingml/2006/main" name="6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2.xml><?xml version="1.0" encoding="utf-8"?>
<a:theme xmlns:a="http://schemas.openxmlformats.org/drawingml/2006/main" name="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3.xml><?xml version="1.0" encoding="utf-8"?>
<a:theme xmlns:a="http://schemas.openxmlformats.org/drawingml/2006/main" name="18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4.xml><?xml version="1.0" encoding="utf-8"?>
<a:theme xmlns:a="http://schemas.openxmlformats.org/drawingml/2006/main" name="4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5.xml><?xml version="1.0" encoding="utf-8"?>
<a:theme xmlns:a="http://schemas.openxmlformats.org/drawingml/2006/main" name="19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6.xml><?xml version="1.0" encoding="utf-8"?>
<a:theme xmlns:a="http://schemas.openxmlformats.org/drawingml/2006/main" name="17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7.xml><?xml version="1.0" encoding="utf-8"?>
<a:theme xmlns:a="http://schemas.openxmlformats.org/drawingml/2006/main" name="16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8.xml><?xml version="1.0" encoding="utf-8"?>
<a:theme xmlns:a="http://schemas.openxmlformats.org/drawingml/2006/main" name="2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9.xml><?xml version="1.0" encoding="utf-8"?>
<a:theme xmlns:a="http://schemas.openxmlformats.org/drawingml/2006/main" name="2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resentation1" id="{9D42F0ED-38B3-49C5-8E3E-3D20229932F1}" vid="{58D1112F-36CD-43C8-A11B-86EB03647C86}"/>
    </a:ext>
  </a:extLst>
</a:theme>
</file>

<file path=ppt/theme/theme20.xml><?xml version="1.0" encoding="utf-8"?>
<a:theme xmlns:a="http://schemas.openxmlformats.org/drawingml/2006/main" name="23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1.xml><?xml version="1.0" encoding="utf-8"?>
<a:theme xmlns:a="http://schemas.openxmlformats.org/drawingml/2006/main" name="24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2.xml><?xml version="1.0" encoding="utf-8"?>
<a:theme xmlns:a="http://schemas.openxmlformats.org/drawingml/2006/main" name="5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Custom">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1528751_Advisory Quality - Standard Proposal Template v9 (2).pptx" id="{FF6AB6EA-4FE4-4046-B70A-A232A4EDCA41}" vid="{38DC362B-24AE-4A8D-A055-67BAF653E598}"/>
    </a:ext>
  </a:extLst>
</a:theme>
</file>

<file path=ppt/theme/theme23.xml><?xml version="1.0" encoding="utf-8"?>
<a:theme xmlns:a="http://schemas.openxmlformats.org/drawingml/2006/main" name="25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4.xml><?xml version="1.0" encoding="utf-8"?>
<a:theme xmlns:a="http://schemas.openxmlformats.org/drawingml/2006/main" name="26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5.xml><?xml version="1.0" encoding="utf-8"?>
<a:theme xmlns:a="http://schemas.openxmlformats.org/drawingml/2006/main" name="13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6.xml><?xml version="1.0" encoding="utf-8"?>
<a:theme xmlns:a="http://schemas.openxmlformats.org/drawingml/2006/main" name="9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8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5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7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1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8.xml><?xml version="1.0" encoding="utf-8"?>
<a:theme xmlns:a="http://schemas.openxmlformats.org/drawingml/2006/main" name="1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9.xml><?xml version="1.0" encoding="utf-8"?>
<a:theme xmlns:a="http://schemas.openxmlformats.org/drawingml/2006/main" name="14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algn="l">
          <a:lnSpc>
            <a:spcPct val="85000"/>
          </a:lnSpc>
          <a:spcAft>
            <a:spcPts val="600"/>
          </a:spcAft>
          <a:buClr>
            <a:schemeClr val="accent2"/>
          </a:buClr>
          <a:buSzPct val="70000"/>
          <a:defRPr sz="1400" dirty="0" smtClean="0">
            <a:solidFill>
              <a:schemeClr val="bg1"/>
            </a:solidFill>
            <a:latin typeface="EYInterstate" panose="0200050302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Override1.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2ACB481F742094E9B1B51286F1592A4" ma:contentTypeVersion="12" ma:contentTypeDescription="Create a new document." ma:contentTypeScope="" ma:versionID="95e591bb3b45b509c922e5067494eb9c">
  <xsd:schema xmlns:xsd="http://www.w3.org/2001/XMLSchema" xmlns:xs="http://www.w3.org/2001/XMLSchema" xmlns:p="http://schemas.microsoft.com/office/2006/metadata/properties" xmlns:ns3="1903e4cf-4d3b-4275-8bbb-d32a47495d77" xmlns:ns4="06b62e1b-c3e0-4115-ba45-ba72a8ee0f4b" targetNamespace="http://schemas.microsoft.com/office/2006/metadata/properties" ma:root="true" ma:fieldsID="a5a78e118655f9c386d4a6c7684b09db" ns3:_="" ns4:_="">
    <xsd:import namespace="1903e4cf-4d3b-4275-8bbb-d32a47495d77"/>
    <xsd:import namespace="06b62e1b-c3e0-4115-ba45-ba72a8ee0f4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03e4cf-4d3b-4275-8bbb-d32a47495d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6b62e1b-c3e0-4115-ba45-ba72a8ee0f4b"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4BCCE-C05C-42DF-8FC4-0481F7063B52}">
  <ds:schemaRefs>
    <ds:schemaRef ds:uri="http://schemas.microsoft.com/sharepoint/v3/contenttype/forms"/>
  </ds:schemaRefs>
</ds:datastoreItem>
</file>

<file path=customXml/itemProps2.xml><?xml version="1.0" encoding="utf-8"?>
<ds:datastoreItem xmlns:ds="http://schemas.openxmlformats.org/officeDocument/2006/customXml" ds:itemID="{4F9C5D67-EA53-419E-9FA5-26CCB465D6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1903e4cf-4d3b-4275-8bbb-d32a47495d77"/>
    <ds:schemaRef ds:uri="06b62e1b-c3e0-4115-ba45-ba72a8ee0f4b"/>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5BE1C82C-5FF1-4565-8341-852051BC8B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03e4cf-4d3b-4275-8bbb-d32a47495d77"/>
    <ds:schemaRef ds:uri="06b62e1b-c3e0-4115-ba45-ba72a8ee0f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Y_D&amp;A_Widescreen_Template_FA01</Template>
  <TotalTime>34</TotalTime>
  <Words>16196</Words>
  <Application>Microsoft Office PowerPoint</Application>
  <PresentationFormat>Custom</PresentationFormat>
  <Paragraphs>1543</Paragraphs>
  <Slides>66</Slides>
  <Notes>43</Notes>
  <HiddenSlides>1</HiddenSlides>
  <MMClips>0</MMClips>
  <ScaleCrop>false</ScaleCrop>
  <HeadingPairs>
    <vt:vector size="8" baseType="variant">
      <vt:variant>
        <vt:lpstr>Fonts Used</vt:lpstr>
      </vt:variant>
      <vt:variant>
        <vt:i4>11</vt:i4>
      </vt:variant>
      <vt:variant>
        <vt:lpstr>Theme</vt:lpstr>
      </vt:variant>
      <vt:variant>
        <vt:i4>26</vt:i4>
      </vt:variant>
      <vt:variant>
        <vt:lpstr>Embedded OLE Servers</vt:lpstr>
      </vt:variant>
      <vt:variant>
        <vt:i4>1</vt:i4>
      </vt:variant>
      <vt:variant>
        <vt:lpstr>Slide Titles</vt:lpstr>
      </vt:variant>
      <vt:variant>
        <vt:i4>66</vt:i4>
      </vt:variant>
    </vt:vector>
  </HeadingPairs>
  <TitlesOfParts>
    <vt:vector size="104" baseType="lpstr">
      <vt:lpstr>Arial</vt:lpstr>
      <vt:lpstr>Arial Narrow</vt:lpstr>
      <vt:lpstr>Calibri</vt:lpstr>
      <vt:lpstr>EY interstate light</vt:lpstr>
      <vt:lpstr>EY interstate light</vt:lpstr>
      <vt:lpstr>EYInterstate</vt:lpstr>
      <vt:lpstr>EYInterstate Light</vt:lpstr>
      <vt:lpstr>EYInterstate Regular</vt:lpstr>
      <vt:lpstr>Lato Light</vt:lpstr>
      <vt:lpstr>Trebuchet MS</vt:lpstr>
      <vt:lpstr>Wingdings</vt:lpstr>
      <vt:lpstr>EY dark print</vt:lpstr>
      <vt:lpstr>EY dark background</vt:lpstr>
      <vt:lpstr>8_EY widescreen presentation 2015 v1</vt:lpstr>
      <vt:lpstr>1_EY widescreen presentation 2015 v1</vt:lpstr>
      <vt:lpstr>5_EY widescreen presentation 2015 v1</vt:lpstr>
      <vt:lpstr>7_EY widescreen presentation 2015 v1</vt:lpstr>
      <vt:lpstr>11_EY widescreen presentation 2015 v1</vt:lpstr>
      <vt:lpstr>12_EY widescreen presentation 2015 v1</vt:lpstr>
      <vt:lpstr>14_EY widescreen presentation 2015 v1</vt:lpstr>
      <vt:lpstr>2_EY light background</vt:lpstr>
      <vt:lpstr>6_EY widescreen presentation 2015 v1</vt:lpstr>
      <vt:lpstr>2_EY widescreen presentation 2015 v1</vt:lpstr>
      <vt:lpstr>18_EY widescreen presentation 2015 v1</vt:lpstr>
      <vt:lpstr>4_EY widescreen presentation 2015 v1</vt:lpstr>
      <vt:lpstr>19_EY widescreen presentation 2015 v1</vt:lpstr>
      <vt:lpstr>17_EY widescreen presentation 2015 v1</vt:lpstr>
      <vt:lpstr>16_EY widescreen presentation 2015 v1</vt:lpstr>
      <vt:lpstr>21_EY widescreen presentation 2015 v1</vt:lpstr>
      <vt:lpstr>22_EY widescreen presentation 2015 v1</vt:lpstr>
      <vt:lpstr>23_EY widescreen presentation 2015 v1</vt:lpstr>
      <vt:lpstr>24_EY widescreen presentation 2015 v1</vt:lpstr>
      <vt:lpstr>5_EY_regular_presentation</vt:lpstr>
      <vt:lpstr>25_EY widescreen presentation 2015 v1</vt:lpstr>
      <vt:lpstr>26_EY widescreen presentation 2015 v1</vt:lpstr>
      <vt:lpstr>13_EY widescreen presentation 2015 v1</vt:lpstr>
      <vt:lpstr>9_EY widescreen presentation 2015 v1</vt:lpstr>
      <vt:lpstr>think-cell Slide</vt:lpstr>
      <vt:lpstr>PowerPoint Presentation</vt:lpstr>
      <vt:lpstr>PowerPoint Presentation</vt:lpstr>
      <vt:lpstr>Table of Contents</vt:lpstr>
      <vt:lpstr>PowerPoint Presentation</vt:lpstr>
      <vt:lpstr>Our understanding of your needs</vt:lpstr>
      <vt:lpstr>PowerPoint Presentation</vt:lpstr>
      <vt:lpstr>With our diverse existing engagements with the Group, we believe that we are capable of delivering and accelerating the outcome from the current asks</vt:lpstr>
      <vt:lpstr>We will leverage our key learnings from our previous engagement with AIA HK to optimize the time and resources required for our project</vt:lpstr>
      <vt:lpstr>We understand AIA Ascend 200’s data analytics use cases and we will bring in the knowledge and skills required for the deployment of the use cases selected by AIAT</vt:lpstr>
      <vt:lpstr>We have a team of expertise for our four core Data &amp; Analytics capabilities, who will be supporting AIAT’s technology, digital and analytics journey</vt:lpstr>
      <vt:lpstr>Our Data &amp; Analytics team has a large presence in APAC market and we can work as one co-located team to support AIA Thailand</vt:lpstr>
      <vt:lpstr>The EY and Microsoft alliance combines deep EY insights and experience in disruptive industry trends, new business models and evolving processes with  scalable, enterprise cloud platform and digital technologies from Microsoft</vt:lpstr>
      <vt:lpstr>PowerPoint Presentation</vt:lpstr>
      <vt:lpstr>PowerPoint Presentation</vt:lpstr>
      <vt:lpstr>There has been a global shift towards adoption of Next-Gen Data Platforms for enterprises to enhance their Data-related capabilities</vt:lpstr>
      <vt:lpstr>Legacy Architecture v/s Next Gen Architecture</vt:lpstr>
      <vt:lpstr>The Next Generation Data value proposition rises as one climbs up the pyramid to adopt data-driven decisioning &amp; insight generation</vt:lpstr>
      <vt:lpstr>Our guiding principles for common, scalable, secured and consistent Data Platform would enable a plethora of advanced data capabilities</vt:lpstr>
      <vt:lpstr>We will bring our Next Generation Data Platform Architecture &amp; Framework to accelerate the assessment of your current Group IT / AIAT Roadmap Standard  </vt:lpstr>
      <vt:lpstr>We will assess AIAT’s current Data Platform capabilities &amp; standards across different domains against our framework to come up with a Gap Analysis</vt:lpstr>
      <vt:lpstr>PowerPoint Presentation</vt:lpstr>
      <vt:lpstr>Insurers who embrace the digital innovation will thrive in this increasingly competitive and rapidly evolving market</vt:lpstr>
      <vt:lpstr>Our guiding principles for identification &amp; prioritization of data related use-cases are robust, simple and maximize the value generated</vt:lpstr>
      <vt:lpstr>Use-cases would be prioritised against the business importance and ease of implementation with customer at the centre</vt:lpstr>
      <vt:lpstr>Use-cases would be identified using our Data &amp; Analytics use-case libraries while prioritizing based on our Value, Impact &amp; Complexity based framework</vt:lpstr>
      <vt:lpstr>PowerPoint Presentation</vt:lpstr>
      <vt:lpstr>Our guiding principles for the design of the Data Platform Architecture make it scalable, secure and timely </vt:lpstr>
      <vt:lpstr>We will analyze to the prioritized use-cases to identify the need for Azure ML vis-à-vis Data Science Lab – VM based on scalability, compute and model management</vt:lpstr>
      <vt:lpstr>Analysis of current Data Platform coupled with capabilities required for prioritized use-cases would help deliver the Target Data Architecture &amp; Implementation cost</vt:lpstr>
      <vt:lpstr>PowerPoint Presentation</vt:lpstr>
      <vt:lpstr>The target operating model will encompass with roles and responsibilities that would drive AIAT to deliver data related use cases </vt:lpstr>
      <vt:lpstr>The analysis on data platform capabilities will allow us to design and propose a target operating model that will best suit the objectives of TDA</vt:lpstr>
      <vt:lpstr>PowerPoint Presentation</vt:lpstr>
      <vt:lpstr>We would like to enable AIAT vision to uplift their capabilities in Technology, Digital and Analytics space through a strategic roadmap</vt:lpstr>
      <vt:lpstr>Implementation considerations to include use-cases / initiatives, data platform design and dependency on enterprise capabilities </vt:lpstr>
      <vt:lpstr>PowerPoint Presentation</vt:lpstr>
      <vt:lpstr>List of potential use cases to validate our data platform design &amp; architecture*</vt:lpstr>
      <vt:lpstr>We will deploy an end-to-end Automated Closed File Review for Health Claims leveraging ML/AI capabilities through our Azure Platform Architecture</vt:lpstr>
      <vt:lpstr>AIAT would have the ability to perform Automated Health Claim Assessment while validating our design of Data Platform enabled for deployment of AI/ML use-cases </vt:lpstr>
      <vt:lpstr>PowerPoint Presentation</vt:lpstr>
      <vt:lpstr>Agile implementation timeline with iterative sprints to progressively prioritize use-cases and keep enhancing the Data Platform Architecture </vt:lpstr>
      <vt:lpstr>We proposed the project timeline of 8 weeks with an agile delivery approach along with value added activities based on use cases selected by AIAT</vt:lpstr>
      <vt:lpstr>PowerPoint Presentation</vt:lpstr>
      <vt:lpstr>PowerPoint Presentation</vt:lpstr>
      <vt:lpstr>Project Leadership</vt:lpstr>
      <vt:lpstr>Subject Matter Advisors (SMAs)</vt:lpstr>
      <vt:lpstr>Project Team Member</vt:lpstr>
      <vt:lpstr>Project Team Member</vt:lpstr>
      <vt:lpstr>PowerPoint Presentation</vt:lpstr>
      <vt:lpstr>Case Study 1: Enterprise Data Warehouse Migration and Cloud Based Data and Analytics Platform for AIA HK</vt:lpstr>
      <vt:lpstr>Case Study 2: Migration of application systems from on-premise servers to Azure cloud for AIA SG</vt:lpstr>
      <vt:lpstr>Case Study 3: Built the Cloud Strategy &amp; Cloud Centre of Excellence for AIA Group</vt:lpstr>
      <vt:lpstr>Case Study 4: AIA Corporate Healthcare (Analytica)</vt:lpstr>
      <vt:lpstr>Case Study 5: AIA Vitality Analytics for AIA Group</vt:lpstr>
      <vt:lpstr>Case Study 6: Global Data and Analytics platform design and implementation for large global insurers in APAC</vt:lpstr>
      <vt:lpstr>Case Study 7: Data and Analytics Platform and Migration to Azure for Fuel and Retail Provider in APAC</vt:lpstr>
      <vt:lpstr>Case Study 8: Architected, Designed and Implemented Cloud Native Big Data Regulatory Platform for a large Wealth &amp; Asset Manager</vt:lpstr>
      <vt:lpstr>Case Study 9: Accelerate multi-cloud adoption to leading international investment bank </vt:lpstr>
      <vt:lpstr>Case Study 10: Help accelerate multi-cloud adoption for a leading international investment bank using Containers</vt:lpstr>
      <vt:lpstr>Case Study 11: Azure Modernization - Cloud-based omni-channel application for a global banking client </vt:lpstr>
      <vt:lpstr>Case Study 12: Landing Zone Implementation with Azure BluePrints and the migration of workloads to Azure</vt:lpstr>
      <vt:lpstr>Case Study 13: Cloud adoption roadmap for large government agency </vt:lpstr>
      <vt:lpstr>Case Study 14: Azure Migration - Cloud migration factory for a Fortune 500 client  </vt:lpstr>
      <vt:lpstr>PowerPoint Presentation</vt:lpstr>
      <vt:lpstr>Assumptions for our project</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8-06 APAC DnA Overview v6</dc:title>
  <dc:creator>Sharon Hobart</dc:creator>
  <cp:lastModifiedBy>Srijita Sen</cp:lastModifiedBy>
  <cp:revision>8</cp:revision>
  <cp:lastPrinted>2018-03-21T22:36:21Z</cp:lastPrinted>
  <dcterms:created xsi:type="dcterms:W3CDTF">2018-04-04T02:36:01Z</dcterms:created>
  <dcterms:modified xsi:type="dcterms:W3CDTF">2021-01-19T16:1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ACB481F742094E9B1B51286F1592A4</vt:lpwstr>
  </property>
  <property fmtid="{D5CDD505-2E9C-101B-9397-08002B2CF9AE}" pid="3" name="_dlc_DocIdItemGuid">
    <vt:lpwstr>37bf1b99-851a-4000-a489-206366894c9e</vt:lpwstr>
  </property>
</Properties>
</file>